
<file path=[Content_Types].xml><?xml version="1.0" encoding="utf-8"?>
<Types xmlns="http://schemas.openxmlformats.org/package/2006/content-types">
  <Default Extension="xml" ContentType="application/xml"/>
  <Default Extension="jpg" ContentType="image/jpeg"/>
  <Default Extension="jpeg" ContentType="image/jpeg"/>
  <Default Extension="rels" ContentType="application/vnd.openxmlformats-package.relationships+xml"/>
  <Default Extension="vml" ContentType="application/vnd.openxmlformats-officedocument.vmlDrawing"/>
  <Default Extension="xls" ContentType="application/vnd.ms-excel"/>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firstSlideNum="121" showSpecialPlsOnTitleSld="0" compatMode="1" saveSubsetFonts="1">
  <p:sldMasterIdLst>
    <p:sldMasterId id="2147483648" r:id="rId1"/>
  </p:sldMasterIdLst>
  <p:notesMasterIdLst>
    <p:notesMasterId r:id="rId13"/>
  </p:notesMasterIdLst>
  <p:sldIdLst>
    <p:sldId id="258" r:id="rId2"/>
    <p:sldId id="363" r:id="rId3"/>
    <p:sldId id="259" r:id="rId4"/>
    <p:sldId id="260" r:id="rId5"/>
    <p:sldId id="269" r:id="rId6"/>
    <p:sldId id="262" r:id="rId7"/>
    <p:sldId id="392" r:id="rId8"/>
    <p:sldId id="391" r:id="rId9"/>
    <p:sldId id="393" r:id="rId10"/>
    <p:sldId id="394" r:id="rId11"/>
    <p:sldId id="361" r:id="rId12"/>
  </p:sldIdLst>
  <p:sldSz cx="12192000" cy="6858000"/>
  <p:notesSz cx="6858000" cy="9144000"/>
  <p:defaultTextStyle>
    <a:defPPr>
      <a:defRPr lang="en-US"/>
    </a:defPPr>
    <a:lvl1pPr algn="l" rtl="0" eaLnBrk="0" fontAlgn="base" hangingPunct="0">
      <a:spcBef>
        <a:spcPct val="0"/>
      </a:spcBef>
      <a:spcAft>
        <a:spcPct val="0"/>
      </a:spcAft>
      <a:defRPr kern="1200">
        <a:solidFill>
          <a:schemeClr val="tx1"/>
        </a:solidFill>
        <a:latin typeface="Calibri" charset="0"/>
        <a:ea typeface="+mn-ea"/>
        <a:cs typeface="+mn-cs"/>
      </a:defRPr>
    </a:lvl1pPr>
    <a:lvl2pPr marL="457200" algn="l" rtl="0" eaLnBrk="0" fontAlgn="base" hangingPunct="0">
      <a:spcBef>
        <a:spcPct val="0"/>
      </a:spcBef>
      <a:spcAft>
        <a:spcPct val="0"/>
      </a:spcAft>
      <a:defRPr kern="1200">
        <a:solidFill>
          <a:schemeClr val="tx1"/>
        </a:solidFill>
        <a:latin typeface="Calibri" charset="0"/>
        <a:ea typeface="+mn-ea"/>
        <a:cs typeface="+mn-cs"/>
      </a:defRPr>
    </a:lvl2pPr>
    <a:lvl3pPr marL="914400" algn="l" rtl="0" eaLnBrk="0" fontAlgn="base" hangingPunct="0">
      <a:spcBef>
        <a:spcPct val="0"/>
      </a:spcBef>
      <a:spcAft>
        <a:spcPct val="0"/>
      </a:spcAft>
      <a:defRPr kern="1200">
        <a:solidFill>
          <a:schemeClr val="tx1"/>
        </a:solidFill>
        <a:latin typeface="Calibri" charset="0"/>
        <a:ea typeface="+mn-ea"/>
        <a:cs typeface="+mn-cs"/>
      </a:defRPr>
    </a:lvl3pPr>
    <a:lvl4pPr marL="1371600" algn="l" rtl="0" eaLnBrk="0" fontAlgn="base" hangingPunct="0">
      <a:spcBef>
        <a:spcPct val="0"/>
      </a:spcBef>
      <a:spcAft>
        <a:spcPct val="0"/>
      </a:spcAft>
      <a:defRPr kern="1200">
        <a:solidFill>
          <a:schemeClr val="tx1"/>
        </a:solidFill>
        <a:latin typeface="Calibri" charset="0"/>
        <a:ea typeface="+mn-ea"/>
        <a:cs typeface="+mn-cs"/>
      </a:defRPr>
    </a:lvl4pPr>
    <a:lvl5pPr marL="1828800" algn="l" rtl="0" eaLnBrk="0" fontAlgn="base" hangingPunct="0">
      <a:spcBef>
        <a:spcPct val="0"/>
      </a:spcBef>
      <a:spcAft>
        <a:spcPct val="0"/>
      </a:spcAft>
      <a:defRPr kern="1200">
        <a:solidFill>
          <a:schemeClr val="tx1"/>
        </a:solidFill>
        <a:latin typeface="Calibri" charset="0"/>
        <a:ea typeface="+mn-ea"/>
        <a:cs typeface="+mn-cs"/>
      </a:defRPr>
    </a:lvl5pPr>
    <a:lvl6pPr marL="2286000" algn="l" defTabSz="914400" rtl="0" eaLnBrk="1" latinLnBrk="0" hangingPunct="1">
      <a:defRPr kern="1200">
        <a:solidFill>
          <a:schemeClr val="tx1"/>
        </a:solidFill>
        <a:latin typeface="Calibri" charset="0"/>
        <a:ea typeface="+mn-ea"/>
        <a:cs typeface="+mn-cs"/>
      </a:defRPr>
    </a:lvl6pPr>
    <a:lvl7pPr marL="2743200" algn="l" defTabSz="914400" rtl="0" eaLnBrk="1" latinLnBrk="0" hangingPunct="1">
      <a:defRPr kern="1200">
        <a:solidFill>
          <a:schemeClr val="tx1"/>
        </a:solidFill>
        <a:latin typeface="Calibri" charset="0"/>
        <a:ea typeface="+mn-ea"/>
        <a:cs typeface="+mn-cs"/>
      </a:defRPr>
    </a:lvl7pPr>
    <a:lvl8pPr marL="3200400" algn="l" defTabSz="914400" rtl="0" eaLnBrk="1" latinLnBrk="0" hangingPunct="1">
      <a:defRPr kern="1200">
        <a:solidFill>
          <a:schemeClr val="tx1"/>
        </a:solidFill>
        <a:latin typeface="Calibri" charset="0"/>
        <a:ea typeface="+mn-ea"/>
        <a:cs typeface="+mn-cs"/>
      </a:defRPr>
    </a:lvl8pPr>
    <a:lvl9pPr marL="3657600" algn="l" defTabSz="914400" rtl="0" eaLnBrk="1" latinLnBrk="0" hangingPunct="1">
      <a:defRPr kern="1200">
        <a:solidFill>
          <a:schemeClr val="tx1"/>
        </a:solidFill>
        <a:latin typeface="Calibri" charset="0"/>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77384"/>
    <a:srgbClr val="55CBC5"/>
    <a:srgbClr val="319FC1"/>
    <a:srgbClr val="5B9BD5"/>
    <a:srgbClr val="1C232C"/>
    <a:srgbClr val="51C3F9"/>
    <a:srgbClr val="222A35"/>
    <a:srgbClr val="3777B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80" autoAdjust="0"/>
    <p:restoredTop sz="86458" autoAdjust="0"/>
  </p:normalViewPr>
  <p:slideViewPr>
    <p:cSldViewPr snapToGrid="0">
      <p:cViewPr varScale="1">
        <p:scale>
          <a:sx n="94" d="100"/>
          <a:sy n="94" d="100"/>
        </p:scale>
        <p:origin x="672" y="200"/>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notesMaster" Target="notesMasters/notesMaster1.xml"/><Relationship Id="rId14" Type="http://schemas.openxmlformats.org/officeDocument/2006/relationships/presProps" Target="presProps.xml"/><Relationship Id="rId15" Type="http://schemas.openxmlformats.org/officeDocument/2006/relationships/viewProps" Target="viewProps.xml"/><Relationship Id="rId16" Type="http://schemas.openxmlformats.org/officeDocument/2006/relationships/theme" Target="theme/theme1.xml"/><Relationship Id="rId17"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10" Type="http://schemas.openxmlformats.org/officeDocument/2006/relationships/slide" Target="slides/slide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png"/><Relationship Id="rId2" Type="http://schemas.openxmlformats.org/officeDocument/2006/relationships/image" Target="../media/image3.png"/><Relationship Id="rId3" Type="http://schemas.openxmlformats.org/officeDocument/2006/relationships/image" Target="../media/image4.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png"/><Relationship Id="rId2" Type="http://schemas.openxmlformats.org/officeDocument/2006/relationships/image" Target="../media/image6.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defRPr>
            </a:lvl1pPr>
          </a:lstStyle>
          <a:p>
            <a:pPr>
              <a:defRPr/>
            </a:pPr>
            <a:fld id="{5974E4BD-8CBC-444D-9638-439336238C37}" type="datetimeFigureOut">
              <a:rPr lang="en-US"/>
              <a:pPr>
                <a:defRPr/>
              </a:pPr>
              <a:t>2/26/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defRPr>
            </a:lvl1pPr>
          </a:lstStyle>
          <a:p>
            <a:pPr>
              <a:defRPr/>
            </a:pPr>
            <a:fld id="{3597B9F5-ED47-B44B-80A2-8A2A4C1C06F6}" type="slidenum">
              <a:rPr lang="en-US"/>
              <a:pPr>
                <a:defRPr/>
              </a:pPr>
              <a:t>‹#›</a:t>
            </a:fld>
            <a:endParaRPr lang="en-US"/>
          </a:p>
        </p:txBody>
      </p:sp>
    </p:spTree>
    <p:extLst>
      <p:ext uri="{BB962C8B-B14F-4D97-AF65-F5344CB8AC3E}">
        <p14:creationId xmlns:p14="http://schemas.microsoft.com/office/powerpoint/2010/main" val="1306956668"/>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597B9F5-ED47-B44B-80A2-8A2A4C1C06F6}" type="slidenum">
              <a:rPr lang="en-US" smtClean="0"/>
              <a:pPr>
                <a:defRPr/>
              </a:pPr>
              <a:t>123</a:t>
            </a:fld>
            <a:endParaRPr lang="en-US"/>
          </a:p>
        </p:txBody>
      </p:sp>
    </p:spTree>
    <p:extLst>
      <p:ext uri="{BB962C8B-B14F-4D97-AF65-F5344CB8AC3E}">
        <p14:creationId xmlns:p14="http://schemas.microsoft.com/office/powerpoint/2010/main" val="2899982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757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pPr>
              <a:spcBef>
                <a:spcPct val="0"/>
              </a:spcBef>
            </a:pPr>
            <a:endParaRPr lang="en-US" altLang="en-US"/>
          </a:p>
        </p:txBody>
      </p:sp>
      <p:sp>
        <p:nvSpPr>
          <p:cNvPr id="757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fontAlgn="base">
              <a:spcBef>
                <a:spcPct val="0"/>
              </a:spcBef>
              <a:spcAft>
                <a:spcPct val="0"/>
              </a:spcAft>
              <a:defRPr>
                <a:solidFill>
                  <a:schemeClr val="tx1"/>
                </a:solidFill>
                <a:latin typeface="Calibri" charset="0"/>
              </a:defRPr>
            </a:lvl6pPr>
            <a:lvl7pPr marL="2971800" indent="-228600" fontAlgn="base">
              <a:spcBef>
                <a:spcPct val="0"/>
              </a:spcBef>
              <a:spcAft>
                <a:spcPct val="0"/>
              </a:spcAft>
              <a:defRPr>
                <a:solidFill>
                  <a:schemeClr val="tx1"/>
                </a:solidFill>
                <a:latin typeface="Calibri" charset="0"/>
              </a:defRPr>
            </a:lvl7pPr>
            <a:lvl8pPr marL="3429000" indent="-228600" fontAlgn="base">
              <a:spcBef>
                <a:spcPct val="0"/>
              </a:spcBef>
              <a:spcAft>
                <a:spcPct val="0"/>
              </a:spcAft>
              <a:defRPr>
                <a:solidFill>
                  <a:schemeClr val="tx1"/>
                </a:solidFill>
                <a:latin typeface="Calibri" charset="0"/>
              </a:defRPr>
            </a:lvl8pPr>
            <a:lvl9pPr marL="3886200" indent="-228600" fontAlgn="base">
              <a:spcBef>
                <a:spcPct val="0"/>
              </a:spcBef>
              <a:spcAft>
                <a:spcPct val="0"/>
              </a:spcAft>
              <a:defRPr>
                <a:solidFill>
                  <a:schemeClr val="tx1"/>
                </a:solidFill>
                <a:latin typeface="Calibri" charset="0"/>
              </a:defRPr>
            </a:lvl9pPr>
          </a:lstStyle>
          <a:p>
            <a:pPr fontAlgn="base">
              <a:spcBef>
                <a:spcPct val="0"/>
              </a:spcBef>
              <a:spcAft>
                <a:spcPct val="0"/>
              </a:spcAft>
            </a:pPr>
            <a:fld id="{D976DC62-C529-A946-81F9-11604DB90398}" type="slidenum">
              <a:rPr lang="en-US" altLang="en-US"/>
              <a:pPr fontAlgn="base">
                <a:spcBef>
                  <a:spcPct val="0"/>
                </a:spcBef>
                <a:spcAft>
                  <a:spcPct val="0"/>
                </a:spcAft>
              </a:pPr>
              <a:t>125</a:t>
            </a:fld>
            <a:endParaRPr lang="en-US" altLang="en-US"/>
          </a:p>
        </p:txBody>
      </p:sp>
    </p:spTree>
    <p:extLst>
      <p:ext uri="{BB962C8B-B14F-4D97-AF65-F5344CB8AC3E}">
        <p14:creationId xmlns:p14="http://schemas.microsoft.com/office/powerpoint/2010/main" val="8181516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8EBEE809-F78C-584F-854A-0B8B1015858E}" type="datetime1">
              <a:rPr lang="en-ID" smtClean="0"/>
              <a:t>26/02/20</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59693FEF-7F64-0342-A471-E1079DCDFB88}" type="slidenum">
              <a:rPr lang="en-US"/>
              <a:pPr>
                <a:defRPr/>
              </a:pPr>
              <a:t>‹#›</a:t>
            </a:fld>
            <a:endParaRPr lang="en-US"/>
          </a:p>
        </p:txBody>
      </p:sp>
    </p:spTree>
    <p:extLst>
      <p:ext uri="{BB962C8B-B14F-4D97-AF65-F5344CB8AC3E}">
        <p14:creationId xmlns:p14="http://schemas.microsoft.com/office/powerpoint/2010/main" val="20241797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5_Title and Content">
    <p:spTree>
      <p:nvGrpSpPr>
        <p:cNvPr id="1" name=""/>
        <p:cNvGrpSpPr/>
        <p:nvPr/>
      </p:nvGrpSpPr>
      <p:grpSpPr>
        <a:xfrm>
          <a:off x="0" y="0"/>
          <a:ext cx="0" cy="0"/>
          <a:chOff x="0" y="0"/>
          <a:chExt cx="0" cy="0"/>
        </a:xfrm>
      </p:grpSpPr>
      <p:sp>
        <p:nvSpPr>
          <p:cNvPr id="3" name="Rectangle 2"/>
          <p:cNvSpPr/>
          <p:nvPr userDrawn="1"/>
        </p:nvSpPr>
        <p:spPr>
          <a:xfrm>
            <a:off x="412750" y="0"/>
            <a:ext cx="727075" cy="1190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Picture Placeholder 4"/>
          <p:cNvSpPr>
            <a:spLocks noGrp="1"/>
          </p:cNvSpPr>
          <p:nvPr>
            <p:ph type="pic" sz="quarter" idx="13"/>
          </p:nvPr>
        </p:nvSpPr>
        <p:spPr>
          <a:xfrm>
            <a:off x="3775610" y="2049001"/>
            <a:ext cx="4631790" cy="2623293"/>
          </a:xfrm>
        </p:spPr>
        <p:txBody>
          <a:bodyPr rtlCol="0">
            <a:normAutofit/>
          </a:bodyPr>
          <a:lstStyle/>
          <a:p>
            <a:pPr lvl="0"/>
            <a:endParaRPr lang="en-US" noProof="0"/>
          </a:p>
        </p:txBody>
      </p:sp>
      <p:sp>
        <p:nvSpPr>
          <p:cNvPr id="4" name="Slide Number Placeholder 5"/>
          <p:cNvSpPr>
            <a:spLocks noGrp="1"/>
          </p:cNvSpPr>
          <p:nvPr>
            <p:ph type="sldNum" sz="quarter" idx="14"/>
          </p:nvPr>
        </p:nvSpPr>
        <p:spPr>
          <a:xfrm>
            <a:off x="11264900" y="6369050"/>
            <a:ext cx="482600" cy="365125"/>
          </a:xfrm>
        </p:spPr>
        <p:txBody>
          <a:bodyPr/>
          <a:lstStyle>
            <a:lvl1pPr algn="ctr">
              <a:defRPr sz="1100" smtClean="0">
                <a:latin typeface="+mj-lt"/>
              </a:defRPr>
            </a:lvl1pPr>
          </a:lstStyle>
          <a:p>
            <a:pPr>
              <a:defRPr/>
            </a:pPr>
            <a:fld id="{A1C71F2F-F90B-1B4F-8533-BB5D63222752}" type="slidenum">
              <a:rPr lang="en-US"/>
              <a:pPr>
                <a:defRPr/>
              </a:pPr>
              <a:t>‹#›</a:t>
            </a:fld>
            <a:endParaRPr lang="en-US"/>
          </a:p>
        </p:txBody>
      </p:sp>
    </p:spTree>
    <p:extLst>
      <p:ext uri="{BB962C8B-B14F-4D97-AF65-F5344CB8AC3E}">
        <p14:creationId xmlns:p14="http://schemas.microsoft.com/office/powerpoint/2010/main" val="17609286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3" name="Rectangle 2"/>
          <p:cNvSpPr/>
          <p:nvPr userDrawn="1"/>
        </p:nvSpPr>
        <p:spPr>
          <a:xfrm>
            <a:off x="412750" y="0"/>
            <a:ext cx="727075" cy="1190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Picture Placeholder 4"/>
          <p:cNvSpPr>
            <a:spLocks noGrp="1"/>
          </p:cNvSpPr>
          <p:nvPr>
            <p:ph type="pic" sz="quarter" idx="13"/>
          </p:nvPr>
        </p:nvSpPr>
        <p:spPr>
          <a:xfrm>
            <a:off x="412751" y="0"/>
            <a:ext cx="4657286" cy="4373148"/>
          </a:xfrm>
        </p:spPr>
        <p:txBody>
          <a:bodyPr rtlCol="0">
            <a:normAutofit/>
          </a:bodyPr>
          <a:lstStyle/>
          <a:p>
            <a:pPr lvl="0"/>
            <a:endParaRPr lang="en-US" noProof="0"/>
          </a:p>
        </p:txBody>
      </p:sp>
      <p:sp>
        <p:nvSpPr>
          <p:cNvPr id="4" name="Slide Number Placeholder 5"/>
          <p:cNvSpPr>
            <a:spLocks noGrp="1"/>
          </p:cNvSpPr>
          <p:nvPr>
            <p:ph type="sldNum" sz="quarter" idx="14"/>
          </p:nvPr>
        </p:nvSpPr>
        <p:spPr>
          <a:xfrm>
            <a:off x="11264900" y="6369050"/>
            <a:ext cx="482600" cy="365125"/>
          </a:xfrm>
        </p:spPr>
        <p:txBody>
          <a:bodyPr/>
          <a:lstStyle>
            <a:lvl1pPr algn="ctr">
              <a:defRPr sz="1100" smtClean="0">
                <a:latin typeface="+mj-lt"/>
              </a:defRPr>
            </a:lvl1pPr>
          </a:lstStyle>
          <a:p>
            <a:pPr>
              <a:defRPr/>
            </a:pPr>
            <a:fld id="{336D308C-78D5-0644-A95D-41B55D5E6C4D}" type="slidenum">
              <a:rPr lang="en-US"/>
              <a:pPr>
                <a:defRPr/>
              </a:pPr>
              <a:t>‹#›</a:t>
            </a:fld>
            <a:endParaRPr lang="en-US"/>
          </a:p>
        </p:txBody>
      </p:sp>
    </p:spTree>
    <p:extLst>
      <p:ext uri="{BB962C8B-B14F-4D97-AF65-F5344CB8AC3E}">
        <p14:creationId xmlns:p14="http://schemas.microsoft.com/office/powerpoint/2010/main" val="14559669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3" name="Rectangle 2"/>
          <p:cNvSpPr/>
          <p:nvPr userDrawn="1"/>
        </p:nvSpPr>
        <p:spPr>
          <a:xfrm>
            <a:off x="412750" y="0"/>
            <a:ext cx="727075" cy="1190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Picture Placeholder 4"/>
          <p:cNvSpPr>
            <a:spLocks noGrp="1"/>
          </p:cNvSpPr>
          <p:nvPr>
            <p:ph type="pic" sz="quarter" idx="13"/>
          </p:nvPr>
        </p:nvSpPr>
        <p:spPr>
          <a:xfrm>
            <a:off x="0" y="0"/>
            <a:ext cx="5457825" cy="6858000"/>
          </a:xfrm>
        </p:spPr>
        <p:txBody>
          <a:bodyPr rtlCol="0">
            <a:normAutofit/>
          </a:bodyPr>
          <a:lstStyle/>
          <a:p>
            <a:pPr lvl="0"/>
            <a:endParaRPr lang="en-US" noProof="0"/>
          </a:p>
        </p:txBody>
      </p:sp>
      <p:sp>
        <p:nvSpPr>
          <p:cNvPr id="4" name="Slide Number Placeholder 5"/>
          <p:cNvSpPr>
            <a:spLocks noGrp="1"/>
          </p:cNvSpPr>
          <p:nvPr>
            <p:ph type="sldNum" sz="quarter" idx="14"/>
          </p:nvPr>
        </p:nvSpPr>
        <p:spPr>
          <a:xfrm>
            <a:off x="11264900" y="6369050"/>
            <a:ext cx="482600" cy="365125"/>
          </a:xfrm>
        </p:spPr>
        <p:txBody>
          <a:bodyPr/>
          <a:lstStyle>
            <a:lvl1pPr algn="ctr">
              <a:defRPr sz="1100" smtClean="0">
                <a:latin typeface="+mj-lt"/>
              </a:defRPr>
            </a:lvl1pPr>
          </a:lstStyle>
          <a:p>
            <a:pPr>
              <a:defRPr/>
            </a:pPr>
            <a:fld id="{4921013B-B3E6-BB4C-9016-3F381909C63E}" type="slidenum">
              <a:rPr lang="en-US"/>
              <a:pPr>
                <a:defRPr/>
              </a:pPr>
              <a:t>‹#›</a:t>
            </a:fld>
            <a:endParaRPr lang="en-US"/>
          </a:p>
        </p:txBody>
      </p:sp>
    </p:spTree>
    <p:extLst>
      <p:ext uri="{BB962C8B-B14F-4D97-AF65-F5344CB8AC3E}">
        <p14:creationId xmlns:p14="http://schemas.microsoft.com/office/powerpoint/2010/main" val="20080564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5" name="Rectangle 4"/>
          <p:cNvSpPr/>
          <p:nvPr userDrawn="1"/>
        </p:nvSpPr>
        <p:spPr>
          <a:xfrm>
            <a:off x="412750" y="0"/>
            <a:ext cx="727075" cy="1190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8" name="Picture Placeholder 4"/>
          <p:cNvSpPr>
            <a:spLocks noGrp="1"/>
          </p:cNvSpPr>
          <p:nvPr>
            <p:ph type="pic" sz="quarter" idx="13"/>
          </p:nvPr>
        </p:nvSpPr>
        <p:spPr>
          <a:xfrm>
            <a:off x="412751" y="1683078"/>
            <a:ext cx="4876800" cy="4219398"/>
          </a:xfrm>
        </p:spPr>
        <p:txBody>
          <a:bodyPr rtlCol="0">
            <a:normAutofit/>
          </a:bodyPr>
          <a:lstStyle/>
          <a:p>
            <a:pPr lvl="0"/>
            <a:endParaRPr lang="en-US" noProof="0"/>
          </a:p>
        </p:txBody>
      </p:sp>
      <p:sp>
        <p:nvSpPr>
          <p:cNvPr id="9" name="Picture Placeholder 4"/>
          <p:cNvSpPr>
            <a:spLocks noGrp="1"/>
          </p:cNvSpPr>
          <p:nvPr>
            <p:ph type="pic" sz="quarter" idx="14"/>
          </p:nvPr>
        </p:nvSpPr>
        <p:spPr>
          <a:xfrm>
            <a:off x="8160150" y="1683078"/>
            <a:ext cx="3777849" cy="2109699"/>
          </a:xfrm>
        </p:spPr>
        <p:txBody>
          <a:bodyPr rtlCol="0">
            <a:normAutofit/>
          </a:bodyPr>
          <a:lstStyle/>
          <a:p>
            <a:pPr lvl="0"/>
            <a:endParaRPr lang="en-US" noProof="0"/>
          </a:p>
        </p:txBody>
      </p:sp>
      <p:sp>
        <p:nvSpPr>
          <p:cNvPr id="10" name="Picture Placeholder 4"/>
          <p:cNvSpPr>
            <a:spLocks noGrp="1"/>
          </p:cNvSpPr>
          <p:nvPr>
            <p:ph type="pic" sz="quarter" idx="15"/>
          </p:nvPr>
        </p:nvSpPr>
        <p:spPr>
          <a:xfrm>
            <a:off x="8160150" y="3792777"/>
            <a:ext cx="3777849" cy="2094606"/>
          </a:xfrm>
        </p:spPr>
        <p:txBody>
          <a:bodyPr rtlCol="0">
            <a:normAutofit/>
          </a:bodyPr>
          <a:lstStyle/>
          <a:p>
            <a:pPr lvl="0"/>
            <a:endParaRPr lang="en-US" noProof="0"/>
          </a:p>
        </p:txBody>
      </p:sp>
      <p:sp>
        <p:nvSpPr>
          <p:cNvPr id="6" name="Slide Number Placeholder 5"/>
          <p:cNvSpPr>
            <a:spLocks noGrp="1"/>
          </p:cNvSpPr>
          <p:nvPr>
            <p:ph type="sldNum" sz="quarter" idx="16"/>
          </p:nvPr>
        </p:nvSpPr>
        <p:spPr>
          <a:xfrm>
            <a:off x="11264900" y="6369050"/>
            <a:ext cx="482600" cy="365125"/>
          </a:xfrm>
        </p:spPr>
        <p:txBody>
          <a:bodyPr/>
          <a:lstStyle>
            <a:lvl1pPr algn="ctr">
              <a:defRPr sz="1100" smtClean="0">
                <a:latin typeface="+mj-lt"/>
              </a:defRPr>
            </a:lvl1pPr>
          </a:lstStyle>
          <a:p>
            <a:pPr>
              <a:defRPr/>
            </a:pPr>
            <a:fld id="{F1133151-A13E-6542-A3CF-50679FEB96A4}" type="slidenum">
              <a:rPr lang="en-US"/>
              <a:pPr>
                <a:defRPr/>
              </a:pPr>
              <a:t>‹#›</a:t>
            </a:fld>
            <a:endParaRPr lang="en-US"/>
          </a:p>
        </p:txBody>
      </p:sp>
    </p:spTree>
    <p:extLst>
      <p:ext uri="{BB962C8B-B14F-4D97-AF65-F5344CB8AC3E}">
        <p14:creationId xmlns:p14="http://schemas.microsoft.com/office/powerpoint/2010/main" val="16986711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5" name="Rectangle 4"/>
          <p:cNvSpPr/>
          <p:nvPr userDrawn="1"/>
        </p:nvSpPr>
        <p:spPr>
          <a:xfrm>
            <a:off x="412750" y="0"/>
            <a:ext cx="727075" cy="1190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8" name="Picture Placeholder 4"/>
          <p:cNvSpPr>
            <a:spLocks noGrp="1"/>
          </p:cNvSpPr>
          <p:nvPr>
            <p:ph type="pic" sz="quarter" idx="13"/>
          </p:nvPr>
        </p:nvSpPr>
        <p:spPr>
          <a:xfrm>
            <a:off x="4978401" y="1929821"/>
            <a:ext cx="2406872" cy="3803322"/>
          </a:xfrm>
        </p:spPr>
        <p:txBody>
          <a:bodyPr rtlCol="0">
            <a:normAutofit/>
          </a:bodyPr>
          <a:lstStyle/>
          <a:p>
            <a:pPr lvl="0"/>
            <a:endParaRPr lang="en-US" noProof="0"/>
          </a:p>
        </p:txBody>
      </p:sp>
      <p:sp>
        <p:nvSpPr>
          <p:cNvPr id="13" name="Picture Placeholder 4"/>
          <p:cNvSpPr>
            <a:spLocks noGrp="1"/>
          </p:cNvSpPr>
          <p:nvPr>
            <p:ph type="pic" sz="quarter" idx="14"/>
          </p:nvPr>
        </p:nvSpPr>
        <p:spPr>
          <a:xfrm>
            <a:off x="7374748" y="1929821"/>
            <a:ext cx="2406872" cy="3803322"/>
          </a:xfrm>
        </p:spPr>
        <p:txBody>
          <a:bodyPr rtlCol="0">
            <a:normAutofit/>
          </a:bodyPr>
          <a:lstStyle/>
          <a:p>
            <a:pPr lvl="0"/>
            <a:endParaRPr lang="en-US" noProof="0"/>
          </a:p>
        </p:txBody>
      </p:sp>
      <p:sp>
        <p:nvSpPr>
          <p:cNvPr id="14" name="Picture Placeholder 4"/>
          <p:cNvSpPr>
            <a:spLocks noGrp="1"/>
          </p:cNvSpPr>
          <p:nvPr>
            <p:ph type="pic" sz="quarter" idx="15"/>
          </p:nvPr>
        </p:nvSpPr>
        <p:spPr>
          <a:xfrm>
            <a:off x="9771095" y="1929821"/>
            <a:ext cx="2406872" cy="3803322"/>
          </a:xfrm>
        </p:spPr>
        <p:txBody>
          <a:bodyPr rtlCol="0">
            <a:normAutofit/>
          </a:bodyPr>
          <a:lstStyle/>
          <a:p>
            <a:pPr lvl="0"/>
            <a:endParaRPr lang="en-US" noProof="0"/>
          </a:p>
        </p:txBody>
      </p:sp>
      <p:sp>
        <p:nvSpPr>
          <p:cNvPr id="6" name="Slide Number Placeholder 5"/>
          <p:cNvSpPr>
            <a:spLocks noGrp="1"/>
          </p:cNvSpPr>
          <p:nvPr>
            <p:ph type="sldNum" sz="quarter" idx="16"/>
          </p:nvPr>
        </p:nvSpPr>
        <p:spPr>
          <a:xfrm>
            <a:off x="11264900" y="6369050"/>
            <a:ext cx="482600" cy="365125"/>
          </a:xfrm>
        </p:spPr>
        <p:txBody>
          <a:bodyPr/>
          <a:lstStyle>
            <a:lvl1pPr algn="ctr">
              <a:defRPr sz="1100" smtClean="0">
                <a:latin typeface="+mj-lt"/>
              </a:defRPr>
            </a:lvl1pPr>
          </a:lstStyle>
          <a:p>
            <a:pPr>
              <a:defRPr/>
            </a:pPr>
            <a:fld id="{94027E90-DEA2-5F4E-B411-207B092DF62C}" type="slidenum">
              <a:rPr lang="en-US"/>
              <a:pPr>
                <a:defRPr/>
              </a:pPr>
              <a:t>‹#›</a:t>
            </a:fld>
            <a:endParaRPr lang="en-US"/>
          </a:p>
        </p:txBody>
      </p:sp>
    </p:spTree>
    <p:extLst>
      <p:ext uri="{BB962C8B-B14F-4D97-AF65-F5344CB8AC3E}">
        <p14:creationId xmlns:p14="http://schemas.microsoft.com/office/powerpoint/2010/main" val="9176921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6" name="Rectangle 5"/>
          <p:cNvSpPr/>
          <p:nvPr userDrawn="1"/>
        </p:nvSpPr>
        <p:spPr>
          <a:xfrm>
            <a:off x="412750" y="0"/>
            <a:ext cx="727075" cy="1190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4" name="Picture Placeholder 4"/>
          <p:cNvSpPr>
            <a:spLocks noGrp="1"/>
          </p:cNvSpPr>
          <p:nvPr>
            <p:ph type="pic" sz="quarter" idx="15"/>
          </p:nvPr>
        </p:nvSpPr>
        <p:spPr>
          <a:xfrm>
            <a:off x="59466" y="2012070"/>
            <a:ext cx="2929068" cy="2581398"/>
          </a:xfrm>
        </p:spPr>
        <p:txBody>
          <a:bodyPr rtlCol="0">
            <a:normAutofit/>
          </a:bodyPr>
          <a:lstStyle/>
          <a:p>
            <a:pPr lvl="0"/>
            <a:endParaRPr lang="en-US" noProof="0"/>
          </a:p>
        </p:txBody>
      </p:sp>
      <p:sp>
        <p:nvSpPr>
          <p:cNvPr id="12" name="Picture Placeholder 4"/>
          <p:cNvSpPr>
            <a:spLocks noGrp="1"/>
          </p:cNvSpPr>
          <p:nvPr>
            <p:ph type="pic" sz="quarter" idx="16"/>
          </p:nvPr>
        </p:nvSpPr>
        <p:spPr>
          <a:xfrm>
            <a:off x="3107466" y="2012070"/>
            <a:ext cx="2929068" cy="2581398"/>
          </a:xfrm>
        </p:spPr>
        <p:txBody>
          <a:bodyPr rtlCol="0">
            <a:normAutofit/>
          </a:bodyPr>
          <a:lstStyle/>
          <a:p>
            <a:pPr lvl="0"/>
            <a:endParaRPr lang="en-US" noProof="0"/>
          </a:p>
        </p:txBody>
      </p:sp>
      <p:sp>
        <p:nvSpPr>
          <p:cNvPr id="15" name="Picture Placeholder 4"/>
          <p:cNvSpPr>
            <a:spLocks noGrp="1"/>
          </p:cNvSpPr>
          <p:nvPr>
            <p:ph type="pic" sz="quarter" idx="17"/>
          </p:nvPr>
        </p:nvSpPr>
        <p:spPr>
          <a:xfrm>
            <a:off x="6155466" y="2012070"/>
            <a:ext cx="2929068" cy="2581398"/>
          </a:xfrm>
        </p:spPr>
        <p:txBody>
          <a:bodyPr rtlCol="0">
            <a:normAutofit/>
          </a:bodyPr>
          <a:lstStyle/>
          <a:p>
            <a:pPr lvl="0"/>
            <a:endParaRPr lang="en-US" noProof="0"/>
          </a:p>
        </p:txBody>
      </p:sp>
      <p:sp>
        <p:nvSpPr>
          <p:cNvPr id="16" name="Picture Placeholder 4"/>
          <p:cNvSpPr>
            <a:spLocks noGrp="1"/>
          </p:cNvSpPr>
          <p:nvPr>
            <p:ph type="pic" sz="quarter" idx="18"/>
          </p:nvPr>
        </p:nvSpPr>
        <p:spPr>
          <a:xfrm>
            <a:off x="9203466" y="2012070"/>
            <a:ext cx="2929068" cy="2581398"/>
          </a:xfrm>
        </p:spPr>
        <p:txBody>
          <a:bodyPr rtlCol="0">
            <a:normAutofit/>
          </a:bodyPr>
          <a:lstStyle/>
          <a:p>
            <a:pPr lvl="0"/>
            <a:endParaRPr lang="en-US" noProof="0"/>
          </a:p>
        </p:txBody>
      </p:sp>
      <p:sp>
        <p:nvSpPr>
          <p:cNvPr id="7" name="Slide Number Placeholder 5"/>
          <p:cNvSpPr>
            <a:spLocks noGrp="1"/>
          </p:cNvSpPr>
          <p:nvPr>
            <p:ph type="sldNum" sz="quarter" idx="19"/>
          </p:nvPr>
        </p:nvSpPr>
        <p:spPr>
          <a:xfrm>
            <a:off x="11264900" y="6369050"/>
            <a:ext cx="482600" cy="365125"/>
          </a:xfrm>
        </p:spPr>
        <p:txBody>
          <a:bodyPr/>
          <a:lstStyle>
            <a:lvl1pPr algn="ctr">
              <a:defRPr sz="1100" smtClean="0">
                <a:latin typeface="+mj-lt"/>
              </a:defRPr>
            </a:lvl1pPr>
          </a:lstStyle>
          <a:p>
            <a:pPr>
              <a:defRPr/>
            </a:pPr>
            <a:fld id="{4FE22FAB-874A-CE43-A3B9-A3359B4C5A0A}" type="slidenum">
              <a:rPr lang="en-US"/>
              <a:pPr>
                <a:defRPr/>
              </a:pPr>
              <a:t>‹#›</a:t>
            </a:fld>
            <a:endParaRPr lang="en-US"/>
          </a:p>
        </p:txBody>
      </p:sp>
    </p:spTree>
    <p:extLst>
      <p:ext uri="{BB962C8B-B14F-4D97-AF65-F5344CB8AC3E}">
        <p14:creationId xmlns:p14="http://schemas.microsoft.com/office/powerpoint/2010/main" val="4240929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2_Title and Content">
    <p:spTree>
      <p:nvGrpSpPr>
        <p:cNvPr id="1" name=""/>
        <p:cNvGrpSpPr/>
        <p:nvPr/>
      </p:nvGrpSpPr>
      <p:grpSpPr>
        <a:xfrm>
          <a:off x="0" y="0"/>
          <a:ext cx="0" cy="0"/>
          <a:chOff x="0" y="0"/>
          <a:chExt cx="0" cy="0"/>
        </a:xfrm>
      </p:grpSpPr>
      <p:sp>
        <p:nvSpPr>
          <p:cNvPr id="5" name="Rectangle 4"/>
          <p:cNvSpPr/>
          <p:nvPr userDrawn="1"/>
        </p:nvSpPr>
        <p:spPr>
          <a:xfrm>
            <a:off x="412750" y="0"/>
            <a:ext cx="727075" cy="1190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4" name="Picture Placeholder 4"/>
          <p:cNvSpPr>
            <a:spLocks noGrp="1"/>
          </p:cNvSpPr>
          <p:nvPr>
            <p:ph type="pic" sz="quarter" idx="15"/>
          </p:nvPr>
        </p:nvSpPr>
        <p:spPr>
          <a:xfrm>
            <a:off x="883285" y="1883000"/>
            <a:ext cx="3221975" cy="2839538"/>
          </a:xfrm>
        </p:spPr>
        <p:txBody>
          <a:bodyPr rtlCol="0">
            <a:normAutofit/>
          </a:bodyPr>
          <a:lstStyle/>
          <a:p>
            <a:pPr lvl="0"/>
            <a:endParaRPr lang="en-US" noProof="0" dirty="0"/>
          </a:p>
        </p:txBody>
      </p:sp>
      <p:sp>
        <p:nvSpPr>
          <p:cNvPr id="12" name="Picture Placeholder 4"/>
          <p:cNvSpPr>
            <a:spLocks noGrp="1"/>
          </p:cNvSpPr>
          <p:nvPr>
            <p:ph type="pic" sz="quarter" idx="16"/>
          </p:nvPr>
        </p:nvSpPr>
        <p:spPr>
          <a:xfrm>
            <a:off x="4584318" y="1883000"/>
            <a:ext cx="3221977" cy="2839538"/>
          </a:xfrm>
        </p:spPr>
        <p:txBody>
          <a:bodyPr rtlCol="0">
            <a:normAutofit/>
          </a:bodyPr>
          <a:lstStyle/>
          <a:p>
            <a:pPr lvl="0"/>
            <a:endParaRPr lang="en-US" noProof="0"/>
          </a:p>
        </p:txBody>
      </p:sp>
      <p:sp>
        <p:nvSpPr>
          <p:cNvPr id="15" name="Picture Placeholder 4"/>
          <p:cNvSpPr>
            <a:spLocks noGrp="1"/>
          </p:cNvSpPr>
          <p:nvPr>
            <p:ph type="pic" sz="quarter" idx="17"/>
          </p:nvPr>
        </p:nvSpPr>
        <p:spPr>
          <a:xfrm>
            <a:off x="8285352" y="1883000"/>
            <a:ext cx="3221978" cy="2839538"/>
          </a:xfrm>
        </p:spPr>
        <p:txBody>
          <a:bodyPr rtlCol="0">
            <a:normAutofit/>
          </a:bodyPr>
          <a:lstStyle/>
          <a:p>
            <a:pPr lvl="0"/>
            <a:endParaRPr lang="en-US" noProof="0"/>
          </a:p>
        </p:txBody>
      </p:sp>
      <p:sp>
        <p:nvSpPr>
          <p:cNvPr id="6" name="Slide Number Placeholder 5"/>
          <p:cNvSpPr>
            <a:spLocks noGrp="1"/>
          </p:cNvSpPr>
          <p:nvPr>
            <p:ph type="sldNum" sz="quarter" idx="18"/>
          </p:nvPr>
        </p:nvSpPr>
        <p:spPr>
          <a:xfrm>
            <a:off x="11264900" y="6369050"/>
            <a:ext cx="482600" cy="365125"/>
          </a:xfrm>
        </p:spPr>
        <p:txBody>
          <a:bodyPr/>
          <a:lstStyle>
            <a:lvl1pPr algn="ctr">
              <a:defRPr sz="1100" smtClean="0">
                <a:latin typeface="+mj-lt"/>
              </a:defRPr>
            </a:lvl1pPr>
          </a:lstStyle>
          <a:p>
            <a:pPr>
              <a:defRPr/>
            </a:pPr>
            <a:fld id="{C699A9D2-CAA5-CE4E-9C41-713974D71155}" type="slidenum">
              <a:rPr lang="en-US"/>
              <a:pPr>
                <a:defRPr/>
              </a:pPr>
              <a:t>‹#›</a:t>
            </a:fld>
            <a:endParaRPr lang="en-US"/>
          </a:p>
        </p:txBody>
      </p:sp>
    </p:spTree>
    <p:extLst>
      <p:ext uri="{BB962C8B-B14F-4D97-AF65-F5344CB8AC3E}">
        <p14:creationId xmlns:p14="http://schemas.microsoft.com/office/powerpoint/2010/main" val="2322047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6" name="Rectangle 5"/>
          <p:cNvSpPr/>
          <p:nvPr userDrawn="1"/>
        </p:nvSpPr>
        <p:spPr>
          <a:xfrm>
            <a:off x="412750" y="0"/>
            <a:ext cx="727075" cy="1190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4" name="Picture Placeholder 4"/>
          <p:cNvSpPr>
            <a:spLocks noGrp="1"/>
          </p:cNvSpPr>
          <p:nvPr>
            <p:ph type="pic" sz="quarter" idx="15"/>
          </p:nvPr>
        </p:nvSpPr>
        <p:spPr>
          <a:xfrm>
            <a:off x="1079500" y="1971322"/>
            <a:ext cx="2108200" cy="1978465"/>
          </a:xfrm>
        </p:spPr>
        <p:txBody>
          <a:bodyPr rtlCol="0">
            <a:normAutofit/>
          </a:bodyPr>
          <a:lstStyle/>
          <a:p>
            <a:pPr lvl="0"/>
            <a:endParaRPr lang="en-US" noProof="0"/>
          </a:p>
        </p:txBody>
      </p:sp>
      <p:sp>
        <p:nvSpPr>
          <p:cNvPr id="12" name="Picture Placeholder 4"/>
          <p:cNvSpPr>
            <a:spLocks noGrp="1"/>
          </p:cNvSpPr>
          <p:nvPr>
            <p:ph type="pic" sz="quarter" idx="16"/>
          </p:nvPr>
        </p:nvSpPr>
        <p:spPr>
          <a:xfrm>
            <a:off x="3683000" y="1971322"/>
            <a:ext cx="2108200" cy="1978465"/>
          </a:xfrm>
        </p:spPr>
        <p:txBody>
          <a:bodyPr rtlCol="0">
            <a:normAutofit/>
          </a:bodyPr>
          <a:lstStyle/>
          <a:p>
            <a:pPr lvl="0"/>
            <a:endParaRPr lang="en-US" noProof="0"/>
          </a:p>
        </p:txBody>
      </p:sp>
      <p:sp>
        <p:nvSpPr>
          <p:cNvPr id="16" name="Picture Placeholder 4"/>
          <p:cNvSpPr>
            <a:spLocks noGrp="1"/>
          </p:cNvSpPr>
          <p:nvPr>
            <p:ph type="pic" sz="quarter" idx="18"/>
          </p:nvPr>
        </p:nvSpPr>
        <p:spPr>
          <a:xfrm>
            <a:off x="8801100" y="1971322"/>
            <a:ext cx="2108200" cy="1978465"/>
          </a:xfrm>
        </p:spPr>
        <p:txBody>
          <a:bodyPr rtlCol="0">
            <a:normAutofit/>
          </a:bodyPr>
          <a:lstStyle/>
          <a:p>
            <a:pPr lvl="0"/>
            <a:endParaRPr lang="en-US" noProof="0"/>
          </a:p>
        </p:txBody>
      </p:sp>
      <p:sp>
        <p:nvSpPr>
          <p:cNvPr id="15" name="Picture Placeholder 4"/>
          <p:cNvSpPr>
            <a:spLocks noGrp="1"/>
          </p:cNvSpPr>
          <p:nvPr>
            <p:ph type="pic" sz="quarter" idx="17"/>
          </p:nvPr>
        </p:nvSpPr>
        <p:spPr>
          <a:xfrm>
            <a:off x="6286500" y="1971322"/>
            <a:ext cx="2108200" cy="1978465"/>
          </a:xfrm>
        </p:spPr>
        <p:txBody>
          <a:bodyPr rtlCol="0">
            <a:normAutofit/>
          </a:bodyPr>
          <a:lstStyle/>
          <a:p>
            <a:pPr lvl="0"/>
            <a:endParaRPr lang="en-US" noProof="0"/>
          </a:p>
        </p:txBody>
      </p:sp>
      <p:sp>
        <p:nvSpPr>
          <p:cNvPr id="7" name="Slide Number Placeholder 5"/>
          <p:cNvSpPr>
            <a:spLocks noGrp="1"/>
          </p:cNvSpPr>
          <p:nvPr>
            <p:ph type="sldNum" sz="quarter" idx="19"/>
          </p:nvPr>
        </p:nvSpPr>
        <p:spPr>
          <a:xfrm>
            <a:off x="11264900" y="6369050"/>
            <a:ext cx="482600" cy="365125"/>
          </a:xfrm>
        </p:spPr>
        <p:txBody>
          <a:bodyPr/>
          <a:lstStyle>
            <a:lvl1pPr algn="ctr">
              <a:defRPr sz="1100" smtClean="0">
                <a:latin typeface="+mj-lt"/>
              </a:defRPr>
            </a:lvl1pPr>
          </a:lstStyle>
          <a:p>
            <a:pPr>
              <a:defRPr/>
            </a:pPr>
            <a:fld id="{5798D147-B5E8-7F43-9579-830733598DA2}" type="slidenum">
              <a:rPr lang="en-US"/>
              <a:pPr>
                <a:defRPr/>
              </a:pPr>
              <a:t>‹#›</a:t>
            </a:fld>
            <a:endParaRPr lang="en-US"/>
          </a:p>
        </p:txBody>
      </p:sp>
    </p:spTree>
    <p:extLst>
      <p:ext uri="{BB962C8B-B14F-4D97-AF65-F5344CB8AC3E}">
        <p14:creationId xmlns:p14="http://schemas.microsoft.com/office/powerpoint/2010/main" val="6874130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6" name="Rectangle 5"/>
          <p:cNvSpPr/>
          <p:nvPr userDrawn="1"/>
        </p:nvSpPr>
        <p:spPr>
          <a:xfrm>
            <a:off x="412750" y="0"/>
            <a:ext cx="727075" cy="1190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8" name="Picture Placeholder 4"/>
          <p:cNvSpPr>
            <a:spLocks noGrp="1"/>
          </p:cNvSpPr>
          <p:nvPr>
            <p:ph type="pic" sz="quarter" idx="13"/>
          </p:nvPr>
        </p:nvSpPr>
        <p:spPr>
          <a:xfrm>
            <a:off x="412749" y="1680595"/>
            <a:ext cx="2714172" cy="4213474"/>
          </a:xfrm>
        </p:spPr>
        <p:txBody>
          <a:bodyPr rtlCol="0">
            <a:normAutofit/>
          </a:bodyPr>
          <a:lstStyle/>
          <a:p>
            <a:pPr lvl="0"/>
            <a:endParaRPr lang="en-US" noProof="0"/>
          </a:p>
        </p:txBody>
      </p:sp>
      <p:sp>
        <p:nvSpPr>
          <p:cNvPr id="20" name="Picture Placeholder 4"/>
          <p:cNvSpPr>
            <a:spLocks noGrp="1"/>
          </p:cNvSpPr>
          <p:nvPr>
            <p:ph type="pic" sz="quarter" idx="14"/>
          </p:nvPr>
        </p:nvSpPr>
        <p:spPr>
          <a:xfrm>
            <a:off x="3257548" y="1680595"/>
            <a:ext cx="2714172" cy="4213474"/>
          </a:xfrm>
        </p:spPr>
        <p:txBody>
          <a:bodyPr rtlCol="0">
            <a:normAutofit/>
          </a:bodyPr>
          <a:lstStyle/>
          <a:p>
            <a:pPr lvl="0"/>
            <a:endParaRPr lang="en-US" noProof="0"/>
          </a:p>
        </p:txBody>
      </p:sp>
      <p:sp>
        <p:nvSpPr>
          <p:cNvPr id="21" name="Picture Placeholder 4"/>
          <p:cNvSpPr>
            <a:spLocks noGrp="1"/>
          </p:cNvSpPr>
          <p:nvPr>
            <p:ph type="pic" sz="quarter" idx="15"/>
          </p:nvPr>
        </p:nvSpPr>
        <p:spPr>
          <a:xfrm>
            <a:off x="6102347" y="1680595"/>
            <a:ext cx="2714172" cy="4213474"/>
          </a:xfrm>
        </p:spPr>
        <p:txBody>
          <a:bodyPr rtlCol="0">
            <a:normAutofit/>
          </a:bodyPr>
          <a:lstStyle/>
          <a:p>
            <a:pPr lvl="0"/>
            <a:endParaRPr lang="en-US" noProof="0"/>
          </a:p>
        </p:txBody>
      </p:sp>
      <p:sp>
        <p:nvSpPr>
          <p:cNvPr id="22" name="Picture Placeholder 4"/>
          <p:cNvSpPr>
            <a:spLocks noGrp="1"/>
          </p:cNvSpPr>
          <p:nvPr>
            <p:ph type="pic" sz="quarter" idx="16"/>
          </p:nvPr>
        </p:nvSpPr>
        <p:spPr>
          <a:xfrm>
            <a:off x="8947146" y="1680595"/>
            <a:ext cx="2714172" cy="4213474"/>
          </a:xfrm>
        </p:spPr>
        <p:txBody>
          <a:bodyPr rtlCol="0">
            <a:normAutofit/>
          </a:bodyPr>
          <a:lstStyle/>
          <a:p>
            <a:pPr lvl="0"/>
            <a:endParaRPr lang="en-US" noProof="0"/>
          </a:p>
        </p:txBody>
      </p:sp>
      <p:sp>
        <p:nvSpPr>
          <p:cNvPr id="7" name="Slide Number Placeholder 5"/>
          <p:cNvSpPr>
            <a:spLocks noGrp="1"/>
          </p:cNvSpPr>
          <p:nvPr>
            <p:ph type="sldNum" sz="quarter" idx="17"/>
          </p:nvPr>
        </p:nvSpPr>
        <p:spPr>
          <a:xfrm>
            <a:off x="11264900" y="6369050"/>
            <a:ext cx="482600" cy="365125"/>
          </a:xfrm>
        </p:spPr>
        <p:txBody>
          <a:bodyPr/>
          <a:lstStyle>
            <a:lvl1pPr algn="ctr">
              <a:defRPr sz="1100" smtClean="0">
                <a:latin typeface="+mj-lt"/>
              </a:defRPr>
            </a:lvl1pPr>
          </a:lstStyle>
          <a:p>
            <a:pPr>
              <a:defRPr/>
            </a:pPr>
            <a:fld id="{9C9ACE5F-F04E-8D4D-80FA-BB7F0C1FAE92}" type="slidenum">
              <a:rPr lang="en-US"/>
              <a:pPr>
                <a:defRPr/>
              </a:pPr>
              <a:t>‹#›</a:t>
            </a:fld>
            <a:endParaRPr lang="en-US"/>
          </a:p>
        </p:txBody>
      </p:sp>
    </p:spTree>
    <p:extLst>
      <p:ext uri="{BB962C8B-B14F-4D97-AF65-F5344CB8AC3E}">
        <p14:creationId xmlns:p14="http://schemas.microsoft.com/office/powerpoint/2010/main" val="20363756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7" name="Rectangle 6"/>
          <p:cNvSpPr/>
          <p:nvPr userDrawn="1"/>
        </p:nvSpPr>
        <p:spPr>
          <a:xfrm>
            <a:off x="412750" y="0"/>
            <a:ext cx="727075" cy="1190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6" name="Picture Placeholder 4"/>
          <p:cNvSpPr>
            <a:spLocks noGrp="1"/>
          </p:cNvSpPr>
          <p:nvPr>
            <p:ph type="pic" sz="quarter" idx="16"/>
          </p:nvPr>
        </p:nvSpPr>
        <p:spPr>
          <a:xfrm>
            <a:off x="2435189" y="3623480"/>
            <a:ext cx="2436974" cy="1851949"/>
          </a:xfrm>
        </p:spPr>
        <p:txBody>
          <a:bodyPr rtlCol="0">
            <a:normAutofit/>
          </a:bodyPr>
          <a:lstStyle/>
          <a:p>
            <a:pPr lvl="0"/>
            <a:endParaRPr lang="en-US" noProof="0"/>
          </a:p>
        </p:txBody>
      </p:sp>
      <p:sp>
        <p:nvSpPr>
          <p:cNvPr id="8" name="Picture Placeholder 4"/>
          <p:cNvSpPr>
            <a:spLocks noGrp="1"/>
          </p:cNvSpPr>
          <p:nvPr>
            <p:ph type="pic" sz="quarter" idx="13"/>
          </p:nvPr>
        </p:nvSpPr>
        <p:spPr>
          <a:xfrm>
            <a:off x="0" y="1770205"/>
            <a:ext cx="2436974" cy="1851949"/>
          </a:xfrm>
        </p:spPr>
        <p:txBody>
          <a:bodyPr rtlCol="0">
            <a:normAutofit/>
          </a:bodyPr>
          <a:lstStyle/>
          <a:p>
            <a:pPr lvl="0"/>
            <a:endParaRPr lang="en-US" noProof="0"/>
          </a:p>
        </p:txBody>
      </p:sp>
      <p:sp>
        <p:nvSpPr>
          <p:cNvPr id="14" name="Picture Placeholder 4"/>
          <p:cNvSpPr>
            <a:spLocks noGrp="1"/>
          </p:cNvSpPr>
          <p:nvPr>
            <p:ph type="pic" sz="quarter" idx="14"/>
          </p:nvPr>
        </p:nvSpPr>
        <p:spPr>
          <a:xfrm>
            <a:off x="4875730" y="1770205"/>
            <a:ext cx="2436974" cy="1851949"/>
          </a:xfrm>
        </p:spPr>
        <p:txBody>
          <a:bodyPr rtlCol="0">
            <a:normAutofit/>
          </a:bodyPr>
          <a:lstStyle/>
          <a:p>
            <a:pPr lvl="0"/>
            <a:endParaRPr lang="en-US" noProof="0"/>
          </a:p>
        </p:txBody>
      </p:sp>
      <p:sp>
        <p:nvSpPr>
          <p:cNvPr id="15" name="Picture Placeholder 4"/>
          <p:cNvSpPr>
            <a:spLocks noGrp="1"/>
          </p:cNvSpPr>
          <p:nvPr>
            <p:ph type="pic" sz="quarter" idx="15"/>
          </p:nvPr>
        </p:nvSpPr>
        <p:spPr>
          <a:xfrm>
            <a:off x="9751459" y="1770205"/>
            <a:ext cx="2436974" cy="1851949"/>
          </a:xfrm>
        </p:spPr>
        <p:txBody>
          <a:bodyPr rtlCol="0">
            <a:normAutofit/>
          </a:bodyPr>
          <a:lstStyle/>
          <a:p>
            <a:pPr lvl="0"/>
            <a:endParaRPr lang="en-US" noProof="0"/>
          </a:p>
        </p:txBody>
      </p:sp>
      <p:sp>
        <p:nvSpPr>
          <p:cNvPr id="17" name="Picture Placeholder 4"/>
          <p:cNvSpPr>
            <a:spLocks noGrp="1"/>
          </p:cNvSpPr>
          <p:nvPr>
            <p:ph type="pic" sz="quarter" idx="17"/>
          </p:nvPr>
        </p:nvSpPr>
        <p:spPr>
          <a:xfrm>
            <a:off x="7318050" y="3623480"/>
            <a:ext cx="2436974" cy="1851949"/>
          </a:xfrm>
        </p:spPr>
        <p:txBody>
          <a:bodyPr rtlCol="0">
            <a:normAutofit/>
          </a:bodyPr>
          <a:lstStyle/>
          <a:p>
            <a:pPr lvl="0"/>
            <a:endParaRPr lang="en-US" noProof="0"/>
          </a:p>
        </p:txBody>
      </p:sp>
      <p:sp>
        <p:nvSpPr>
          <p:cNvPr id="9" name="Slide Number Placeholder 5"/>
          <p:cNvSpPr>
            <a:spLocks noGrp="1"/>
          </p:cNvSpPr>
          <p:nvPr>
            <p:ph type="sldNum" sz="quarter" idx="18"/>
          </p:nvPr>
        </p:nvSpPr>
        <p:spPr>
          <a:xfrm>
            <a:off x="11264900" y="6369050"/>
            <a:ext cx="482600" cy="365125"/>
          </a:xfrm>
        </p:spPr>
        <p:txBody>
          <a:bodyPr/>
          <a:lstStyle>
            <a:lvl1pPr algn="ctr">
              <a:defRPr sz="1100" smtClean="0">
                <a:latin typeface="+mj-lt"/>
              </a:defRPr>
            </a:lvl1pPr>
          </a:lstStyle>
          <a:p>
            <a:pPr>
              <a:defRPr/>
            </a:pPr>
            <a:fld id="{762F7681-54A3-1346-B702-202A8547B206}" type="slidenum">
              <a:rPr lang="en-US"/>
              <a:pPr>
                <a:defRPr/>
              </a:pPr>
              <a:t>‹#›</a:t>
            </a:fld>
            <a:endParaRPr lang="en-US"/>
          </a:p>
        </p:txBody>
      </p:sp>
    </p:spTree>
    <p:extLst>
      <p:ext uri="{BB962C8B-B14F-4D97-AF65-F5344CB8AC3E}">
        <p14:creationId xmlns:p14="http://schemas.microsoft.com/office/powerpoint/2010/main" val="9186000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EC509AB4-E499-6740-BDCF-3606F3C36218}" type="datetime1">
              <a:rPr lang="en-ID" smtClean="0"/>
              <a:t>26/02/20</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6D86341C-8BDC-B043-8F31-6DF497B7BBFD}" type="slidenum">
              <a:rPr lang="en-US"/>
              <a:pPr>
                <a:defRPr/>
              </a:pPr>
              <a:t>‹#›</a:t>
            </a:fld>
            <a:endParaRPr lang="en-US"/>
          </a:p>
        </p:txBody>
      </p:sp>
    </p:spTree>
    <p:extLst>
      <p:ext uri="{BB962C8B-B14F-4D97-AF65-F5344CB8AC3E}">
        <p14:creationId xmlns:p14="http://schemas.microsoft.com/office/powerpoint/2010/main" val="21012784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4_Title and Content">
    <p:spTree>
      <p:nvGrpSpPr>
        <p:cNvPr id="1" name=""/>
        <p:cNvGrpSpPr/>
        <p:nvPr/>
      </p:nvGrpSpPr>
      <p:grpSpPr>
        <a:xfrm>
          <a:off x="0" y="0"/>
          <a:ext cx="0" cy="0"/>
          <a:chOff x="0" y="0"/>
          <a:chExt cx="0" cy="0"/>
        </a:xfrm>
      </p:grpSpPr>
      <p:sp>
        <p:nvSpPr>
          <p:cNvPr id="3" name="Rectangle 2"/>
          <p:cNvSpPr/>
          <p:nvPr userDrawn="1"/>
        </p:nvSpPr>
        <p:spPr>
          <a:xfrm>
            <a:off x="412750" y="0"/>
            <a:ext cx="727075" cy="1190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Picture Placeholder 4"/>
          <p:cNvSpPr>
            <a:spLocks noGrp="1"/>
          </p:cNvSpPr>
          <p:nvPr>
            <p:ph type="pic" sz="quarter" idx="13"/>
          </p:nvPr>
        </p:nvSpPr>
        <p:spPr>
          <a:xfrm>
            <a:off x="0" y="1564324"/>
            <a:ext cx="12192000" cy="4214175"/>
          </a:xfrm>
        </p:spPr>
        <p:txBody>
          <a:bodyPr rtlCol="0">
            <a:normAutofit/>
          </a:bodyPr>
          <a:lstStyle/>
          <a:p>
            <a:pPr lvl="0"/>
            <a:endParaRPr lang="en-US" noProof="0"/>
          </a:p>
        </p:txBody>
      </p:sp>
      <p:sp>
        <p:nvSpPr>
          <p:cNvPr id="4" name="Slide Number Placeholder 5"/>
          <p:cNvSpPr>
            <a:spLocks noGrp="1"/>
          </p:cNvSpPr>
          <p:nvPr>
            <p:ph type="sldNum" sz="quarter" idx="14"/>
          </p:nvPr>
        </p:nvSpPr>
        <p:spPr>
          <a:xfrm>
            <a:off x="11264900" y="6369050"/>
            <a:ext cx="482600" cy="365125"/>
          </a:xfrm>
        </p:spPr>
        <p:txBody>
          <a:bodyPr/>
          <a:lstStyle>
            <a:lvl1pPr algn="ctr">
              <a:defRPr sz="1100" smtClean="0">
                <a:latin typeface="+mj-lt"/>
              </a:defRPr>
            </a:lvl1pPr>
          </a:lstStyle>
          <a:p>
            <a:pPr>
              <a:defRPr/>
            </a:pPr>
            <a:fld id="{14EDE8F7-ADB2-CC45-A740-102CF6C431C4}" type="slidenum">
              <a:rPr lang="en-US"/>
              <a:pPr>
                <a:defRPr/>
              </a:pPr>
              <a:t>‹#›</a:t>
            </a:fld>
            <a:endParaRPr lang="en-US"/>
          </a:p>
        </p:txBody>
      </p:sp>
    </p:spTree>
    <p:extLst>
      <p:ext uri="{BB962C8B-B14F-4D97-AF65-F5344CB8AC3E}">
        <p14:creationId xmlns:p14="http://schemas.microsoft.com/office/powerpoint/2010/main" val="651656698"/>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3" name="Rectangle 2"/>
          <p:cNvSpPr/>
          <p:nvPr userDrawn="1"/>
        </p:nvSpPr>
        <p:spPr>
          <a:xfrm>
            <a:off x="412750" y="0"/>
            <a:ext cx="727075" cy="1190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Picture Placeholder 4"/>
          <p:cNvSpPr>
            <a:spLocks noGrp="1"/>
          </p:cNvSpPr>
          <p:nvPr>
            <p:ph type="pic" sz="quarter" idx="13"/>
          </p:nvPr>
        </p:nvSpPr>
        <p:spPr>
          <a:xfrm>
            <a:off x="0" y="1"/>
            <a:ext cx="12192000" cy="3967866"/>
          </a:xfrm>
        </p:spPr>
        <p:txBody>
          <a:bodyPr rtlCol="0">
            <a:normAutofit/>
          </a:bodyPr>
          <a:lstStyle/>
          <a:p>
            <a:pPr lvl="0"/>
            <a:endParaRPr lang="en-US" noProof="0"/>
          </a:p>
        </p:txBody>
      </p:sp>
      <p:sp>
        <p:nvSpPr>
          <p:cNvPr id="4" name="Slide Number Placeholder 5"/>
          <p:cNvSpPr>
            <a:spLocks noGrp="1"/>
          </p:cNvSpPr>
          <p:nvPr>
            <p:ph type="sldNum" sz="quarter" idx="14"/>
          </p:nvPr>
        </p:nvSpPr>
        <p:spPr>
          <a:xfrm>
            <a:off x="11264900" y="6369050"/>
            <a:ext cx="482600" cy="365125"/>
          </a:xfrm>
        </p:spPr>
        <p:txBody>
          <a:bodyPr/>
          <a:lstStyle>
            <a:lvl1pPr algn="ctr">
              <a:defRPr sz="1100" smtClean="0">
                <a:latin typeface="+mj-lt"/>
              </a:defRPr>
            </a:lvl1pPr>
          </a:lstStyle>
          <a:p>
            <a:pPr>
              <a:defRPr/>
            </a:pPr>
            <a:fld id="{07622891-03CA-2247-98AD-3B4E791C2ECE}" type="slidenum">
              <a:rPr lang="en-US"/>
              <a:pPr>
                <a:defRPr/>
              </a:pPr>
              <a:t>‹#›</a:t>
            </a:fld>
            <a:endParaRPr lang="en-US"/>
          </a:p>
        </p:txBody>
      </p:sp>
    </p:spTree>
    <p:extLst>
      <p:ext uri="{BB962C8B-B14F-4D97-AF65-F5344CB8AC3E}">
        <p14:creationId xmlns:p14="http://schemas.microsoft.com/office/powerpoint/2010/main" val="22752358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LEFT_Title and Content">
    <p:spTree>
      <p:nvGrpSpPr>
        <p:cNvPr id="1" name=""/>
        <p:cNvGrpSpPr/>
        <p:nvPr/>
      </p:nvGrpSpPr>
      <p:grpSpPr>
        <a:xfrm>
          <a:off x="0" y="0"/>
          <a:ext cx="0" cy="0"/>
          <a:chOff x="0" y="0"/>
          <a:chExt cx="0" cy="0"/>
        </a:xfrm>
      </p:grpSpPr>
      <p:sp>
        <p:nvSpPr>
          <p:cNvPr id="2" name="Rectangle 1"/>
          <p:cNvSpPr/>
          <p:nvPr userDrawn="1"/>
        </p:nvSpPr>
        <p:spPr>
          <a:xfrm>
            <a:off x="11020425" y="0"/>
            <a:ext cx="727075" cy="1190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3" name="Slide Number Placeholder 5"/>
          <p:cNvSpPr>
            <a:spLocks noGrp="1"/>
          </p:cNvSpPr>
          <p:nvPr>
            <p:ph type="sldNum" sz="quarter" idx="10"/>
          </p:nvPr>
        </p:nvSpPr>
        <p:spPr>
          <a:xfrm>
            <a:off x="11264900" y="6369050"/>
            <a:ext cx="482600" cy="365125"/>
          </a:xfrm>
        </p:spPr>
        <p:txBody>
          <a:bodyPr/>
          <a:lstStyle>
            <a:lvl1pPr algn="ctr">
              <a:defRPr sz="1100" smtClean="0">
                <a:latin typeface="+mj-lt"/>
              </a:defRPr>
            </a:lvl1pPr>
          </a:lstStyle>
          <a:p>
            <a:pPr>
              <a:defRPr/>
            </a:pPr>
            <a:fld id="{7CFFE96A-EED1-FA4A-9A94-A6E7D7031EAD}" type="slidenum">
              <a:rPr lang="en-US"/>
              <a:pPr>
                <a:defRPr/>
              </a:pPr>
              <a:t>‹#›</a:t>
            </a:fld>
            <a:endParaRPr lang="en-US"/>
          </a:p>
        </p:txBody>
      </p:sp>
    </p:spTree>
    <p:extLst>
      <p:ext uri="{BB962C8B-B14F-4D97-AF65-F5344CB8AC3E}">
        <p14:creationId xmlns:p14="http://schemas.microsoft.com/office/powerpoint/2010/main" val="14680182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7" name="Rectangle 6"/>
          <p:cNvSpPr/>
          <p:nvPr userDrawn="1"/>
        </p:nvSpPr>
        <p:spPr>
          <a:xfrm>
            <a:off x="11020425" y="0"/>
            <a:ext cx="727075" cy="1190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0" name="Picture Placeholder 4"/>
          <p:cNvSpPr>
            <a:spLocks noGrp="1"/>
          </p:cNvSpPr>
          <p:nvPr>
            <p:ph type="pic" sz="quarter" idx="13"/>
          </p:nvPr>
        </p:nvSpPr>
        <p:spPr>
          <a:xfrm>
            <a:off x="145144" y="129805"/>
            <a:ext cx="3686628" cy="2170507"/>
          </a:xfrm>
        </p:spPr>
        <p:txBody>
          <a:bodyPr rtlCol="0">
            <a:normAutofit/>
          </a:bodyPr>
          <a:lstStyle/>
          <a:p>
            <a:pPr lvl="0"/>
            <a:endParaRPr lang="en-US" noProof="0" dirty="0"/>
          </a:p>
        </p:txBody>
      </p:sp>
      <p:sp>
        <p:nvSpPr>
          <p:cNvPr id="11" name="Picture Placeholder 4"/>
          <p:cNvSpPr>
            <a:spLocks noGrp="1"/>
          </p:cNvSpPr>
          <p:nvPr>
            <p:ph type="pic" sz="quarter" idx="14"/>
          </p:nvPr>
        </p:nvSpPr>
        <p:spPr>
          <a:xfrm>
            <a:off x="3846286" y="129805"/>
            <a:ext cx="2046514" cy="2170507"/>
          </a:xfrm>
        </p:spPr>
        <p:txBody>
          <a:bodyPr rtlCol="0">
            <a:normAutofit/>
          </a:bodyPr>
          <a:lstStyle/>
          <a:p>
            <a:pPr lvl="0"/>
            <a:endParaRPr lang="en-US" noProof="0" dirty="0"/>
          </a:p>
        </p:txBody>
      </p:sp>
      <p:sp>
        <p:nvSpPr>
          <p:cNvPr id="12" name="Picture Placeholder 4"/>
          <p:cNvSpPr>
            <a:spLocks noGrp="1"/>
          </p:cNvSpPr>
          <p:nvPr>
            <p:ph type="pic" sz="quarter" idx="15"/>
          </p:nvPr>
        </p:nvSpPr>
        <p:spPr>
          <a:xfrm>
            <a:off x="145145" y="2332599"/>
            <a:ext cx="1994806" cy="2262552"/>
          </a:xfrm>
        </p:spPr>
        <p:txBody>
          <a:bodyPr rtlCol="0">
            <a:normAutofit/>
          </a:bodyPr>
          <a:lstStyle/>
          <a:p>
            <a:pPr lvl="0"/>
            <a:endParaRPr lang="en-US" noProof="0" dirty="0"/>
          </a:p>
        </p:txBody>
      </p:sp>
      <p:sp>
        <p:nvSpPr>
          <p:cNvPr id="13" name="Picture Placeholder 4"/>
          <p:cNvSpPr>
            <a:spLocks noGrp="1"/>
          </p:cNvSpPr>
          <p:nvPr>
            <p:ph type="pic" sz="quarter" idx="16"/>
          </p:nvPr>
        </p:nvSpPr>
        <p:spPr>
          <a:xfrm>
            <a:off x="2162627" y="2332599"/>
            <a:ext cx="3730173" cy="2262552"/>
          </a:xfrm>
        </p:spPr>
        <p:txBody>
          <a:bodyPr rtlCol="0">
            <a:normAutofit/>
          </a:bodyPr>
          <a:lstStyle/>
          <a:p>
            <a:pPr lvl="0"/>
            <a:endParaRPr lang="en-US" noProof="0" dirty="0"/>
          </a:p>
        </p:txBody>
      </p:sp>
      <p:sp>
        <p:nvSpPr>
          <p:cNvPr id="14" name="Picture Placeholder 4"/>
          <p:cNvSpPr>
            <a:spLocks noGrp="1"/>
          </p:cNvSpPr>
          <p:nvPr>
            <p:ph type="pic" sz="quarter" idx="17"/>
          </p:nvPr>
        </p:nvSpPr>
        <p:spPr>
          <a:xfrm>
            <a:off x="145144" y="4627438"/>
            <a:ext cx="5747656" cy="2106737"/>
          </a:xfrm>
        </p:spPr>
        <p:txBody>
          <a:bodyPr rtlCol="0">
            <a:normAutofit/>
          </a:bodyPr>
          <a:lstStyle/>
          <a:p>
            <a:pPr lvl="0"/>
            <a:endParaRPr lang="en-US" noProof="0" dirty="0"/>
          </a:p>
        </p:txBody>
      </p:sp>
      <p:sp>
        <p:nvSpPr>
          <p:cNvPr id="8" name="Slide Number Placeholder 5"/>
          <p:cNvSpPr>
            <a:spLocks noGrp="1"/>
          </p:cNvSpPr>
          <p:nvPr>
            <p:ph type="sldNum" sz="quarter" idx="18"/>
          </p:nvPr>
        </p:nvSpPr>
        <p:spPr>
          <a:xfrm>
            <a:off x="11264900" y="6369050"/>
            <a:ext cx="482600" cy="365125"/>
          </a:xfrm>
        </p:spPr>
        <p:txBody>
          <a:bodyPr/>
          <a:lstStyle>
            <a:lvl1pPr algn="ctr">
              <a:defRPr sz="1100" smtClean="0">
                <a:latin typeface="+mj-lt"/>
              </a:defRPr>
            </a:lvl1pPr>
          </a:lstStyle>
          <a:p>
            <a:pPr>
              <a:defRPr/>
            </a:pPr>
            <a:fld id="{5A731DC1-94ED-4345-9277-1A1D9999F7CB}" type="slidenum">
              <a:rPr lang="en-US"/>
              <a:pPr>
                <a:defRPr/>
              </a:pPr>
              <a:t>‹#›</a:t>
            </a:fld>
            <a:endParaRPr lang="en-US"/>
          </a:p>
        </p:txBody>
      </p:sp>
    </p:spTree>
    <p:extLst>
      <p:ext uri="{BB962C8B-B14F-4D97-AF65-F5344CB8AC3E}">
        <p14:creationId xmlns:p14="http://schemas.microsoft.com/office/powerpoint/2010/main" val="54297291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ENTER_Title and Content">
    <p:spTree>
      <p:nvGrpSpPr>
        <p:cNvPr id="1" name=""/>
        <p:cNvGrpSpPr/>
        <p:nvPr/>
      </p:nvGrpSpPr>
      <p:grpSpPr>
        <a:xfrm>
          <a:off x="0" y="0"/>
          <a:ext cx="0" cy="0"/>
          <a:chOff x="0" y="0"/>
          <a:chExt cx="0" cy="0"/>
        </a:xfrm>
      </p:grpSpPr>
      <p:sp>
        <p:nvSpPr>
          <p:cNvPr id="2" name="Rectangle 1"/>
          <p:cNvSpPr/>
          <p:nvPr userDrawn="1"/>
        </p:nvSpPr>
        <p:spPr>
          <a:xfrm>
            <a:off x="5732463" y="0"/>
            <a:ext cx="727075" cy="1190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3" name="Slide Number Placeholder 5"/>
          <p:cNvSpPr>
            <a:spLocks noGrp="1"/>
          </p:cNvSpPr>
          <p:nvPr>
            <p:ph type="sldNum" sz="quarter" idx="10"/>
          </p:nvPr>
        </p:nvSpPr>
        <p:spPr>
          <a:xfrm>
            <a:off x="11264900" y="6369050"/>
            <a:ext cx="482600" cy="365125"/>
          </a:xfrm>
        </p:spPr>
        <p:txBody>
          <a:bodyPr/>
          <a:lstStyle>
            <a:lvl1pPr algn="ctr">
              <a:defRPr sz="1100" smtClean="0">
                <a:latin typeface="+mj-lt"/>
              </a:defRPr>
            </a:lvl1pPr>
          </a:lstStyle>
          <a:p>
            <a:pPr>
              <a:defRPr/>
            </a:pPr>
            <a:fld id="{2031C126-EE30-4D4A-8072-57A8B4041A5F}" type="slidenum">
              <a:rPr lang="en-US"/>
              <a:pPr>
                <a:defRPr/>
              </a:pPr>
              <a:t>‹#›</a:t>
            </a:fld>
            <a:endParaRPr lang="en-US"/>
          </a:p>
        </p:txBody>
      </p:sp>
    </p:spTree>
    <p:extLst>
      <p:ext uri="{BB962C8B-B14F-4D97-AF65-F5344CB8AC3E}">
        <p14:creationId xmlns:p14="http://schemas.microsoft.com/office/powerpoint/2010/main" val="10876990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1_Title and Content">
    <p:spTree>
      <p:nvGrpSpPr>
        <p:cNvPr id="1" name=""/>
        <p:cNvGrpSpPr/>
        <p:nvPr/>
      </p:nvGrpSpPr>
      <p:grpSpPr>
        <a:xfrm>
          <a:off x="0" y="0"/>
          <a:ext cx="0" cy="0"/>
          <a:chOff x="0" y="0"/>
          <a:chExt cx="0" cy="0"/>
        </a:xfrm>
      </p:grpSpPr>
      <p:sp>
        <p:nvSpPr>
          <p:cNvPr id="5" name="Rectangle 4"/>
          <p:cNvSpPr/>
          <p:nvPr userDrawn="1"/>
        </p:nvSpPr>
        <p:spPr>
          <a:xfrm>
            <a:off x="5732463" y="0"/>
            <a:ext cx="727075" cy="1190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9" name="Picture Placeholder 4"/>
          <p:cNvSpPr>
            <a:spLocks noGrp="1"/>
          </p:cNvSpPr>
          <p:nvPr>
            <p:ph type="pic" sz="quarter" idx="14"/>
          </p:nvPr>
        </p:nvSpPr>
        <p:spPr>
          <a:xfrm>
            <a:off x="4223167" y="2604155"/>
            <a:ext cx="1327634" cy="2245885"/>
          </a:xfrm>
        </p:spPr>
        <p:txBody>
          <a:bodyPr rtlCol="0">
            <a:normAutofit/>
          </a:bodyPr>
          <a:lstStyle/>
          <a:p>
            <a:pPr lvl="0"/>
            <a:endParaRPr lang="en-US" noProof="0" dirty="0"/>
          </a:p>
        </p:txBody>
      </p:sp>
      <p:sp>
        <p:nvSpPr>
          <p:cNvPr id="10" name="Picture Placeholder 4"/>
          <p:cNvSpPr>
            <a:spLocks noGrp="1"/>
          </p:cNvSpPr>
          <p:nvPr>
            <p:ph type="pic" sz="quarter" idx="15"/>
          </p:nvPr>
        </p:nvSpPr>
        <p:spPr>
          <a:xfrm>
            <a:off x="6615385" y="2604155"/>
            <a:ext cx="1327634" cy="2245885"/>
          </a:xfrm>
        </p:spPr>
        <p:txBody>
          <a:bodyPr rtlCol="0">
            <a:normAutofit/>
          </a:bodyPr>
          <a:lstStyle/>
          <a:p>
            <a:pPr lvl="0"/>
            <a:endParaRPr lang="en-US" noProof="0" dirty="0"/>
          </a:p>
        </p:txBody>
      </p:sp>
      <p:sp>
        <p:nvSpPr>
          <p:cNvPr id="8" name="Picture Placeholder 4"/>
          <p:cNvSpPr>
            <a:spLocks noGrp="1"/>
          </p:cNvSpPr>
          <p:nvPr>
            <p:ph type="pic" sz="quarter" idx="13"/>
          </p:nvPr>
        </p:nvSpPr>
        <p:spPr>
          <a:xfrm>
            <a:off x="5287751" y="2444258"/>
            <a:ext cx="1597544" cy="2702477"/>
          </a:xfrm>
        </p:spPr>
        <p:txBody>
          <a:bodyPr rtlCol="0">
            <a:normAutofit/>
          </a:bodyPr>
          <a:lstStyle/>
          <a:p>
            <a:pPr lvl="0"/>
            <a:endParaRPr lang="en-US" noProof="0" dirty="0"/>
          </a:p>
        </p:txBody>
      </p:sp>
      <p:sp>
        <p:nvSpPr>
          <p:cNvPr id="6" name="Slide Number Placeholder 5"/>
          <p:cNvSpPr>
            <a:spLocks noGrp="1"/>
          </p:cNvSpPr>
          <p:nvPr>
            <p:ph type="sldNum" sz="quarter" idx="16"/>
          </p:nvPr>
        </p:nvSpPr>
        <p:spPr>
          <a:xfrm>
            <a:off x="11264900" y="6369050"/>
            <a:ext cx="482600" cy="365125"/>
          </a:xfrm>
        </p:spPr>
        <p:txBody>
          <a:bodyPr/>
          <a:lstStyle>
            <a:lvl1pPr algn="ctr">
              <a:defRPr sz="1100" smtClean="0">
                <a:latin typeface="+mj-lt"/>
              </a:defRPr>
            </a:lvl1pPr>
          </a:lstStyle>
          <a:p>
            <a:pPr>
              <a:defRPr/>
            </a:pPr>
            <a:fld id="{E57F3244-3B6F-8742-BA1C-C49FCE99A8F8}" type="slidenum">
              <a:rPr lang="en-US"/>
              <a:pPr>
                <a:defRPr/>
              </a:pPr>
              <a:t>‹#›</a:t>
            </a:fld>
            <a:endParaRPr lang="en-US"/>
          </a:p>
        </p:txBody>
      </p:sp>
    </p:spTree>
    <p:extLst>
      <p:ext uri="{BB962C8B-B14F-4D97-AF65-F5344CB8AC3E}">
        <p14:creationId xmlns:p14="http://schemas.microsoft.com/office/powerpoint/2010/main" val="15775334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8638C85E-AA35-544E-92EB-3F9E03C21F38}" type="datetime1">
              <a:rPr lang="en-ID" smtClean="0"/>
              <a:t>26/02/20</a:t>
            </a:fld>
            <a:endParaRPr lang="en-US"/>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FD053374-5A02-E846-8C49-49192A053B64}" type="slidenum">
              <a:rPr lang="en-US"/>
              <a:pPr>
                <a:defRPr/>
              </a:pPr>
              <a:t>‹#›</a:t>
            </a:fld>
            <a:endParaRPr lang="en-US"/>
          </a:p>
        </p:txBody>
      </p:sp>
    </p:spTree>
    <p:extLst>
      <p:ext uri="{BB962C8B-B14F-4D97-AF65-F5344CB8AC3E}">
        <p14:creationId xmlns:p14="http://schemas.microsoft.com/office/powerpoint/2010/main" val="81754430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fld id="{8FE781C4-0B96-2D4F-8D0F-B7E9DE868D0F}" type="datetime1">
              <a:rPr lang="en-ID" smtClean="0"/>
              <a:t>26/02/20</a:t>
            </a:fld>
            <a:endParaRPr lang="en-US"/>
          </a:p>
        </p:txBody>
      </p:sp>
      <p:sp>
        <p:nvSpPr>
          <p:cNvPr id="3" name="Footer Placeholder 2"/>
          <p:cNvSpPr>
            <a:spLocks noGrp="1"/>
          </p:cNvSpPr>
          <p:nvPr>
            <p:ph type="ftr" sz="quarter" idx="11"/>
          </p:nvPr>
        </p:nvSpPr>
        <p:spPr/>
        <p:txBody>
          <a:bodyPr/>
          <a:lstStyle>
            <a:lvl1pPr>
              <a:defRPr/>
            </a:lvl1pPr>
          </a:lstStyle>
          <a:p>
            <a:pPr>
              <a:defRPr/>
            </a:pPr>
            <a:endParaRPr lang="en-US"/>
          </a:p>
        </p:txBody>
      </p:sp>
      <p:sp>
        <p:nvSpPr>
          <p:cNvPr id="4" name="Slide Number Placeholder 3"/>
          <p:cNvSpPr>
            <a:spLocks noGrp="1"/>
          </p:cNvSpPr>
          <p:nvPr>
            <p:ph type="sldNum" sz="quarter" idx="12"/>
          </p:nvPr>
        </p:nvSpPr>
        <p:spPr>
          <a:xfrm>
            <a:off x="11277600" y="6356350"/>
            <a:ext cx="444500" cy="365125"/>
          </a:xfrm>
        </p:spPr>
        <p:txBody>
          <a:bodyPr/>
          <a:lstStyle>
            <a:lvl1pPr algn="ctr">
              <a:defRPr smtClean="0"/>
            </a:lvl1pPr>
          </a:lstStyle>
          <a:p>
            <a:pPr>
              <a:defRPr/>
            </a:pPr>
            <a:fld id="{C2FA4588-C9AE-E947-8597-561ABF3FBC56}" type="slidenum">
              <a:rPr lang="en-US"/>
              <a:pPr>
                <a:defRPr/>
              </a:pPr>
              <a:t>‹#›</a:t>
            </a:fld>
            <a:endParaRPr lang="en-US"/>
          </a:p>
        </p:txBody>
      </p:sp>
    </p:spTree>
    <p:extLst>
      <p:ext uri="{BB962C8B-B14F-4D97-AF65-F5344CB8AC3E}">
        <p14:creationId xmlns:p14="http://schemas.microsoft.com/office/powerpoint/2010/main" val="7716555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0" y="-50169"/>
            <a:ext cx="3495554" cy="7009426"/>
          </a:xfrm>
          <a:custGeom>
            <a:avLst/>
            <a:gdLst>
              <a:gd name="connsiteX0" fmla="*/ 0 w 3495554"/>
              <a:gd name="connsiteY0" fmla="*/ 0 h 7009426"/>
              <a:gd name="connsiteX1" fmla="*/ 348741 w 3495554"/>
              <a:gd name="connsiteY1" fmla="*/ 17610 h 7009426"/>
              <a:gd name="connsiteX2" fmla="*/ 3495554 w 3495554"/>
              <a:gd name="connsiteY2" fmla="*/ 3504713 h 7009426"/>
              <a:gd name="connsiteX3" fmla="*/ 348741 w 3495554"/>
              <a:gd name="connsiteY3" fmla="*/ 6991816 h 7009426"/>
              <a:gd name="connsiteX4" fmla="*/ 0 w 3495554"/>
              <a:gd name="connsiteY4" fmla="*/ 7009426 h 7009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5554" h="7009426">
                <a:moveTo>
                  <a:pt x="0" y="0"/>
                </a:moveTo>
                <a:lnTo>
                  <a:pt x="348741" y="17610"/>
                </a:lnTo>
                <a:cubicBezTo>
                  <a:pt x="2116259" y="197111"/>
                  <a:pt x="3495554" y="1689836"/>
                  <a:pt x="3495554" y="3504713"/>
                </a:cubicBezTo>
                <a:cubicBezTo>
                  <a:pt x="3495554" y="5319590"/>
                  <a:pt x="2116259" y="6812315"/>
                  <a:pt x="348741" y="6991816"/>
                </a:cubicBezTo>
                <a:lnTo>
                  <a:pt x="0" y="7009426"/>
                </a:lnTo>
                <a:close/>
              </a:path>
            </a:pathLst>
          </a:custGeom>
          <a:solidFill>
            <a:schemeClr val="bg1">
              <a:lumMod val="85000"/>
            </a:schemeClr>
          </a:solidFill>
        </p:spPr>
        <p:txBody>
          <a:bodyPr rtlCol="0">
            <a:noAutofit/>
          </a:bodyPr>
          <a:lstStyle/>
          <a:p>
            <a:pPr lvl="0"/>
            <a:endParaRPr lang="en-US" noProof="0" dirty="0"/>
          </a:p>
        </p:txBody>
      </p:sp>
      <p:sp>
        <p:nvSpPr>
          <p:cNvPr id="3" name="Date Placeholder 1"/>
          <p:cNvSpPr>
            <a:spLocks noGrp="1"/>
          </p:cNvSpPr>
          <p:nvPr>
            <p:ph type="dt" sz="half" idx="14"/>
          </p:nvPr>
        </p:nvSpPr>
        <p:spPr/>
        <p:txBody>
          <a:bodyPr/>
          <a:lstStyle>
            <a:lvl1pPr>
              <a:defRPr/>
            </a:lvl1pPr>
          </a:lstStyle>
          <a:p>
            <a:pPr>
              <a:defRPr/>
            </a:pPr>
            <a:fld id="{41454CAF-23E8-1943-AFA5-1A70AC7C080F}" type="datetime1">
              <a:rPr lang="en-ID" smtClean="0"/>
              <a:t>26/02/20</a:t>
            </a:fld>
            <a:endParaRPr lang="en-US"/>
          </a:p>
        </p:txBody>
      </p:sp>
      <p:sp>
        <p:nvSpPr>
          <p:cNvPr id="4" name="Footer Placeholder 2"/>
          <p:cNvSpPr>
            <a:spLocks noGrp="1"/>
          </p:cNvSpPr>
          <p:nvPr>
            <p:ph type="ftr" sz="quarter" idx="15"/>
          </p:nvPr>
        </p:nvSpPr>
        <p:spPr/>
        <p:txBody>
          <a:bodyPr/>
          <a:lstStyle>
            <a:lvl1pPr>
              <a:defRPr/>
            </a:lvl1pPr>
          </a:lstStyle>
          <a:p>
            <a:pPr>
              <a:defRPr/>
            </a:pPr>
            <a:endParaRPr lang="en-US"/>
          </a:p>
        </p:txBody>
      </p:sp>
      <p:sp>
        <p:nvSpPr>
          <p:cNvPr id="5" name="Slide Number Placeholder 3"/>
          <p:cNvSpPr>
            <a:spLocks noGrp="1"/>
          </p:cNvSpPr>
          <p:nvPr>
            <p:ph type="sldNum" sz="quarter" idx="16"/>
          </p:nvPr>
        </p:nvSpPr>
        <p:spPr>
          <a:xfrm>
            <a:off x="11277600" y="6356350"/>
            <a:ext cx="444500" cy="365125"/>
          </a:xfrm>
        </p:spPr>
        <p:txBody>
          <a:bodyPr/>
          <a:lstStyle>
            <a:lvl1pPr algn="ctr">
              <a:defRPr smtClean="0"/>
            </a:lvl1pPr>
          </a:lstStyle>
          <a:p>
            <a:pPr>
              <a:defRPr/>
            </a:pPr>
            <a:fld id="{75A53CF6-2DA0-4F44-8C27-B3EF262BCE85}" type="slidenum">
              <a:rPr lang="en-US"/>
              <a:pPr>
                <a:defRPr/>
              </a:pPr>
              <a:t>‹#›</a:t>
            </a:fld>
            <a:endParaRPr lang="en-US"/>
          </a:p>
        </p:txBody>
      </p:sp>
    </p:spTree>
    <p:extLst>
      <p:ext uri="{BB962C8B-B14F-4D97-AF65-F5344CB8AC3E}">
        <p14:creationId xmlns:p14="http://schemas.microsoft.com/office/powerpoint/2010/main" val="56051317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0"/>
            <a:ext cx="12192000" cy="6858000"/>
          </a:xfrm>
        </p:spPr>
        <p:txBody>
          <a:bodyPr rtlCol="0">
            <a:normAutofit/>
          </a:bodyPr>
          <a:lstStyle>
            <a:lvl1pPr marL="0" indent="0">
              <a:buNone/>
              <a:defRPr>
                <a:solidFill>
                  <a:schemeClr val="bg1">
                    <a:lumMod val="65000"/>
                  </a:schemeClr>
                </a:solidFill>
              </a:defRPr>
            </a:lvl1pPr>
          </a:lstStyle>
          <a:p>
            <a:pPr lvl="0"/>
            <a:endParaRPr lang="en-US" noProof="0"/>
          </a:p>
        </p:txBody>
      </p:sp>
      <p:sp>
        <p:nvSpPr>
          <p:cNvPr id="3" name="Date Placeholder 1"/>
          <p:cNvSpPr>
            <a:spLocks noGrp="1"/>
          </p:cNvSpPr>
          <p:nvPr>
            <p:ph type="dt" sz="half" idx="14"/>
          </p:nvPr>
        </p:nvSpPr>
        <p:spPr/>
        <p:txBody>
          <a:bodyPr/>
          <a:lstStyle>
            <a:lvl1pPr>
              <a:defRPr/>
            </a:lvl1pPr>
          </a:lstStyle>
          <a:p>
            <a:pPr>
              <a:defRPr/>
            </a:pPr>
            <a:fld id="{1512C29B-40BB-6041-88DA-D5A94473C199}" type="datetime1">
              <a:rPr lang="en-ID" smtClean="0"/>
              <a:t>26/02/20</a:t>
            </a:fld>
            <a:endParaRPr lang="en-US"/>
          </a:p>
        </p:txBody>
      </p:sp>
      <p:sp>
        <p:nvSpPr>
          <p:cNvPr id="4" name="Footer Placeholder 2"/>
          <p:cNvSpPr>
            <a:spLocks noGrp="1"/>
          </p:cNvSpPr>
          <p:nvPr>
            <p:ph type="ftr" sz="quarter" idx="15"/>
          </p:nvPr>
        </p:nvSpPr>
        <p:spPr/>
        <p:txBody>
          <a:bodyPr/>
          <a:lstStyle>
            <a:lvl1pPr>
              <a:defRPr/>
            </a:lvl1pPr>
          </a:lstStyle>
          <a:p>
            <a:pPr>
              <a:defRPr/>
            </a:pPr>
            <a:endParaRPr lang="en-US"/>
          </a:p>
        </p:txBody>
      </p:sp>
      <p:sp>
        <p:nvSpPr>
          <p:cNvPr id="5" name="Slide Number Placeholder 3"/>
          <p:cNvSpPr>
            <a:spLocks noGrp="1"/>
          </p:cNvSpPr>
          <p:nvPr>
            <p:ph type="sldNum" sz="quarter" idx="16"/>
          </p:nvPr>
        </p:nvSpPr>
        <p:spPr>
          <a:xfrm>
            <a:off x="11277600" y="6356350"/>
            <a:ext cx="444500" cy="365125"/>
          </a:xfrm>
        </p:spPr>
        <p:txBody>
          <a:bodyPr/>
          <a:lstStyle>
            <a:lvl1pPr algn="ctr">
              <a:defRPr smtClean="0"/>
            </a:lvl1pPr>
          </a:lstStyle>
          <a:p>
            <a:pPr>
              <a:defRPr/>
            </a:pPr>
            <a:fld id="{C94398D8-1130-8442-AD15-661A7FFC2CD8}" type="slidenum">
              <a:rPr lang="en-US"/>
              <a:pPr>
                <a:defRPr/>
              </a:pPr>
              <a:t>‹#›</a:t>
            </a:fld>
            <a:endParaRPr lang="en-US"/>
          </a:p>
        </p:txBody>
      </p:sp>
    </p:spTree>
    <p:extLst>
      <p:ext uri="{BB962C8B-B14F-4D97-AF65-F5344CB8AC3E}">
        <p14:creationId xmlns:p14="http://schemas.microsoft.com/office/powerpoint/2010/main" val="16817237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RIGHT 1_Title and Content">
    <p:spTree>
      <p:nvGrpSpPr>
        <p:cNvPr id="1" name=""/>
        <p:cNvGrpSpPr/>
        <p:nvPr/>
      </p:nvGrpSpPr>
      <p:grpSpPr>
        <a:xfrm>
          <a:off x="0" y="0"/>
          <a:ext cx="0" cy="0"/>
          <a:chOff x="0" y="0"/>
          <a:chExt cx="0" cy="0"/>
        </a:xfrm>
      </p:grpSpPr>
      <p:sp>
        <p:nvSpPr>
          <p:cNvPr id="2" name="Rectangle 1"/>
          <p:cNvSpPr/>
          <p:nvPr userDrawn="1"/>
        </p:nvSpPr>
        <p:spPr>
          <a:xfrm>
            <a:off x="412750" y="0"/>
            <a:ext cx="727075" cy="1190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3" name="Slide Number Placeholder 5"/>
          <p:cNvSpPr>
            <a:spLocks noGrp="1"/>
          </p:cNvSpPr>
          <p:nvPr>
            <p:ph type="sldNum" sz="quarter" idx="10"/>
          </p:nvPr>
        </p:nvSpPr>
        <p:spPr>
          <a:xfrm>
            <a:off x="11264900" y="6369050"/>
            <a:ext cx="482600" cy="365125"/>
          </a:xfrm>
        </p:spPr>
        <p:txBody>
          <a:bodyPr/>
          <a:lstStyle>
            <a:lvl1pPr algn="ctr">
              <a:defRPr sz="1100" smtClean="0">
                <a:latin typeface="+mj-lt"/>
              </a:defRPr>
            </a:lvl1pPr>
          </a:lstStyle>
          <a:p>
            <a:pPr>
              <a:defRPr/>
            </a:pPr>
            <a:fld id="{5607CE07-49E1-5A45-9499-26549471F436}" type="slidenum">
              <a:rPr lang="en-US"/>
              <a:pPr>
                <a:defRPr/>
              </a:pPr>
              <a:t>‹#›</a:t>
            </a:fld>
            <a:endParaRPr lang="en-US"/>
          </a:p>
        </p:txBody>
      </p:sp>
    </p:spTree>
    <p:extLst>
      <p:ext uri="{BB962C8B-B14F-4D97-AF65-F5344CB8AC3E}">
        <p14:creationId xmlns:p14="http://schemas.microsoft.com/office/powerpoint/2010/main" val="86677743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0"/>
            <a:ext cx="12192000" cy="6858000"/>
          </a:xfrm>
        </p:spPr>
        <p:txBody>
          <a:bodyPr rtlCol="0">
            <a:normAutofit/>
          </a:bodyPr>
          <a:lstStyle>
            <a:lvl1pPr marL="0" indent="0">
              <a:buNone/>
              <a:defRPr>
                <a:solidFill>
                  <a:schemeClr val="bg1">
                    <a:lumMod val="65000"/>
                  </a:schemeClr>
                </a:solidFill>
              </a:defRPr>
            </a:lvl1pPr>
          </a:lstStyle>
          <a:p>
            <a:pPr lvl="0"/>
            <a:endParaRPr lang="en-US" noProof="0"/>
          </a:p>
        </p:txBody>
      </p:sp>
      <p:sp>
        <p:nvSpPr>
          <p:cNvPr id="3" name="Date Placeholder 1"/>
          <p:cNvSpPr>
            <a:spLocks noGrp="1"/>
          </p:cNvSpPr>
          <p:nvPr>
            <p:ph type="dt" sz="half" idx="14"/>
          </p:nvPr>
        </p:nvSpPr>
        <p:spPr/>
        <p:txBody>
          <a:bodyPr/>
          <a:lstStyle>
            <a:lvl1pPr>
              <a:defRPr/>
            </a:lvl1pPr>
          </a:lstStyle>
          <a:p>
            <a:pPr>
              <a:defRPr/>
            </a:pPr>
            <a:fld id="{56F98754-CA09-1544-8922-C9265DD2914F}" type="datetime1">
              <a:rPr lang="en-ID" smtClean="0"/>
              <a:t>26/02/20</a:t>
            </a:fld>
            <a:endParaRPr lang="en-US"/>
          </a:p>
        </p:txBody>
      </p:sp>
      <p:sp>
        <p:nvSpPr>
          <p:cNvPr id="4" name="Footer Placeholder 2"/>
          <p:cNvSpPr>
            <a:spLocks noGrp="1"/>
          </p:cNvSpPr>
          <p:nvPr>
            <p:ph type="ftr" sz="quarter" idx="15"/>
          </p:nvPr>
        </p:nvSpPr>
        <p:spPr/>
        <p:txBody>
          <a:bodyPr/>
          <a:lstStyle>
            <a:lvl1pPr>
              <a:defRPr/>
            </a:lvl1pPr>
          </a:lstStyle>
          <a:p>
            <a:pPr>
              <a:defRPr/>
            </a:pPr>
            <a:endParaRPr lang="en-US"/>
          </a:p>
        </p:txBody>
      </p:sp>
      <p:sp>
        <p:nvSpPr>
          <p:cNvPr id="5" name="Slide Number Placeholder 3"/>
          <p:cNvSpPr>
            <a:spLocks noGrp="1"/>
          </p:cNvSpPr>
          <p:nvPr>
            <p:ph type="sldNum" sz="quarter" idx="16"/>
          </p:nvPr>
        </p:nvSpPr>
        <p:spPr>
          <a:xfrm>
            <a:off x="11277600" y="6356350"/>
            <a:ext cx="444500" cy="365125"/>
          </a:xfrm>
        </p:spPr>
        <p:txBody>
          <a:bodyPr/>
          <a:lstStyle>
            <a:lvl1pPr algn="ctr">
              <a:defRPr smtClean="0"/>
            </a:lvl1pPr>
          </a:lstStyle>
          <a:p>
            <a:pPr>
              <a:defRPr/>
            </a:pPr>
            <a:fld id="{2255CD86-161E-A946-B526-A950136FA8B6}" type="slidenum">
              <a:rPr lang="en-US"/>
              <a:pPr>
                <a:defRPr/>
              </a:pPr>
              <a:t>‹#›</a:t>
            </a:fld>
            <a:endParaRPr lang="en-US"/>
          </a:p>
        </p:txBody>
      </p:sp>
    </p:spTree>
    <p:extLst>
      <p:ext uri="{BB962C8B-B14F-4D97-AF65-F5344CB8AC3E}">
        <p14:creationId xmlns:p14="http://schemas.microsoft.com/office/powerpoint/2010/main" val="169813261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4_Blank">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0"/>
            <a:ext cx="12192000" cy="6858000"/>
          </a:xfrm>
        </p:spPr>
        <p:txBody>
          <a:bodyPr rtlCol="0">
            <a:normAutofit/>
          </a:bodyPr>
          <a:lstStyle>
            <a:lvl1pPr marL="0" indent="0">
              <a:buNone/>
              <a:defRPr>
                <a:solidFill>
                  <a:schemeClr val="bg1">
                    <a:lumMod val="65000"/>
                  </a:schemeClr>
                </a:solidFill>
              </a:defRPr>
            </a:lvl1pPr>
          </a:lstStyle>
          <a:p>
            <a:pPr lvl="0"/>
            <a:endParaRPr lang="en-US" noProof="0"/>
          </a:p>
        </p:txBody>
      </p:sp>
      <p:sp>
        <p:nvSpPr>
          <p:cNvPr id="7" name="Picture Placeholder 7"/>
          <p:cNvSpPr>
            <a:spLocks noGrp="1"/>
          </p:cNvSpPr>
          <p:nvPr>
            <p:ph type="pic" sz="quarter" idx="14"/>
          </p:nvPr>
        </p:nvSpPr>
        <p:spPr>
          <a:xfrm>
            <a:off x="6935226" y="2514600"/>
            <a:ext cx="5244074" cy="4343400"/>
          </a:xfrm>
        </p:spPr>
        <p:txBody>
          <a:bodyPr rtlCol="0">
            <a:normAutofit/>
          </a:bodyPr>
          <a:lstStyle/>
          <a:p>
            <a:pPr lvl="0"/>
            <a:endParaRPr lang="en-US" noProof="0"/>
          </a:p>
        </p:txBody>
      </p:sp>
      <p:sp>
        <p:nvSpPr>
          <p:cNvPr id="4" name="Date Placeholder 1"/>
          <p:cNvSpPr>
            <a:spLocks noGrp="1"/>
          </p:cNvSpPr>
          <p:nvPr>
            <p:ph type="dt" sz="half" idx="15"/>
          </p:nvPr>
        </p:nvSpPr>
        <p:spPr/>
        <p:txBody>
          <a:bodyPr/>
          <a:lstStyle>
            <a:lvl1pPr>
              <a:defRPr/>
            </a:lvl1pPr>
          </a:lstStyle>
          <a:p>
            <a:pPr>
              <a:defRPr/>
            </a:pPr>
            <a:fld id="{CDBCD7DE-E62F-2446-8BDA-237D8D1A41E8}" type="datetime1">
              <a:rPr lang="en-ID" smtClean="0"/>
              <a:t>26/02/20</a:t>
            </a:fld>
            <a:endParaRPr lang="en-US"/>
          </a:p>
        </p:txBody>
      </p:sp>
      <p:sp>
        <p:nvSpPr>
          <p:cNvPr id="5" name="Footer Placeholder 2"/>
          <p:cNvSpPr>
            <a:spLocks noGrp="1"/>
          </p:cNvSpPr>
          <p:nvPr>
            <p:ph type="ftr" sz="quarter" idx="16"/>
          </p:nvPr>
        </p:nvSpPr>
        <p:spPr/>
        <p:txBody>
          <a:bodyPr/>
          <a:lstStyle>
            <a:lvl1pPr>
              <a:defRPr/>
            </a:lvl1pPr>
          </a:lstStyle>
          <a:p>
            <a:pPr>
              <a:defRPr/>
            </a:pPr>
            <a:endParaRPr lang="en-US"/>
          </a:p>
        </p:txBody>
      </p:sp>
      <p:sp>
        <p:nvSpPr>
          <p:cNvPr id="8" name="Slide Number Placeholder 3"/>
          <p:cNvSpPr>
            <a:spLocks noGrp="1"/>
          </p:cNvSpPr>
          <p:nvPr>
            <p:ph type="sldNum" sz="quarter" idx="17"/>
          </p:nvPr>
        </p:nvSpPr>
        <p:spPr>
          <a:xfrm>
            <a:off x="11277600" y="6356350"/>
            <a:ext cx="444500" cy="365125"/>
          </a:xfrm>
        </p:spPr>
        <p:txBody>
          <a:bodyPr/>
          <a:lstStyle>
            <a:lvl1pPr algn="ctr">
              <a:defRPr smtClean="0"/>
            </a:lvl1pPr>
          </a:lstStyle>
          <a:p>
            <a:pPr>
              <a:defRPr/>
            </a:pPr>
            <a:fld id="{20346839-55B5-3243-883C-4F2FADEC2FAA}" type="slidenum">
              <a:rPr lang="en-US"/>
              <a:pPr>
                <a:defRPr/>
              </a:pPr>
              <a:t>‹#›</a:t>
            </a:fld>
            <a:endParaRPr lang="en-US"/>
          </a:p>
        </p:txBody>
      </p:sp>
    </p:spTree>
    <p:extLst>
      <p:ext uri="{BB962C8B-B14F-4D97-AF65-F5344CB8AC3E}">
        <p14:creationId xmlns:p14="http://schemas.microsoft.com/office/powerpoint/2010/main" val="4571076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91001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RIGHT 1_Title and Content">
    <p:spTree>
      <p:nvGrpSpPr>
        <p:cNvPr id="1" name=""/>
        <p:cNvGrpSpPr/>
        <p:nvPr/>
      </p:nvGrpSpPr>
      <p:grpSpPr>
        <a:xfrm>
          <a:off x="0" y="0"/>
          <a:ext cx="0" cy="0"/>
          <a:chOff x="0" y="0"/>
          <a:chExt cx="0" cy="0"/>
        </a:xfrm>
      </p:grpSpPr>
      <p:sp>
        <p:nvSpPr>
          <p:cNvPr id="3" name="Rectangle 2"/>
          <p:cNvSpPr/>
          <p:nvPr userDrawn="1"/>
        </p:nvSpPr>
        <p:spPr>
          <a:xfrm>
            <a:off x="412750" y="0"/>
            <a:ext cx="727075" cy="1190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Picture Placeholder 4"/>
          <p:cNvSpPr>
            <a:spLocks noGrp="1"/>
          </p:cNvSpPr>
          <p:nvPr>
            <p:ph type="pic" sz="quarter" idx="13"/>
          </p:nvPr>
        </p:nvSpPr>
        <p:spPr>
          <a:xfrm>
            <a:off x="5722363" y="2630715"/>
            <a:ext cx="6057764" cy="1799771"/>
          </a:xfrm>
          <a:prstGeom prst="roundRect">
            <a:avLst>
              <a:gd name="adj" fmla="val 50000"/>
            </a:avLst>
          </a:prstGeom>
          <a:solidFill>
            <a:schemeClr val="bg1">
              <a:lumMod val="85000"/>
            </a:schemeClr>
          </a:solidFill>
          <a:ln>
            <a:noFill/>
          </a:ln>
        </p:spPr>
        <p:txBody>
          <a:bodyPr rtlCol="0">
            <a:normAutofit/>
          </a:bodyPr>
          <a:lstStyle/>
          <a:p>
            <a:pPr lvl="0"/>
            <a:endParaRPr lang="en-US" noProof="0"/>
          </a:p>
        </p:txBody>
      </p:sp>
      <p:sp>
        <p:nvSpPr>
          <p:cNvPr id="4" name="Slide Number Placeholder 5"/>
          <p:cNvSpPr>
            <a:spLocks noGrp="1"/>
          </p:cNvSpPr>
          <p:nvPr>
            <p:ph type="sldNum" sz="quarter" idx="14"/>
          </p:nvPr>
        </p:nvSpPr>
        <p:spPr>
          <a:xfrm>
            <a:off x="11264900" y="6369050"/>
            <a:ext cx="482600" cy="365125"/>
          </a:xfrm>
        </p:spPr>
        <p:txBody>
          <a:bodyPr/>
          <a:lstStyle>
            <a:lvl1pPr algn="ctr">
              <a:defRPr sz="1100" smtClean="0">
                <a:latin typeface="+mj-lt"/>
              </a:defRPr>
            </a:lvl1pPr>
          </a:lstStyle>
          <a:p>
            <a:pPr>
              <a:defRPr/>
            </a:pPr>
            <a:fld id="{851959A8-6158-C448-8DB4-D01E79BAE947}" type="slidenum">
              <a:rPr lang="en-US"/>
              <a:pPr>
                <a:defRPr/>
              </a:pPr>
              <a:t>‹#›</a:t>
            </a:fld>
            <a:endParaRPr lang="en-US"/>
          </a:p>
        </p:txBody>
      </p:sp>
    </p:spTree>
    <p:extLst>
      <p:ext uri="{BB962C8B-B14F-4D97-AF65-F5344CB8AC3E}">
        <p14:creationId xmlns:p14="http://schemas.microsoft.com/office/powerpoint/2010/main" val="15467892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0_Title and Content">
    <p:spTree>
      <p:nvGrpSpPr>
        <p:cNvPr id="1" name=""/>
        <p:cNvGrpSpPr/>
        <p:nvPr/>
      </p:nvGrpSpPr>
      <p:grpSpPr>
        <a:xfrm>
          <a:off x="0" y="0"/>
          <a:ext cx="0" cy="0"/>
          <a:chOff x="0" y="0"/>
          <a:chExt cx="0" cy="0"/>
        </a:xfrm>
      </p:grpSpPr>
      <p:sp>
        <p:nvSpPr>
          <p:cNvPr id="3" name="Rectangle 2"/>
          <p:cNvSpPr/>
          <p:nvPr userDrawn="1"/>
        </p:nvSpPr>
        <p:spPr>
          <a:xfrm>
            <a:off x="412750" y="0"/>
            <a:ext cx="727075" cy="1190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Picture Placeholder 4"/>
          <p:cNvSpPr>
            <a:spLocks noGrp="1"/>
          </p:cNvSpPr>
          <p:nvPr>
            <p:ph type="pic" sz="quarter" idx="14"/>
          </p:nvPr>
        </p:nvSpPr>
        <p:spPr>
          <a:xfrm>
            <a:off x="8640161" y="2002177"/>
            <a:ext cx="2656078" cy="3501154"/>
          </a:xfrm>
        </p:spPr>
        <p:txBody>
          <a:bodyPr rtlCol="0">
            <a:normAutofit/>
          </a:bodyPr>
          <a:lstStyle/>
          <a:p>
            <a:pPr lvl="0"/>
            <a:endParaRPr lang="en-US" noProof="0" dirty="0"/>
          </a:p>
        </p:txBody>
      </p:sp>
      <p:sp>
        <p:nvSpPr>
          <p:cNvPr id="4" name="Slide Number Placeholder 5"/>
          <p:cNvSpPr>
            <a:spLocks noGrp="1"/>
          </p:cNvSpPr>
          <p:nvPr>
            <p:ph type="sldNum" sz="quarter" idx="15"/>
          </p:nvPr>
        </p:nvSpPr>
        <p:spPr>
          <a:xfrm>
            <a:off x="11264900" y="6369050"/>
            <a:ext cx="482600" cy="365125"/>
          </a:xfrm>
        </p:spPr>
        <p:txBody>
          <a:bodyPr/>
          <a:lstStyle>
            <a:lvl1pPr algn="ctr">
              <a:defRPr sz="1100" smtClean="0">
                <a:latin typeface="+mj-lt"/>
              </a:defRPr>
            </a:lvl1pPr>
          </a:lstStyle>
          <a:p>
            <a:pPr>
              <a:defRPr/>
            </a:pPr>
            <a:fld id="{345A519B-5928-FB4C-B300-B7D50FAD67F0}" type="slidenum">
              <a:rPr lang="en-US"/>
              <a:pPr>
                <a:defRPr/>
              </a:pPr>
              <a:t>‹#›</a:t>
            </a:fld>
            <a:endParaRPr lang="en-US"/>
          </a:p>
        </p:txBody>
      </p:sp>
    </p:spTree>
    <p:extLst>
      <p:ext uri="{BB962C8B-B14F-4D97-AF65-F5344CB8AC3E}">
        <p14:creationId xmlns:p14="http://schemas.microsoft.com/office/powerpoint/2010/main" val="15973946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4" name="Rectangle 3"/>
          <p:cNvSpPr/>
          <p:nvPr userDrawn="1"/>
        </p:nvSpPr>
        <p:spPr>
          <a:xfrm>
            <a:off x="412750" y="0"/>
            <a:ext cx="727075" cy="1190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8" name="Picture Placeholder 4"/>
          <p:cNvSpPr>
            <a:spLocks noGrp="1"/>
          </p:cNvSpPr>
          <p:nvPr>
            <p:ph type="pic" sz="quarter" idx="15"/>
          </p:nvPr>
        </p:nvSpPr>
        <p:spPr>
          <a:xfrm>
            <a:off x="2781312" y="2593933"/>
            <a:ext cx="1587369" cy="2821444"/>
          </a:xfrm>
        </p:spPr>
        <p:txBody>
          <a:bodyPr rtlCol="0">
            <a:normAutofit/>
          </a:bodyPr>
          <a:lstStyle/>
          <a:p>
            <a:pPr lvl="0"/>
            <a:endParaRPr lang="en-US" noProof="0"/>
          </a:p>
        </p:txBody>
      </p:sp>
      <p:sp>
        <p:nvSpPr>
          <p:cNvPr id="7" name="Picture Placeholder 4"/>
          <p:cNvSpPr>
            <a:spLocks noGrp="1"/>
          </p:cNvSpPr>
          <p:nvPr>
            <p:ph type="pic" sz="quarter" idx="14"/>
          </p:nvPr>
        </p:nvSpPr>
        <p:spPr>
          <a:xfrm>
            <a:off x="1324237" y="2298148"/>
            <a:ext cx="1728368" cy="3072060"/>
          </a:xfrm>
        </p:spPr>
        <p:txBody>
          <a:bodyPr rtlCol="0">
            <a:normAutofit/>
          </a:bodyPr>
          <a:lstStyle/>
          <a:p>
            <a:pPr lvl="0"/>
            <a:endParaRPr lang="en-US" noProof="0" dirty="0"/>
          </a:p>
        </p:txBody>
      </p:sp>
      <p:sp>
        <p:nvSpPr>
          <p:cNvPr id="5" name="Slide Number Placeholder 5"/>
          <p:cNvSpPr>
            <a:spLocks noGrp="1"/>
          </p:cNvSpPr>
          <p:nvPr>
            <p:ph type="sldNum" sz="quarter" idx="16"/>
          </p:nvPr>
        </p:nvSpPr>
        <p:spPr>
          <a:xfrm>
            <a:off x="11264900" y="6369050"/>
            <a:ext cx="482600" cy="365125"/>
          </a:xfrm>
        </p:spPr>
        <p:txBody>
          <a:bodyPr/>
          <a:lstStyle>
            <a:lvl1pPr algn="ctr">
              <a:defRPr sz="1100" smtClean="0">
                <a:latin typeface="+mj-lt"/>
              </a:defRPr>
            </a:lvl1pPr>
          </a:lstStyle>
          <a:p>
            <a:pPr>
              <a:defRPr/>
            </a:pPr>
            <a:fld id="{644F6773-37D1-C845-817E-FC0A0A7DE883}" type="slidenum">
              <a:rPr lang="en-US"/>
              <a:pPr>
                <a:defRPr/>
              </a:pPr>
              <a:t>‹#›</a:t>
            </a:fld>
            <a:endParaRPr lang="en-US"/>
          </a:p>
        </p:txBody>
      </p:sp>
    </p:spTree>
    <p:extLst>
      <p:ext uri="{BB962C8B-B14F-4D97-AF65-F5344CB8AC3E}">
        <p14:creationId xmlns:p14="http://schemas.microsoft.com/office/powerpoint/2010/main" val="17183408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4" name="Rectangle 3"/>
          <p:cNvSpPr/>
          <p:nvPr userDrawn="1"/>
        </p:nvSpPr>
        <p:spPr>
          <a:xfrm>
            <a:off x="412750" y="0"/>
            <a:ext cx="727075" cy="1190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7" name="Picture Placeholder 4"/>
          <p:cNvSpPr>
            <a:spLocks noGrp="1"/>
          </p:cNvSpPr>
          <p:nvPr>
            <p:ph type="pic" sz="quarter" idx="13"/>
          </p:nvPr>
        </p:nvSpPr>
        <p:spPr>
          <a:xfrm>
            <a:off x="0" y="2044701"/>
            <a:ext cx="12192000" cy="2044700"/>
          </a:xfrm>
        </p:spPr>
        <p:txBody>
          <a:bodyPr rtlCol="0">
            <a:normAutofit/>
          </a:bodyPr>
          <a:lstStyle/>
          <a:p>
            <a:pPr lvl="0"/>
            <a:endParaRPr lang="en-US" noProof="0"/>
          </a:p>
        </p:txBody>
      </p:sp>
      <p:sp>
        <p:nvSpPr>
          <p:cNvPr id="8" name="Picture Placeholder 4"/>
          <p:cNvSpPr>
            <a:spLocks noGrp="1"/>
          </p:cNvSpPr>
          <p:nvPr>
            <p:ph type="pic" sz="quarter" idx="14"/>
          </p:nvPr>
        </p:nvSpPr>
        <p:spPr>
          <a:xfrm>
            <a:off x="8775533" y="1315619"/>
            <a:ext cx="2328340" cy="4112597"/>
          </a:xfrm>
        </p:spPr>
        <p:txBody>
          <a:bodyPr rtlCol="0">
            <a:normAutofit/>
          </a:bodyPr>
          <a:lstStyle/>
          <a:p>
            <a:pPr lvl="0"/>
            <a:endParaRPr lang="en-US" noProof="0"/>
          </a:p>
        </p:txBody>
      </p:sp>
      <p:sp>
        <p:nvSpPr>
          <p:cNvPr id="5" name="Slide Number Placeholder 5"/>
          <p:cNvSpPr>
            <a:spLocks noGrp="1"/>
          </p:cNvSpPr>
          <p:nvPr>
            <p:ph type="sldNum" sz="quarter" idx="15"/>
          </p:nvPr>
        </p:nvSpPr>
        <p:spPr>
          <a:xfrm>
            <a:off x="11264900" y="6369050"/>
            <a:ext cx="482600" cy="365125"/>
          </a:xfrm>
        </p:spPr>
        <p:txBody>
          <a:bodyPr/>
          <a:lstStyle>
            <a:lvl1pPr algn="ctr">
              <a:defRPr sz="1100" smtClean="0">
                <a:latin typeface="+mj-lt"/>
              </a:defRPr>
            </a:lvl1pPr>
          </a:lstStyle>
          <a:p>
            <a:pPr>
              <a:defRPr/>
            </a:pPr>
            <a:fld id="{F5F79D45-AC13-6842-8E30-1CA46CE18D8A}" type="slidenum">
              <a:rPr lang="en-US"/>
              <a:pPr>
                <a:defRPr/>
              </a:pPr>
              <a:t>‹#›</a:t>
            </a:fld>
            <a:endParaRPr lang="en-US"/>
          </a:p>
        </p:txBody>
      </p:sp>
    </p:spTree>
    <p:extLst>
      <p:ext uri="{BB962C8B-B14F-4D97-AF65-F5344CB8AC3E}">
        <p14:creationId xmlns:p14="http://schemas.microsoft.com/office/powerpoint/2010/main" val="7938583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sp>
        <p:nvSpPr>
          <p:cNvPr id="5" name="Rectangle 4"/>
          <p:cNvSpPr/>
          <p:nvPr userDrawn="1"/>
        </p:nvSpPr>
        <p:spPr>
          <a:xfrm>
            <a:off x="412750" y="0"/>
            <a:ext cx="727075" cy="1190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0" name="Picture Placeholder 4"/>
          <p:cNvSpPr>
            <a:spLocks noGrp="1"/>
          </p:cNvSpPr>
          <p:nvPr>
            <p:ph type="pic" sz="quarter" idx="13"/>
          </p:nvPr>
        </p:nvSpPr>
        <p:spPr>
          <a:xfrm>
            <a:off x="360683" y="0"/>
            <a:ext cx="4825357" cy="3922031"/>
          </a:xfrm>
        </p:spPr>
        <p:txBody>
          <a:bodyPr rtlCol="0">
            <a:normAutofit/>
          </a:bodyPr>
          <a:lstStyle/>
          <a:p>
            <a:pPr lvl="0"/>
            <a:endParaRPr lang="en-US" noProof="0"/>
          </a:p>
        </p:txBody>
      </p:sp>
      <p:sp>
        <p:nvSpPr>
          <p:cNvPr id="11" name="Picture Placeholder 4"/>
          <p:cNvSpPr>
            <a:spLocks noGrp="1"/>
          </p:cNvSpPr>
          <p:nvPr>
            <p:ph type="pic" sz="quarter" idx="14"/>
          </p:nvPr>
        </p:nvSpPr>
        <p:spPr>
          <a:xfrm>
            <a:off x="691447" y="2805501"/>
            <a:ext cx="3428875" cy="1938240"/>
          </a:xfrm>
        </p:spPr>
        <p:txBody>
          <a:bodyPr rtlCol="0">
            <a:normAutofit/>
          </a:bodyPr>
          <a:lstStyle/>
          <a:p>
            <a:pPr lvl="0"/>
            <a:endParaRPr lang="en-US" noProof="0"/>
          </a:p>
        </p:txBody>
      </p:sp>
      <p:sp>
        <p:nvSpPr>
          <p:cNvPr id="12" name="Picture Placeholder 4"/>
          <p:cNvSpPr>
            <a:spLocks noGrp="1"/>
          </p:cNvSpPr>
          <p:nvPr>
            <p:ph type="pic" sz="quarter" idx="15"/>
          </p:nvPr>
        </p:nvSpPr>
        <p:spPr>
          <a:xfrm>
            <a:off x="2659683" y="4170670"/>
            <a:ext cx="2249518" cy="1365171"/>
          </a:xfrm>
        </p:spPr>
        <p:txBody>
          <a:bodyPr rtlCol="0">
            <a:normAutofit/>
          </a:bodyPr>
          <a:lstStyle/>
          <a:p>
            <a:pPr lvl="0"/>
            <a:endParaRPr lang="en-US" noProof="0"/>
          </a:p>
        </p:txBody>
      </p:sp>
      <p:sp>
        <p:nvSpPr>
          <p:cNvPr id="6" name="Slide Number Placeholder 5"/>
          <p:cNvSpPr>
            <a:spLocks noGrp="1"/>
          </p:cNvSpPr>
          <p:nvPr>
            <p:ph type="sldNum" sz="quarter" idx="16"/>
          </p:nvPr>
        </p:nvSpPr>
        <p:spPr>
          <a:xfrm>
            <a:off x="11264900" y="6369050"/>
            <a:ext cx="482600" cy="365125"/>
          </a:xfrm>
        </p:spPr>
        <p:txBody>
          <a:bodyPr/>
          <a:lstStyle>
            <a:lvl1pPr algn="ctr">
              <a:defRPr sz="1100" smtClean="0">
                <a:latin typeface="+mj-lt"/>
              </a:defRPr>
            </a:lvl1pPr>
          </a:lstStyle>
          <a:p>
            <a:pPr>
              <a:defRPr/>
            </a:pPr>
            <a:fld id="{934FF05F-B55C-054D-A9D2-F12B545664EA}" type="slidenum">
              <a:rPr lang="en-US"/>
              <a:pPr>
                <a:defRPr/>
              </a:pPr>
              <a:t>‹#›</a:t>
            </a:fld>
            <a:endParaRPr lang="en-US"/>
          </a:p>
        </p:txBody>
      </p:sp>
    </p:spTree>
    <p:extLst>
      <p:ext uri="{BB962C8B-B14F-4D97-AF65-F5344CB8AC3E}">
        <p14:creationId xmlns:p14="http://schemas.microsoft.com/office/powerpoint/2010/main" val="621123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6" name="Rectangle 5"/>
          <p:cNvSpPr/>
          <p:nvPr userDrawn="1"/>
        </p:nvSpPr>
        <p:spPr>
          <a:xfrm>
            <a:off x="412750" y="0"/>
            <a:ext cx="727075" cy="1190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9" name="Picture Placeholder 4"/>
          <p:cNvSpPr>
            <a:spLocks noGrp="1"/>
          </p:cNvSpPr>
          <p:nvPr>
            <p:ph type="pic" sz="quarter" idx="13"/>
          </p:nvPr>
        </p:nvSpPr>
        <p:spPr>
          <a:xfrm>
            <a:off x="6386739" y="3754492"/>
            <a:ext cx="2284483" cy="1284566"/>
          </a:xfrm>
        </p:spPr>
        <p:txBody>
          <a:bodyPr rtlCol="0">
            <a:normAutofit/>
          </a:bodyPr>
          <a:lstStyle/>
          <a:p>
            <a:pPr lvl="0"/>
            <a:endParaRPr lang="en-US" noProof="0"/>
          </a:p>
        </p:txBody>
      </p:sp>
      <p:sp>
        <p:nvSpPr>
          <p:cNvPr id="10" name="Picture Placeholder 4"/>
          <p:cNvSpPr>
            <a:spLocks noGrp="1"/>
          </p:cNvSpPr>
          <p:nvPr>
            <p:ph type="pic" sz="quarter" idx="14"/>
          </p:nvPr>
        </p:nvSpPr>
        <p:spPr>
          <a:xfrm>
            <a:off x="7933270" y="2255894"/>
            <a:ext cx="3546894" cy="2087939"/>
          </a:xfrm>
        </p:spPr>
        <p:txBody>
          <a:bodyPr rtlCol="0">
            <a:normAutofit/>
          </a:bodyPr>
          <a:lstStyle/>
          <a:p>
            <a:pPr lvl="0"/>
            <a:endParaRPr lang="en-US" noProof="0"/>
          </a:p>
        </p:txBody>
      </p:sp>
      <p:sp>
        <p:nvSpPr>
          <p:cNvPr id="11" name="Picture Placeholder 4"/>
          <p:cNvSpPr>
            <a:spLocks noGrp="1"/>
          </p:cNvSpPr>
          <p:nvPr>
            <p:ph type="pic" sz="quarter" idx="15"/>
          </p:nvPr>
        </p:nvSpPr>
        <p:spPr>
          <a:xfrm>
            <a:off x="10370037" y="4169850"/>
            <a:ext cx="741745" cy="948462"/>
          </a:xfrm>
        </p:spPr>
        <p:txBody>
          <a:bodyPr rtlCol="0">
            <a:normAutofit/>
          </a:bodyPr>
          <a:lstStyle>
            <a:lvl1pPr marL="0" indent="0">
              <a:buNone/>
              <a:defRPr sz="700"/>
            </a:lvl1pPr>
          </a:lstStyle>
          <a:p>
            <a:pPr lvl="0"/>
            <a:endParaRPr lang="en-US" noProof="0" dirty="0"/>
          </a:p>
        </p:txBody>
      </p:sp>
      <p:sp>
        <p:nvSpPr>
          <p:cNvPr id="12" name="Picture Placeholder 4"/>
          <p:cNvSpPr>
            <a:spLocks noGrp="1"/>
          </p:cNvSpPr>
          <p:nvPr>
            <p:ph type="pic" sz="quarter" idx="16"/>
          </p:nvPr>
        </p:nvSpPr>
        <p:spPr>
          <a:xfrm>
            <a:off x="11258354" y="4618672"/>
            <a:ext cx="294996" cy="508113"/>
          </a:xfrm>
        </p:spPr>
        <p:txBody>
          <a:bodyPr rtlCol="0">
            <a:normAutofit/>
          </a:bodyPr>
          <a:lstStyle>
            <a:lvl1pPr marL="0" indent="0">
              <a:buNone/>
              <a:defRPr sz="700"/>
            </a:lvl1pPr>
          </a:lstStyle>
          <a:p>
            <a:pPr lvl="0"/>
            <a:endParaRPr lang="en-US" noProof="0" dirty="0"/>
          </a:p>
        </p:txBody>
      </p:sp>
      <p:sp>
        <p:nvSpPr>
          <p:cNvPr id="7" name="Slide Number Placeholder 5"/>
          <p:cNvSpPr>
            <a:spLocks noGrp="1"/>
          </p:cNvSpPr>
          <p:nvPr>
            <p:ph type="sldNum" sz="quarter" idx="17"/>
          </p:nvPr>
        </p:nvSpPr>
        <p:spPr>
          <a:xfrm>
            <a:off x="11264900" y="6369050"/>
            <a:ext cx="482600" cy="365125"/>
          </a:xfrm>
        </p:spPr>
        <p:txBody>
          <a:bodyPr/>
          <a:lstStyle>
            <a:lvl1pPr algn="ctr">
              <a:defRPr sz="1100" smtClean="0">
                <a:latin typeface="+mj-lt"/>
              </a:defRPr>
            </a:lvl1pPr>
          </a:lstStyle>
          <a:p>
            <a:pPr>
              <a:defRPr/>
            </a:pPr>
            <a:fld id="{9203FAA6-9DEA-8B4A-B6BB-F5BB33906EC3}" type="slidenum">
              <a:rPr lang="en-US"/>
              <a:pPr>
                <a:defRPr/>
              </a:pPr>
              <a:t>‹#›</a:t>
            </a:fld>
            <a:endParaRPr lang="en-US"/>
          </a:p>
        </p:txBody>
      </p:sp>
    </p:spTree>
    <p:extLst>
      <p:ext uri="{BB962C8B-B14F-4D97-AF65-F5344CB8AC3E}">
        <p14:creationId xmlns:p14="http://schemas.microsoft.com/office/powerpoint/2010/main" val="245045938"/>
      </p:ext>
    </p:extLst>
  </p:cSld>
  <p:clrMapOvr>
    <a:masterClrMapping/>
  </p:clrMapOvr>
</p:sldLayout>
</file>

<file path=ppt/slideMasters/_rels/slideMaster1.xml.rels><?xml version="1.0" encoding="UTF-8" standalone="yes"?>
<Relationships xmlns="http://schemas.openxmlformats.org/package/2006/relationships"><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30" Type="http://schemas.openxmlformats.org/officeDocument/2006/relationships/slideLayout" Target="../slideLayouts/slideLayout30.xml"/><Relationship Id="rId31" Type="http://schemas.openxmlformats.org/officeDocument/2006/relationships/slideLayout" Target="../slideLayouts/slideLayout31.xml"/><Relationship Id="rId32" Type="http://schemas.openxmlformats.org/officeDocument/2006/relationships/slideLayout" Target="../slideLayouts/slideLayout32.xml"/><Relationship Id="rId9" Type="http://schemas.openxmlformats.org/officeDocument/2006/relationships/slideLayout" Target="../slideLayouts/slideLayout9.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33" Type="http://schemas.openxmlformats.org/officeDocument/2006/relationships/theme" Target="../theme/theme1.xml"/><Relationship Id="rId34" Type="http://schemas.openxmlformats.org/officeDocument/2006/relationships/tags" Target="../tags/tag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C232C"/>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1275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smtClean="0">
                <a:solidFill>
                  <a:schemeClr val="tx1">
                    <a:tint val="75000"/>
                  </a:schemeClr>
                </a:solidFill>
                <a:latin typeface="+mn-lt"/>
              </a:defRPr>
            </a:lvl1pPr>
          </a:lstStyle>
          <a:p>
            <a:pPr>
              <a:defRPr/>
            </a:pPr>
            <a:fld id="{63AEAC64-6F4A-8544-99BF-36F2716DABDB}" type="datetime1">
              <a:rPr lang="en-ID" smtClean="0"/>
              <a:t>26/02/20</a:t>
            </a:fld>
            <a:endParaRPr lang="en-US"/>
          </a:p>
        </p:txBody>
      </p:sp>
      <p:sp>
        <p:nvSpPr>
          <p:cNvPr id="5" name="Footer Placeholder 4"/>
          <p:cNvSpPr>
            <a:spLocks noGrp="1"/>
          </p:cNvSpPr>
          <p:nvPr>
            <p:ph type="ftr" sz="quarter" idx="3"/>
          </p:nvPr>
        </p:nvSpPr>
        <p:spPr>
          <a:xfrm>
            <a:off x="27051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defRPr>
            </a:lvl1pPr>
          </a:lstStyle>
          <a:p>
            <a:pPr>
              <a:defRPr/>
            </a:pPr>
            <a:endParaRPr lang="en-US"/>
          </a:p>
        </p:txBody>
      </p:sp>
      <p:sp>
        <p:nvSpPr>
          <p:cNvPr id="6" name="Slide Number Placeholder 5"/>
          <p:cNvSpPr>
            <a:spLocks noGrp="1"/>
          </p:cNvSpPr>
          <p:nvPr>
            <p:ph type="sldNum" sz="quarter" idx="4"/>
          </p:nvPr>
        </p:nvSpPr>
        <p:spPr>
          <a:xfrm>
            <a:off x="5372100" y="6356350"/>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smtClean="0">
                <a:solidFill>
                  <a:schemeClr val="tx1">
                    <a:tint val="75000"/>
                  </a:schemeClr>
                </a:solidFill>
                <a:latin typeface="+mn-lt"/>
              </a:defRPr>
            </a:lvl1pPr>
          </a:lstStyle>
          <a:p>
            <a:pPr>
              <a:defRPr/>
            </a:pPr>
            <a:fld id="{40A3AC32-DB18-DE47-BDD4-33FBE812587B}" type="slidenum">
              <a:rPr lang="en-US"/>
              <a:pPr>
                <a:defRPr/>
              </a:pPr>
              <a:t>‹#›</a:t>
            </a:fld>
            <a:endParaRPr lang="en-US"/>
          </a:p>
        </p:txBody>
      </p:sp>
      <p:grpSp>
        <p:nvGrpSpPr>
          <p:cNvPr id="1031" name="Group 6"/>
          <p:cNvGrpSpPr>
            <a:grpSpLocks/>
          </p:cNvGrpSpPr>
          <p:nvPr userDrawn="1"/>
        </p:nvGrpSpPr>
        <p:grpSpPr bwMode="auto">
          <a:xfrm>
            <a:off x="11058525" y="6453188"/>
            <a:ext cx="223838" cy="220662"/>
            <a:chOff x="4328868" y="5502988"/>
            <a:chExt cx="500307" cy="493774"/>
          </a:xfrm>
        </p:grpSpPr>
        <p:sp>
          <p:nvSpPr>
            <p:cNvPr id="8" name="Freeform 7">
              <a:hlinkClick r:id="" action="ppaction://hlinkshowjump?jump=previousslide"/>
            </p:cNvPr>
            <p:cNvSpPr>
              <a:spLocks/>
            </p:cNvSpPr>
            <p:nvPr userDrawn="1"/>
          </p:nvSpPr>
          <p:spPr bwMode="auto">
            <a:xfrm>
              <a:off x="4520475" y="5648633"/>
              <a:ext cx="117094" cy="202484"/>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noFill/>
            </a:ln>
          </p:spPr>
          <p:txBody>
            <a:bodyPr/>
            <a:lstStyle/>
            <a:p>
              <a:pPr eaLnBrk="1" fontAlgn="auto" hangingPunct="1">
                <a:spcBef>
                  <a:spcPts val="0"/>
                </a:spcBef>
                <a:spcAft>
                  <a:spcPts val="0"/>
                </a:spcAft>
                <a:defRPr/>
              </a:pPr>
              <a:endParaRPr lang="id-ID">
                <a:latin typeface="+mn-lt"/>
              </a:endParaRPr>
            </a:p>
          </p:txBody>
        </p:sp>
        <p:sp>
          <p:nvSpPr>
            <p:cNvPr id="9" name="Freeform 8">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noFill/>
            </a:ln>
          </p:spPr>
          <p:txBody>
            <a:bodyPr/>
            <a:lstStyle/>
            <a:p>
              <a:pPr eaLnBrk="1" fontAlgn="auto" hangingPunct="1">
                <a:spcBef>
                  <a:spcPts val="0"/>
                </a:spcBef>
                <a:spcAft>
                  <a:spcPts val="0"/>
                </a:spcAft>
                <a:defRPr/>
              </a:pPr>
              <a:endParaRPr lang="id-ID">
                <a:latin typeface="+mn-lt"/>
              </a:endParaRPr>
            </a:p>
          </p:txBody>
        </p:sp>
      </p:grpSp>
      <p:grpSp>
        <p:nvGrpSpPr>
          <p:cNvPr id="1032" name="Group 9"/>
          <p:cNvGrpSpPr>
            <a:grpSpLocks/>
          </p:cNvGrpSpPr>
          <p:nvPr userDrawn="1"/>
        </p:nvGrpSpPr>
        <p:grpSpPr bwMode="auto">
          <a:xfrm flipH="1">
            <a:off x="11761788" y="6453188"/>
            <a:ext cx="223837" cy="220662"/>
            <a:chOff x="4328868" y="5502988"/>
            <a:chExt cx="500307" cy="493774"/>
          </a:xfrm>
        </p:grpSpPr>
        <p:sp>
          <p:nvSpPr>
            <p:cNvPr id="11" name="Freeform 10">
              <a:hlinkClick r:id="" action="ppaction://hlinkshowjump?jump=nextslide"/>
            </p:cNvPr>
            <p:cNvSpPr>
              <a:spLocks/>
            </p:cNvSpPr>
            <p:nvPr userDrawn="1"/>
          </p:nvSpPr>
          <p:spPr bwMode="auto">
            <a:xfrm>
              <a:off x="4520475" y="5648633"/>
              <a:ext cx="117092" cy="202484"/>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noFill/>
            </a:ln>
          </p:spPr>
          <p:txBody>
            <a:bodyPr/>
            <a:lstStyle/>
            <a:p>
              <a:pPr eaLnBrk="1" fontAlgn="auto" hangingPunct="1">
                <a:spcBef>
                  <a:spcPts val="0"/>
                </a:spcBef>
                <a:spcAft>
                  <a:spcPts val="0"/>
                </a:spcAft>
                <a:defRPr/>
              </a:pPr>
              <a:endParaRPr lang="id-ID">
                <a:latin typeface="+mn-lt"/>
              </a:endParaRPr>
            </a:p>
          </p:txBody>
        </p:sp>
        <p:sp>
          <p:nvSpPr>
            <p:cNvPr id="12" name="Freeform 11">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noFill/>
            </a:ln>
          </p:spPr>
          <p:txBody>
            <a:bodyPr/>
            <a:lstStyle/>
            <a:p>
              <a:pPr eaLnBrk="1" fontAlgn="auto" hangingPunct="1">
                <a:spcBef>
                  <a:spcPts val="0"/>
                </a:spcBef>
                <a:spcAft>
                  <a:spcPts val="0"/>
                </a:spcAft>
                <a:defRPr/>
              </a:pPr>
              <a:endParaRPr lang="id-ID">
                <a:latin typeface="+mn-lt"/>
              </a:endParaRPr>
            </a:p>
          </p:txBody>
        </p:sp>
      </p:grpSp>
      <p:sp>
        <p:nvSpPr>
          <p:cNvPr id="13" name="Date Placeholder 1"/>
          <p:cNvSpPr txBox="1">
            <a:spLocks/>
          </p:cNvSpPr>
          <p:nvPr userDrawn="1">
            <p:custDataLst>
              <p:tags r:id="rId34"/>
            </p:custDataLst>
          </p:nvPr>
        </p:nvSpPr>
        <p:spPr>
          <a:xfrm>
            <a:off x="9028113" y="6440488"/>
            <a:ext cx="1943100" cy="261937"/>
          </a:xfrm>
          <a:prstGeom prst="rect">
            <a:avLst/>
          </a:prstGeom>
          <a:noFill/>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fontAlgn="auto">
              <a:spcBef>
                <a:spcPts val="0"/>
              </a:spcBef>
              <a:spcAft>
                <a:spcPts val="0"/>
              </a:spcAft>
              <a:defRPr/>
            </a:pPr>
            <a:r>
              <a:rPr lang="en-US" sz="1200" dirty="0">
                <a:solidFill>
                  <a:schemeClr val="tx1">
                    <a:lumMod val="50000"/>
                    <a:lumOff val="50000"/>
                  </a:schemeClr>
                </a:solidFill>
                <a:latin typeface="+mj-lt"/>
                <a:ea typeface="Roboto Light" panose="02000000000000000000" pitchFamily="2" charset="0"/>
              </a:rPr>
              <a:t>www. </a:t>
            </a:r>
            <a:r>
              <a:rPr lang="en-US" sz="1200" dirty="0" smtClean="0">
                <a:solidFill>
                  <a:schemeClr val="tx1">
                    <a:lumMod val="50000"/>
                    <a:lumOff val="50000"/>
                  </a:schemeClr>
                </a:solidFill>
                <a:latin typeface="+mj-lt"/>
                <a:ea typeface="Roboto Light" panose="02000000000000000000" pitchFamily="2" charset="0"/>
              </a:rPr>
              <a:t>startupbusiness.com</a:t>
            </a:r>
            <a:endParaRPr lang="en-US" sz="1200" dirty="0">
              <a:solidFill>
                <a:schemeClr val="tx1">
                  <a:lumMod val="50000"/>
                  <a:lumOff val="50000"/>
                </a:schemeClr>
              </a:solidFill>
              <a:latin typeface="+mj-lt"/>
              <a:ea typeface="Roboto Light" panose="02000000000000000000" pitchFamily="2" charset="0"/>
            </a:endParaRPr>
          </a:p>
        </p:txBody>
      </p:sp>
    </p:spTree>
  </p:cSld>
  <p:clrMap bg1="lt1" tx1="dk1" bg2="lt2" tx2="dk2" accent1="accent1" accent2="accent2" accent3="accent3" accent4="accent4" accent5="accent5" accent6="accent6" hlink="hlink" folHlink="folHlink"/>
  <p:sldLayoutIdLst>
    <p:sldLayoutId id="2147483723" r:id="rId1"/>
    <p:sldLayoutId id="2147483724"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40" r:id="rId17"/>
    <p:sldLayoutId id="2147483741" r:id="rId18"/>
    <p:sldLayoutId id="2147483742" r:id="rId19"/>
    <p:sldLayoutId id="2147483743" r:id="rId20"/>
    <p:sldLayoutId id="2147483744" r:id="rId21"/>
    <p:sldLayoutId id="2147483745" r:id="rId22"/>
    <p:sldLayoutId id="2147483746" r:id="rId23"/>
    <p:sldLayoutId id="2147483747" r:id="rId24"/>
    <p:sldLayoutId id="2147483748" r:id="rId25"/>
    <p:sldLayoutId id="2147483725" r:id="rId26"/>
    <p:sldLayoutId id="2147483749" r:id="rId27"/>
    <p:sldLayoutId id="2147483750" r:id="rId28"/>
    <p:sldLayoutId id="2147483751" r:id="rId29"/>
    <p:sldLayoutId id="2147483752" r:id="rId30"/>
    <p:sldLayoutId id="2147483753" r:id="rId31"/>
    <p:sldLayoutId id="2147483754" r:id="rId32"/>
  </p:sldLayoutIdLst>
  <p:timing>
    <p:tnLst>
      <p:par>
        <p:cTn id="1" dur="indefinite" restart="never" nodeType="tmRoot"/>
      </p:par>
    </p:tnLst>
  </p:timing>
  <p:hf sldNum="0" hdr="0" ftr="0" dt="0"/>
  <p:txStyles>
    <p:titleStyle>
      <a:lvl1pPr algn="l" rtl="0" fontAlgn="base">
        <a:lnSpc>
          <a:spcPct val="90000"/>
        </a:lnSpc>
        <a:spcBef>
          <a:spcPct val="0"/>
        </a:spcBef>
        <a:spcAft>
          <a:spcPct val="0"/>
        </a:spcAft>
        <a:defRPr sz="4400" kern="1200">
          <a:solidFill>
            <a:srgbClr val="F2F2F2"/>
          </a:solidFill>
          <a:latin typeface="Open Sans" panose="020B0606030504020204" pitchFamily="34" charset="0"/>
          <a:ea typeface="Open Sans" panose="020B0606030504020204" pitchFamily="34" charset="0"/>
          <a:cs typeface="Open Sans" panose="020B0606030504020204" pitchFamily="34" charset="0"/>
        </a:defRPr>
      </a:lvl1pPr>
      <a:lvl2pPr algn="l" rtl="0" fontAlgn="base">
        <a:lnSpc>
          <a:spcPct val="90000"/>
        </a:lnSpc>
        <a:spcBef>
          <a:spcPct val="0"/>
        </a:spcBef>
        <a:spcAft>
          <a:spcPct val="0"/>
        </a:spcAft>
        <a:defRPr sz="4400">
          <a:solidFill>
            <a:srgbClr val="F2F2F2"/>
          </a:solidFill>
          <a:latin typeface="Open Sans" charset="0"/>
          <a:ea typeface="Open Sans" charset="0"/>
          <a:cs typeface="Open Sans" charset="0"/>
        </a:defRPr>
      </a:lvl2pPr>
      <a:lvl3pPr algn="l" rtl="0" fontAlgn="base">
        <a:lnSpc>
          <a:spcPct val="90000"/>
        </a:lnSpc>
        <a:spcBef>
          <a:spcPct val="0"/>
        </a:spcBef>
        <a:spcAft>
          <a:spcPct val="0"/>
        </a:spcAft>
        <a:defRPr sz="4400">
          <a:solidFill>
            <a:srgbClr val="F2F2F2"/>
          </a:solidFill>
          <a:latin typeface="Open Sans" charset="0"/>
          <a:ea typeface="Open Sans" charset="0"/>
          <a:cs typeface="Open Sans" charset="0"/>
        </a:defRPr>
      </a:lvl3pPr>
      <a:lvl4pPr algn="l" rtl="0" fontAlgn="base">
        <a:lnSpc>
          <a:spcPct val="90000"/>
        </a:lnSpc>
        <a:spcBef>
          <a:spcPct val="0"/>
        </a:spcBef>
        <a:spcAft>
          <a:spcPct val="0"/>
        </a:spcAft>
        <a:defRPr sz="4400">
          <a:solidFill>
            <a:srgbClr val="F2F2F2"/>
          </a:solidFill>
          <a:latin typeface="Open Sans" charset="0"/>
          <a:ea typeface="Open Sans" charset="0"/>
          <a:cs typeface="Open Sans" charset="0"/>
        </a:defRPr>
      </a:lvl4pPr>
      <a:lvl5pPr algn="l" rtl="0" fontAlgn="base">
        <a:lnSpc>
          <a:spcPct val="90000"/>
        </a:lnSpc>
        <a:spcBef>
          <a:spcPct val="0"/>
        </a:spcBef>
        <a:spcAft>
          <a:spcPct val="0"/>
        </a:spcAft>
        <a:defRPr sz="4400">
          <a:solidFill>
            <a:srgbClr val="F2F2F2"/>
          </a:solidFill>
          <a:latin typeface="Open Sans" charset="0"/>
          <a:ea typeface="Open Sans" charset="0"/>
          <a:cs typeface="Open Sans" charset="0"/>
        </a:defRPr>
      </a:lvl5pPr>
      <a:lvl6pPr marL="457200" algn="l" rtl="0" fontAlgn="base">
        <a:lnSpc>
          <a:spcPct val="90000"/>
        </a:lnSpc>
        <a:spcBef>
          <a:spcPct val="0"/>
        </a:spcBef>
        <a:spcAft>
          <a:spcPct val="0"/>
        </a:spcAft>
        <a:defRPr sz="4400">
          <a:solidFill>
            <a:srgbClr val="F2F2F2"/>
          </a:solidFill>
          <a:latin typeface="Open Sans" charset="0"/>
          <a:ea typeface="Open Sans" charset="0"/>
          <a:cs typeface="Open Sans" charset="0"/>
        </a:defRPr>
      </a:lvl6pPr>
      <a:lvl7pPr marL="914400" algn="l" rtl="0" fontAlgn="base">
        <a:lnSpc>
          <a:spcPct val="90000"/>
        </a:lnSpc>
        <a:spcBef>
          <a:spcPct val="0"/>
        </a:spcBef>
        <a:spcAft>
          <a:spcPct val="0"/>
        </a:spcAft>
        <a:defRPr sz="4400">
          <a:solidFill>
            <a:srgbClr val="F2F2F2"/>
          </a:solidFill>
          <a:latin typeface="Open Sans" charset="0"/>
          <a:ea typeface="Open Sans" charset="0"/>
          <a:cs typeface="Open Sans" charset="0"/>
        </a:defRPr>
      </a:lvl7pPr>
      <a:lvl8pPr marL="1371600" algn="l" rtl="0" fontAlgn="base">
        <a:lnSpc>
          <a:spcPct val="90000"/>
        </a:lnSpc>
        <a:spcBef>
          <a:spcPct val="0"/>
        </a:spcBef>
        <a:spcAft>
          <a:spcPct val="0"/>
        </a:spcAft>
        <a:defRPr sz="4400">
          <a:solidFill>
            <a:srgbClr val="F2F2F2"/>
          </a:solidFill>
          <a:latin typeface="Open Sans" charset="0"/>
          <a:ea typeface="Open Sans" charset="0"/>
          <a:cs typeface="Open Sans" charset="0"/>
        </a:defRPr>
      </a:lvl8pPr>
      <a:lvl9pPr marL="1828800" algn="l" rtl="0" fontAlgn="base">
        <a:lnSpc>
          <a:spcPct val="90000"/>
        </a:lnSpc>
        <a:spcBef>
          <a:spcPct val="0"/>
        </a:spcBef>
        <a:spcAft>
          <a:spcPct val="0"/>
        </a:spcAft>
        <a:defRPr sz="4400">
          <a:solidFill>
            <a:srgbClr val="F2F2F2"/>
          </a:solidFill>
          <a:latin typeface="Open Sans" charset="0"/>
          <a:ea typeface="Open Sans" charset="0"/>
          <a:cs typeface="Open Sans" charset="0"/>
        </a:defRPr>
      </a:lvl9pPr>
    </p:titleStyle>
    <p:bodyStyle>
      <a:lvl1pPr marL="228600" indent="-228600" algn="l" rtl="0" fontAlgn="base">
        <a:lnSpc>
          <a:spcPct val="90000"/>
        </a:lnSpc>
        <a:spcBef>
          <a:spcPts val="1000"/>
        </a:spcBef>
        <a:spcAft>
          <a:spcPct val="0"/>
        </a:spcAft>
        <a:buFont typeface="Arial" charset="0"/>
        <a:buChar char="•"/>
        <a:defRPr sz="2800" kern="1200">
          <a:solidFill>
            <a:srgbClr val="F2F2F2"/>
          </a:solidFill>
          <a:latin typeface="+mj-lt"/>
          <a:ea typeface="+mn-ea"/>
          <a:cs typeface="+mn-cs"/>
        </a:defRPr>
      </a:lvl1pPr>
      <a:lvl2pPr marL="685800" indent="-228600" algn="l" rtl="0" fontAlgn="base">
        <a:lnSpc>
          <a:spcPct val="90000"/>
        </a:lnSpc>
        <a:spcBef>
          <a:spcPts val="500"/>
        </a:spcBef>
        <a:spcAft>
          <a:spcPct val="0"/>
        </a:spcAft>
        <a:buFont typeface="Arial" charset="0"/>
        <a:buChar char="•"/>
        <a:defRPr sz="2400" kern="1200">
          <a:solidFill>
            <a:srgbClr val="F2F2F2"/>
          </a:solidFill>
          <a:latin typeface="+mj-lt"/>
          <a:ea typeface="+mn-ea"/>
          <a:cs typeface="+mn-cs"/>
        </a:defRPr>
      </a:lvl2pPr>
      <a:lvl3pPr marL="1143000" indent="-228600" algn="l" rtl="0" fontAlgn="base">
        <a:lnSpc>
          <a:spcPct val="90000"/>
        </a:lnSpc>
        <a:spcBef>
          <a:spcPts val="500"/>
        </a:spcBef>
        <a:spcAft>
          <a:spcPct val="0"/>
        </a:spcAft>
        <a:buFont typeface="Arial" charset="0"/>
        <a:buChar char="•"/>
        <a:defRPr sz="2000" kern="1200">
          <a:solidFill>
            <a:srgbClr val="F2F2F2"/>
          </a:solidFill>
          <a:latin typeface="+mj-lt"/>
          <a:ea typeface="+mn-ea"/>
          <a:cs typeface="+mn-cs"/>
        </a:defRPr>
      </a:lvl3pPr>
      <a:lvl4pPr marL="1600200" indent="-228600" algn="l" rtl="0" fontAlgn="base">
        <a:lnSpc>
          <a:spcPct val="90000"/>
        </a:lnSpc>
        <a:spcBef>
          <a:spcPts val="500"/>
        </a:spcBef>
        <a:spcAft>
          <a:spcPct val="0"/>
        </a:spcAft>
        <a:buFont typeface="Arial" charset="0"/>
        <a:buChar char="•"/>
        <a:defRPr kern="1200">
          <a:solidFill>
            <a:srgbClr val="F2F2F2"/>
          </a:solidFill>
          <a:latin typeface="+mj-lt"/>
          <a:ea typeface="+mn-ea"/>
          <a:cs typeface="+mn-cs"/>
        </a:defRPr>
      </a:lvl4pPr>
      <a:lvl5pPr marL="2057400" indent="-228600" algn="l" rtl="0" fontAlgn="base">
        <a:lnSpc>
          <a:spcPct val="90000"/>
        </a:lnSpc>
        <a:spcBef>
          <a:spcPts val="500"/>
        </a:spcBef>
        <a:spcAft>
          <a:spcPct val="0"/>
        </a:spcAft>
        <a:buFont typeface="Arial" charset="0"/>
        <a:buChar char="•"/>
        <a:defRPr kern="1200">
          <a:solidFill>
            <a:srgbClr val="F2F2F2"/>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0.xml"/><Relationship Id="rId2" Type="http://schemas.openxmlformats.org/officeDocument/2006/relationships/image" Target="../media/image1.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11.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1" Type="http://schemas.openxmlformats.org/officeDocument/2006/relationships/oleObject" Target="../embeddings/Microsoft_Excel_97_-_2004_Worksheet3.xls"/><Relationship Id="rId12" Type="http://schemas.openxmlformats.org/officeDocument/2006/relationships/image" Target="../media/image4.png"/><Relationship Id="rId1" Type="http://schemas.openxmlformats.org/officeDocument/2006/relationships/vmlDrawing" Target="../drawings/vmlDrawing1.vml"/><Relationship Id="rId2" Type="http://schemas.openxmlformats.org/officeDocument/2006/relationships/slideLayout" Target="../slideLayouts/slideLayout30.xml"/><Relationship Id="rId3" Type="http://schemas.openxmlformats.org/officeDocument/2006/relationships/notesSlide" Target="../notesSlides/notesSlide1.xml"/><Relationship Id="rId4" Type="http://schemas.openxmlformats.org/officeDocument/2006/relationships/oleObject" Target="../embeddings/oleObject1.bin"/><Relationship Id="rId5" Type="http://schemas.openxmlformats.org/officeDocument/2006/relationships/oleObject" Target="../embeddings/Microsoft_Excel_97_-_2004_Worksheet1.xls"/><Relationship Id="rId6" Type="http://schemas.openxmlformats.org/officeDocument/2006/relationships/image" Target="../media/image2.png"/><Relationship Id="rId7" Type="http://schemas.openxmlformats.org/officeDocument/2006/relationships/oleObject" Target="../embeddings/oleObject2.bin"/><Relationship Id="rId8" Type="http://schemas.openxmlformats.org/officeDocument/2006/relationships/oleObject" Target="../embeddings/Microsoft_Excel_97_-_2004_Worksheet2.xls"/><Relationship Id="rId9" Type="http://schemas.openxmlformats.org/officeDocument/2006/relationships/image" Target="../media/image3.png"/><Relationship Id="rId10"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bin"/><Relationship Id="rId4" Type="http://schemas.openxmlformats.org/officeDocument/2006/relationships/oleObject" Target="../embeddings/Microsoft_Excel_97_-_2004_Worksheet4.xls"/><Relationship Id="rId5" Type="http://schemas.openxmlformats.org/officeDocument/2006/relationships/image" Target="../media/image5.png"/><Relationship Id="rId6" Type="http://schemas.openxmlformats.org/officeDocument/2006/relationships/oleObject" Target="../embeddings/oleObject5.bin"/><Relationship Id="rId7" Type="http://schemas.openxmlformats.org/officeDocument/2006/relationships/oleObject" Target="../embeddings/Microsoft_Excel_97_-_2004_Worksheet5.xls"/><Relationship Id="rId8" Type="http://schemas.openxmlformats.org/officeDocument/2006/relationships/image" Target="../media/image6.png"/><Relationship Id="rId1" Type="http://schemas.openxmlformats.org/officeDocument/2006/relationships/vmlDrawing" Target="../drawings/vmlDrawing2.vml"/><Relationship Id="rId2"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7.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9.jp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799013" y="3405188"/>
            <a:ext cx="727075" cy="1190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92" name="Rectangle 91"/>
          <p:cNvSpPr/>
          <p:nvPr/>
        </p:nvSpPr>
        <p:spPr>
          <a:xfrm>
            <a:off x="4662488" y="2574925"/>
            <a:ext cx="5084762" cy="830263"/>
          </a:xfrm>
          <a:prstGeom prst="rect">
            <a:avLst/>
          </a:prstGeom>
          <a:noFill/>
          <a:ln>
            <a:solidFill>
              <a:schemeClr val="accent2"/>
            </a:solidFill>
          </a:ln>
        </p:spPr>
        <p:txBody>
          <a:bodyPr>
            <a:spAutoFit/>
          </a:bodyPr>
          <a:lstStyle/>
          <a:p>
            <a:pPr eaLnBrk="1" fontAlgn="auto" hangingPunct="1">
              <a:spcBef>
                <a:spcPts val="0"/>
              </a:spcBef>
              <a:spcAft>
                <a:spcPts val="0"/>
              </a:spcAft>
              <a:defRPr/>
            </a:pPr>
            <a:r>
              <a:rPr lang="id-ID" sz="4800" spc="-150" dirty="0" smtClean="0">
                <a:solidFill>
                  <a:schemeClr val="bg1">
                    <a:lumMod val="95000"/>
                  </a:schemeClr>
                </a:solidFill>
                <a:latin typeface="Open Sans Light" panose="020B0306030504020204" pitchFamily="34" charset="0"/>
                <a:ea typeface="Open Sans Light" panose="020B0306030504020204" pitchFamily="34" charset="0"/>
                <a:cs typeface="Open Sans Light" panose="020B0306030504020204" pitchFamily="34" charset="0"/>
              </a:rPr>
              <a:t>Business</a:t>
            </a:r>
            <a:r>
              <a:rPr lang="id-ID" sz="4800" spc="-150" dirty="0" smtClean="0">
                <a:solidFill>
                  <a:schemeClr val="tx1">
                    <a:lumMod val="50000"/>
                    <a:lumOff val="50000"/>
                  </a:schemeClr>
                </a:solidFill>
                <a:latin typeface="Open Sans Light" panose="020B0306030504020204" pitchFamily="34" charset="0"/>
                <a:ea typeface="Open Sans Light" panose="020B0306030504020204" pitchFamily="34" charset="0"/>
                <a:cs typeface="Open Sans Light" panose="020B0306030504020204" pitchFamily="34" charset="0"/>
              </a:rPr>
              <a:t> </a:t>
            </a:r>
            <a:r>
              <a:rPr lang="id-ID" sz="4800" spc="-150" dirty="0" err="1" smtClean="0">
                <a:solidFill>
                  <a:srgbClr val="37B3AD"/>
                </a:solidFill>
                <a:latin typeface="Open Sans Light" panose="020B0306030504020204" pitchFamily="34" charset="0"/>
                <a:ea typeface="Open Sans Light" panose="020B0306030504020204" pitchFamily="34" charset="0"/>
                <a:cs typeface="Open Sans Light" panose="020B0306030504020204" pitchFamily="34" charset="0"/>
              </a:rPr>
              <a:t>Startup</a:t>
            </a:r>
            <a:r>
              <a:rPr lang="id-ID" sz="4800" spc="-150" dirty="0" smtClean="0">
                <a:solidFill>
                  <a:srgbClr val="37B3AD"/>
                </a:solidFill>
                <a:latin typeface="Open Sans Light" panose="020B0306030504020204" pitchFamily="34" charset="0"/>
                <a:ea typeface="Open Sans Light" panose="020B0306030504020204" pitchFamily="34" charset="0"/>
                <a:cs typeface="Open Sans Light" panose="020B0306030504020204" pitchFamily="34" charset="0"/>
              </a:rPr>
              <a:t> </a:t>
            </a:r>
            <a:endParaRPr lang="id-ID" sz="4800" spc="-150" dirty="0">
              <a:solidFill>
                <a:srgbClr val="37B3AD"/>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03" name="Rectangle 102"/>
          <p:cNvSpPr/>
          <p:nvPr/>
        </p:nvSpPr>
        <p:spPr>
          <a:xfrm>
            <a:off x="4725988" y="3616325"/>
            <a:ext cx="7161212" cy="584775"/>
          </a:xfrm>
          <a:prstGeom prst="rect">
            <a:avLst/>
          </a:prstGeom>
        </p:spPr>
        <p:txBody>
          <a:bodyPr wrap="square">
            <a:spAutoFit/>
          </a:bodyPr>
          <a:lstStyle/>
          <a:p>
            <a:pPr algn="just" eaLnBrk="1" fontAlgn="auto" hangingPunct="1">
              <a:spcBef>
                <a:spcPts val="0"/>
              </a:spcBef>
              <a:spcAft>
                <a:spcPts val="0"/>
              </a:spcAft>
              <a:buClr>
                <a:srgbClr val="E24848"/>
              </a:buClr>
              <a:defRPr/>
            </a:pPr>
            <a:r>
              <a:rPr lang="en-US" sz="3200" noProof="1" smtClean="0">
                <a:solidFill>
                  <a:schemeClr val="bg1">
                    <a:lumMod val="95000"/>
                  </a:schemeClr>
                </a:solidFill>
                <a:latin typeface="Abadi MT Condensed Extra Bold" charset="0"/>
                <a:ea typeface="Abadi MT Condensed Extra Bold" charset="0"/>
                <a:cs typeface="Abadi MT Condensed Extra Bold" charset="0"/>
              </a:rPr>
              <a:t>PERUSAHAAN PEMULA BERBASIS TEKNOLOGI</a:t>
            </a:r>
            <a:endParaRPr lang="en-US" sz="3200" noProof="1">
              <a:solidFill>
                <a:schemeClr val="bg1">
                  <a:lumMod val="95000"/>
                </a:schemeClr>
              </a:solidFill>
              <a:latin typeface="Abadi MT Condensed Extra Bold" charset="0"/>
              <a:ea typeface="Abadi MT Condensed Extra Bold" charset="0"/>
              <a:cs typeface="Abadi MT Condensed Extra Bold" charset="0"/>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444750" y="2736850"/>
            <a:ext cx="2008188" cy="1617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reeform 137"/>
          <p:cNvSpPr>
            <a:spLocks noEditPoints="1"/>
          </p:cNvSpPr>
          <p:nvPr/>
        </p:nvSpPr>
        <p:spPr bwMode="auto">
          <a:xfrm>
            <a:off x="2687638" y="2419350"/>
            <a:ext cx="1552575" cy="984250"/>
          </a:xfrm>
          <a:custGeom>
            <a:avLst/>
            <a:gdLst>
              <a:gd name="T0" fmla="*/ 1466727 w 2808"/>
              <a:gd name="T1" fmla="*/ 795054 h 1779"/>
              <a:gd name="T2" fmla="*/ 1442936 w 2808"/>
              <a:gd name="T3" fmla="*/ 806120 h 1779"/>
              <a:gd name="T4" fmla="*/ 1429105 w 2808"/>
              <a:gd name="T5" fmla="*/ 758538 h 1779"/>
              <a:gd name="T6" fmla="*/ 1395355 w 2808"/>
              <a:gd name="T7" fmla="*/ 724235 h 1779"/>
              <a:gd name="T8" fmla="*/ 1349433 w 2808"/>
              <a:gd name="T9" fmla="*/ 707637 h 1779"/>
              <a:gd name="T10" fmla="*/ 1301852 w 2808"/>
              <a:gd name="T11" fmla="*/ 714830 h 1779"/>
              <a:gd name="T12" fmla="*/ 1300745 w 2808"/>
              <a:gd name="T13" fmla="*/ 678867 h 1779"/>
              <a:gd name="T14" fmla="*/ 1294106 w 2808"/>
              <a:gd name="T15" fmla="*/ 619113 h 1779"/>
              <a:gd name="T16" fmla="*/ 1256483 w 2808"/>
              <a:gd name="T17" fmla="*/ 557147 h 1779"/>
              <a:gd name="T18" fmla="*/ 1194517 w 2808"/>
              <a:gd name="T19" fmla="*/ 519524 h 1779"/>
              <a:gd name="T20" fmla="*/ 1139743 w 2808"/>
              <a:gd name="T21" fmla="*/ 513438 h 1779"/>
              <a:gd name="T22" fmla="*/ 1095481 w 2808"/>
              <a:gd name="T23" fmla="*/ 522290 h 1779"/>
              <a:gd name="T24" fmla="*/ 1057305 w 2808"/>
              <a:gd name="T25" fmla="*/ 543315 h 1779"/>
              <a:gd name="T26" fmla="*/ 1026875 w 2808"/>
              <a:gd name="T27" fmla="*/ 574851 h 1779"/>
              <a:gd name="T28" fmla="*/ 979293 w 2808"/>
              <a:gd name="T29" fmla="*/ 588130 h 1779"/>
              <a:gd name="T30" fmla="*/ 920093 w 2808"/>
              <a:gd name="T31" fmla="*/ 570425 h 1779"/>
              <a:gd name="T32" fmla="*/ 893536 w 2808"/>
              <a:gd name="T33" fmla="*/ 573745 h 1779"/>
              <a:gd name="T34" fmla="*/ 868086 w 2808"/>
              <a:gd name="T35" fmla="*/ 584257 h 1779"/>
              <a:gd name="T36" fmla="*/ 840422 w 2808"/>
              <a:gd name="T37" fmla="*/ 536122 h 1779"/>
              <a:gd name="T38" fmla="*/ 794500 w 2808"/>
              <a:gd name="T39" fmla="*/ 513991 h 1779"/>
              <a:gd name="T40" fmla="*/ 770709 w 2808"/>
              <a:gd name="T41" fmla="*/ 513438 h 1779"/>
              <a:gd name="T42" fmla="*/ 749685 w 2808"/>
              <a:gd name="T43" fmla="*/ 517864 h 1779"/>
              <a:gd name="T44" fmla="*/ 715935 w 2808"/>
              <a:gd name="T45" fmla="*/ 477475 h 1779"/>
              <a:gd name="T46" fmla="*/ 673333 w 2808"/>
              <a:gd name="T47" fmla="*/ 446492 h 1779"/>
              <a:gd name="T48" fmla="*/ 623539 w 2808"/>
              <a:gd name="T49" fmla="*/ 428234 h 1779"/>
              <a:gd name="T50" fmla="*/ 577064 w 2808"/>
              <a:gd name="T51" fmla="*/ 422701 h 1779"/>
              <a:gd name="T52" fmla="*/ 535568 w 2808"/>
              <a:gd name="T53" fmla="*/ 427127 h 1779"/>
              <a:gd name="T54" fmla="*/ 464749 w 2808"/>
              <a:gd name="T55" fmla="*/ 457004 h 1779"/>
              <a:gd name="T56" fmla="*/ 411082 w 2808"/>
              <a:gd name="T57" fmla="*/ 509565 h 1779"/>
              <a:gd name="T58" fmla="*/ 380099 w 2808"/>
              <a:gd name="T59" fmla="*/ 579831 h 1779"/>
              <a:gd name="T60" fmla="*/ 354648 w 2808"/>
              <a:gd name="T61" fmla="*/ 595876 h 1779"/>
              <a:gd name="T62" fmla="*/ 296554 w 2808"/>
              <a:gd name="T63" fmla="*/ 613581 h 1779"/>
              <a:gd name="T64" fmla="*/ 253399 w 2808"/>
              <a:gd name="T65" fmla="*/ 653416 h 1779"/>
              <a:gd name="T66" fmla="*/ 229608 w 2808"/>
              <a:gd name="T67" fmla="*/ 708190 h 1779"/>
              <a:gd name="T68" fmla="*/ 201391 w 2808"/>
              <a:gd name="T69" fmla="*/ 720362 h 1779"/>
              <a:gd name="T70" fmla="*/ 180367 w 2808"/>
              <a:gd name="T71" fmla="*/ 741940 h 1779"/>
              <a:gd name="T72" fmla="*/ 139425 w 2808"/>
              <a:gd name="T73" fmla="*/ 724235 h 1779"/>
              <a:gd name="T74" fmla="*/ 99589 w 2808"/>
              <a:gd name="T75" fmla="*/ 721469 h 1779"/>
              <a:gd name="T76" fmla="*/ 48688 w 2808"/>
              <a:gd name="T77" fmla="*/ 737514 h 1779"/>
              <a:gd name="T78" fmla="*/ 13832 w 2808"/>
              <a:gd name="T79" fmla="*/ 770710 h 1779"/>
              <a:gd name="T80" fmla="*/ 0 w 2808"/>
              <a:gd name="T81" fmla="*/ 816079 h 1779"/>
              <a:gd name="T82" fmla="*/ 8852 w 2808"/>
              <a:gd name="T83" fmla="*/ 853701 h 1779"/>
              <a:gd name="T84" fmla="*/ 40389 w 2808"/>
              <a:gd name="T85" fmla="*/ 889664 h 1779"/>
              <a:gd name="T86" fmla="*/ 88524 w 2808"/>
              <a:gd name="T87" fmla="*/ 909582 h 1779"/>
              <a:gd name="T88" fmla="*/ 136105 w 2808"/>
              <a:gd name="T89" fmla="*/ 909029 h 1779"/>
              <a:gd name="T90" fmla="*/ 168748 w 2808"/>
              <a:gd name="T91" fmla="*/ 925074 h 1779"/>
              <a:gd name="T92" fmla="*/ 326984 w 2808"/>
              <a:gd name="T93" fmla="*/ 957164 h 1779"/>
              <a:gd name="T94" fmla="*/ 568212 w 2808"/>
              <a:gd name="T95" fmla="*/ 977635 h 1779"/>
              <a:gd name="T96" fmla="*/ 803353 w 2808"/>
              <a:gd name="T97" fmla="*/ 984274 h 1779"/>
              <a:gd name="T98" fmla="*/ 1065604 w 2808"/>
              <a:gd name="T99" fmla="*/ 976528 h 1779"/>
              <a:gd name="T100" fmla="*/ 1280274 w 2808"/>
              <a:gd name="T101" fmla="*/ 957164 h 1779"/>
              <a:gd name="T102" fmla="*/ 1426891 w 2808"/>
              <a:gd name="T103" fmla="*/ 928393 h 1779"/>
              <a:gd name="T104" fmla="*/ 1473920 w 2808"/>
              <a:gd name="T105" fmla="*/ 931713 h 1779"/>
              <a:gd name="T106" fmla="*/ 1504903 w 2808"/>
              <a:gd name="T107" fmla="*/ 929500 h 1779"/>
              <a:gd name="T108" fmla="*/ 1533673 w 2808"/>
              <a:gd name="T109" fmla="*/ 912348 h 1779"/>
              <a:gd name="T110" fmla="*/ 1550825 w 2808"/>
              <a:gd name="T111" fmla="*/ 883578 h 1779"/>
              <a:gd name="T112" fmla="*/ 1553591 w 2808"/>
              <a:gd name="T113" fmla="*/ 855361 h 1779"/>
              <a:gd name="T114" fmla="*/ 1541972 w 2808"/>
              <a:gd name="T115" fmla="*/ 823825 h 1779"/>
              <a:gd name="T116" fmla="*/ 1517075 w 2808"/>
              <a:gd name="T117" fmla="*/ 801140 h 1779"/>
              <a:gd name="T118" fmla="*/ 1483879 w 2808"/>
              <a:gd name="T119" fmla="*/ 792841 h 1779"/>
              <a:gd name="T120" fmla="*/ 490200 w 2808"/>
              <a:gd name="T121" fmla="*/ 808886 h 177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808" h="1779">
                <a:moveTo>
                  <a:pt x="2682" y="1433"/>
                </a:moveTo>
                <a:lnTo>
                  <a:pt x="2682" y="1433"/>
                </a:lnTo>
                <a:lnTo>
                  <a:pt x="2671" y="1433"/>
                </a:lnTo>
                <a:lnTo>
                  <a:pt x="2661" y="1434"/>
                </a:lnTo>
                <a:lnTo>
                  <a:pt x="2651" y="1437"/>
                </a:lnTo>
                <a:lnTo>
                  <a:pt x="2643" y="1439"/>
                </a:lnTo>
                <a:lnTo>
                  <a:pt x="2633" y="1443"/>
                </a:lnTo>
                <a:lnTo>
                  <a:pt x="2624" y="1447"/>
                </a:lnTo>
                <a:lnTo>
                  <a:pt x="2608" y="1457"/>
                </a:lnTo>
                <a:lnTo>
                  <a:pt x="2605" y="1438"/>
                </a:lnTo>
                <a:lnTo>
                  <a:pt x="2603" y="1421"/>
                </a:lnTo>
                <a:lnTo>
                  <a:pt x="2597" y="1403"/>
                </a:lnTo>
                <a:lnTo>
                  <a:pt x="2590" y="1387"/>
                </a:lnTo>
                <a:lnTo>
                  <a:pt x="2583" y="1371"/>
                </a:lnTo>
                <a:lnTo>
                  <a:pt x="2573" y="1357"/>
                </a:lnTo>
                <a:lnTo>
                  <a:pt x="2562" y="1344"/>
                </a:lnTo>
                <a:lnTo>
                  <a:pt x="2549" y="1330"/>
                </a:lnTo>
                <a:lnTo>
                  <a:pt x="2537" y="1319"/>
                </a:lnTo>
                <a:lnTo>
                  <a:pt x="2522" y="1309"/>
                </a:lnTo>
                <a:lnTo>
                  <a:pt x="2507" y="1300"/>
                </a:lnTo>
                <a:lnTo>
                  <a:pt x="2491" y="1293"/>
                </a:lnTo>
                <a:lnTo>
                  <a:pt x="2475" y="1287"/>
                </a:lnTo>
                <a:lnTo>
                  <a:pt x="2457" y="1283"/>
                </a:lnTo>
                <a:lnTo>
                  <a:pt x="2439" y="1279"/>
                </a:lnTo>
                <a:lnTo>
                  <a:pt x="2420" y="1279"/>
                </a:lnTo>
                <a:lnTo>
                  <a:pt x="2398" y="1280"/>
                </a:lnTo>
                <a:lnTo>
                  <a:pt x="2374" y="1284"/>
                </a:lnTo>
                <a:lnTo>
                  <a:pt x="2353" y="1292"/>
                </a:lnTo>
                <a:lnTo>
                  <a:pt x="2333" y="1300"/>
                </a:lnTo>
                <a:lnTo>
                  <a:pt x="2341" y="1277"/>
                </a:lnTo>
                <a:lnTo>
                  <a:pt x="2347" y="1253"/>
                </a:lnTo>
                <a:lnTo>
                  <a:pt x="2351" y="1227"/>
                </a:lnTo>
                <a:lnTo>
                  <a:pt x="2352" y="1201"/>
                </a:lnTo>
                <a:lnTo>
                  <a:pt x="2351" y="1174"/>
                </a:lnTo>
                <a:lnTo>
                  <a:pt x="2346" y="1146"/>
                </a:lnTo>
                <a:lnTo>
                  <a:pt x="2339" y="1119"/>
                </a:lnTo>
                <a:lnTo>
                  <a:pt x="2329" y="1094"/>
                </a:lnTo>
                <a:lnTo>
                  <a:pt x="2318" y="1071"/>
                </a:lnTo>
                <a:lnTo>
                  <a:pt x="2305" y="1048"/>
                </a:lnTo>
                <a:lnTo>
                  <a:pt x="2288" y="1027"/>
                </a:lnTo>
                <a:lnTo>
                  <a:pt x="2271" y="1007"/>
                </a:lnTo>
                <a:lnTo>
                  <a:pt x="2251" y="990"/>
                </a:lnTo>
                <a:lnTo>
                  <a:pt x="2230" y="974"/>
                </a:lnTo>
                <a:lnTo>
                  <a:pt x="2208" y="960"/>
                </a:lnTo>
                <a:lnTo>
                  <a:pt x="2184" y="949"/>
                </a:lnTo>
                <a:lnTo>
                  <a:pt x="2159" y="939"/>
                </a:lnTo>
                <a:lnTo>
                  <a:pt x="2132" y="933"/>
                </a:lnTo>
                <a:lnTo>
                  <a:pt x="2106" y="928"/>
                </a:lnTo>
                <a:lnTo>
                  <a:pt x="2077" y="926"/>
                </a:lnTo>
                <a:lnTo>
                  <a:pt x="2060" y="928"/>
                </a:lnTo>
                <a:lnTo>
                  <a:pt x="2044" y="929"/>
                </a:lnTo>
                <a:lnTo>
                  <a:pt x="2027" y="931"/>
                </a:lnTo>
                <a:lnTo>
                  <a:pt x="2011" y="935"/>
                </a:lnTo>
                <a:lnTo>
                  <a:pt x="1995" y="939"/>
                </a:lnTo>
                <a:lnTo>
                  <a:pt x="1980" y="944"/>
                </a:lnTo>
                <a:lnTo>
                  <a:pt x="1965" y="950"/>
                </a:lnTo>
                <a:lnTo>
                  <a:pt x="1950" y="957"/>
                </a:lnTo>
                <a:lnTo>
                  <a:pt x="1937" y="965"/>
                </a:lnTo>
                <a:lnTo>
                  <a:pt x="1923" y="974"/>
                </a:lnTo>
                <a:lnTo>
                  <a:pt x="1911" y="982"/>
                </a:lnTo>
                <a:lnTo>
                  <a:pt x="1898" y="992"/>
                </a:lnTo>
                <a:lnTo>
                  <a:pt x="1887" y="1003"/>
                </a:lnTo>
                <a:lnTo>
                  <a:pt x="1876" y="1015"/>
                </a:lnTo>
                <a:lnTo>
                  <a:pt x="1865" y="1027"/>
                </a:lnTo>
                <a:lnTo>
                  <a:pt x="1856" y="1039"/>
                </a:lnTo>
                <a:lnTo>
                  <a:pt x="1683" y="0"/>
                </a:lnTo>
                <a:lnTo>
                  <a:pt x="1803" y="1090"/>
                </a:lnTo>
                <a:lnTo>
                  <a:pt x="1788" y="1075"/>
                </a:lnTo>
                <a:lnTo>
                  <a:pt x="1770" y="1063"/>
                </a:lnTo>
                <a:lnTo>
                  <a:pt x="1627" y="68"/>
                </a:lnTo>
                <a:lnTo>
                  <a:pt x="1709" y="1036"/>
                </a:lnTo>
                <a:lnTo>
                  <a:pt x="1687" y="1032"/>
                </a:lnTo>
                <a:lnTo>
                  <a:pt x="1663" y="1031"/>
                </a:lnTo>
                <a:lnTo>
                  <a:pt x="1651" y="1031"/>
                </a:lnTo>
                <a:lnTo>
                  <a:pt x="1639" y="1032"/>
                </a:lnTo>
                <a:lnTo>
                  <a:pt x="1626" y="1034"/>
                </a:lnTo>
                <a:lnTo>
                  <a:pt x="1615" y="1037"/>
                </a:lnTo>
                <a:lnTo>
                  <a:pt x="1603" y="1041"/>
                </a:lnTo>
                <a:lnTo>
                  <a:pt x="1591" y="1046"/>
                </a:lnTo>
                <a:lnTo>
                  <a:pt x="1580" y="1051"/>
                </a:lnTo>
                <a:lnTo>
                  <a:pt x="1569" y="1056"/>
                </a:lnTo>
                <a:lnTo>
                  <a:pt x="1564" y="1036"/>
                </a:lnTo>
                <a:lnTo>
                  <a:pt x="1555" y="1017"/>
                </a:lnTo>
                <a:lnTo>
                  <a:pt x="1545" y="1000"/>
                </a:lnTo>
                <a:lnTo>
                  <a:pt x="1533" y="984"/>
                </a:lnTo>
                <a:lnTo>
                  <a:pt x="1519" y="969"/>
                </a:lnTo>
                <a:lnTo>
                  <a:pt x="1503" y="956"/>
                </a:lnTo>
                <a:lnTo>
                  <a:pt x="1486" y="945"/>
                </a:lnTo>
                <a:lnTo>
                  <a:pt x="1467" y="938"/>
                </a:lnTo>
                <a:lnTo>
                  <a:pt x="1430" y="253"/>
                </a:lnTo>
                <a:lnTo>
                  <a:pt x="1436" y="929"/>
                </a:lnTo>
                <a:lnTo>
                  <a:pt x="1422" y="928"/>
                </a:lnTo>
                <a:lnTo>
                  <a:pt x="1409" y="926"/>
                </a:lnTo>
                <a:lnTo>
                  <a:pt x="1393" y="928"/>
                </a:lnTo>
                <a:lnTo>
                  <a:pt x="1376" y="230"/>
                </a:lnTo>
                <a:lnTo>
                  <a:pt x="1361" y="934"/>
                </a:lnTo>
                <a:lnTo>
                  <a:pt x="1355" y="936"/>
                </a:lnTo>
                <a:lnTo>
                  <a:pt x="1344" y="920"/>
                </a:lnTo>
                <a:lnTo>
                  <a:pt x="1333" y="905"/>
                </a:lnTo>
                <a:lnTo>
                  <a:pt x="1320" y="890"/>
                </a:lnTo>
                <a:lnTo>
                  <a:pt x="1308" y="877"/>
                </a:lnTo>
                <a:lnTo>
                  <a:pt x="1294" y="863"/>
                </a:lnTo>
                <a:lnTo>
                  <a:pt x="1279" y="851"/>
                </a:lnTo>
                <a:lnTo>
                  <a:pt x="1265" y="838"/>
                </a:lnTo>
                <a:lnTo>
                  <a:pt x="1250" y="827"/>
                </a:lnTo>
                <a:lnTo>
                  <a:pt x="1234" y="817"/>
                </a:lnTo>
                <a:lnTo>
                  <a:pt x="1217" y="807"/>
                </a:lnTo>
                <a:lnTo>
                  <a:pt x="1200" y="798"/>
                </a:lnTo>
                <a:lnTo>
                  <a:pt x="1183" y="791"/>
                </a:lnTo>
                <a:lnTo>
                  <a:pt x="1164" y="785"/>
                </a:lnTo>
                <a:lnTo>
                  <a:pt x="1145" y="779"/>
                </a:lnTo>
                <a:lnTo>
                  <a:pt x="1127" y="774"/>
                </a:lnTo>
                <a:lnTo>
                  <a:pt x="1107" y="770"/>
                </a:lnTo>
                <a:lnTo>
                  <a:pt x="1168" y="68"/>
                </a:lnTo>
                <a:lnTo>
                  <a:pt x="1056" y="765"/>
                </a:lnTo>
                <a:lnTo>
                  <a:pt x="1043" y="764"/>
                </a:lnTo>
                <a:lnTo>
                  <a:pt x="1022" y="765"/>
                </a:lnTo>
                <a:lnTo>
                  <a:pt x="1112" y="0"/>
                </a:lnTo>
                <a:lnTo>
                  <a:pt x="968" y="772"/>
                </a:lnTo>
                <a:lnTo>
                  <a:pt x="940" y="780"/>
                </a:lnTo>
                <a:lnTo>
                  <a:pt x="913" y="789"/>
                </a:lnTo>
                <a:lnTo>
                  <a:pt x="888" y="800"/>
                </a:lnTo>
                <a:lnTo>
                  <a:pt x="863" y="812"/>
                </a:lnTo>
                <a:lnTo>
                  <a:pt x="840" y="826"/>
                </a:lnTo>
                <a:lnTo>
                  <a:pt x="817" y="842"/>
                </a:lnTo>
                <a:lnTo>
                  <a:pt x="796" y="861"/>
                </a:lnTo>
                <a:lnTo>
                  <a:pt x="778" y="879"/>
                </a:lnTo>
                <a:lnTo>
                  <a:pt x="759" y="900"/>
                </a:lnTo>
                <a:lnTo>
                  <a:pt x="743" y="921"/>
                </a:lnTo>
                <a:lnTo>
                  <a:pt x="728" y="945"/>
                </a:lnTo>
                <a:lnTo>
                  <a:pt x="714" y="970"/>
                </a:lnTo>
                <a:lnTo>
                  <a:pt x="703" y="995"/>
                </a:lnTo>
                <a:lnTo>
                  <a:pt x="694" y="1021"/>
                </a:lnTo>
                <a:lnTo>
                  <a:pt x="687" y="1048"/>
                </a:lnTo>
                <a:lnTo>
                  <a:pt x="682" y="1075"/>
                </a:lnTo>
                <a:lnTo>
                  <a:pt x="663" y="1075"/>
                </a:lnTo>
                <a:lnTo>
                  <a:pt x="641" y="1077"/>
                </a:lnTo>
                <a:lnTo>
                  <a:pt x="618" y="1079"/>
                </a:lnTo>
                <a:lnTo>
                  <a:pt x="596" y="1084"/>
                </a:lnTo>
                <a:lnTo>
                  <a:pt x="576" y="1092"/>
                </a:lnTo>
                <a:lnTo>
                  <a:pt x="555" y="1099"/>
                </a:lnTo>
                <a:lnTo>
                  <a:pt x="536" y="1109"/>
                </a:lnTo>
                <a:lnTo>
                  <a:pt x="518" y="1121"/>
                </a:lnTo>
                <a:lnTo>
                  <a:pt x="502" y="1134"/>
                </a:lnTo>
                <a:lnTo>
                  <a:pt x="486" y="1149"/>
                </a:lnTo>
                <a:lnTo>
                  <a:pt x="471" y="1165"/>
                </a:lnTo>
                <a:lnTo>
                  <a:pt x="458" y="1181"/>
                </a:lnTo>
                <a:lnTo>
                  <a:pt x="446" y="1200"/>
                </a:lnTo>
                <a:lnTo>
                  <a:pt x="436" y="1218"/>
                </a:lnTo>
                <a:lnTo>
                  <a:pt x="427" y="1238"/>
                </a:lnTo>
                <a:lnTo>
                  <a:pt x="420" y="1259"/>
                </a:lnTo>
                <a:lnTo>
                  <a:pt x="415" y="1280"/>
                </a:lnTo>
                <a:lnTo>
                  <a:pt x="401" y="1284"/>
                </a:lnTo>
                <a:lnTo>
                  <a:pt x="389" y="1288"/>
                </a:lnTo>
                <a:lnTo>
                  <a:pt x="376" y="1294"/>
                </a:lnTo>
                <a:lnTo>
                  <a:pt x="364" y="1302"/>
                </a:lnTo>
                <a:lnTo>
                  <a:pt x="353" y="1310"/>
                </a:lnTo>
                <a:lnTo>
                  <a:pt x="343" y="1319"/>
                </a:lnTo>
                <a:lnTo>
                  <a:pt x="334" y="1330"/>
                </a:lnTo>
                <a:lnTo>
                  <a:pt x="326" y="1341"/>
                </a:lnTo>
                <a:lnTo>
                  <a:pt x="313" y="1333"/>
                </a:lnTo>
                <a:lnTo>
                  <a:pt x="298" y="1325"/>
                </a:lnTo>
                <a:lnTo>
                  <a:pt x="283" y="1319"/>
                </a:lnTo>
                <a:lnTo>
                  <a:pt x="268" y="1313"/>
                </a:lnTo>
                <a:lnTo>
                  <a:pt x="252" y="1309"/>
                </a:lnTo>
                <a:lnTo>
                  <a:pt x="235" y="1305"/>
                </a:lnTo>
                <a:lnTo>
                  <a:pt x="217" y="1304"/>
                </a:lnTo>
                <a:lnTo>
                  <a:pt x="200" y="1303"/>
                </a:lnTo>
                <a:lnTo>
                  <a:pt x="180" y="1304"/>
                </a:lnTo>
                <a:lnTo>
                  <a:pt x="160" y="1307"/>
                </a:lnTo>
                <a:lnTo>
                  <a:pt x="140" y="1310"/>
                </a:lnTo>
                <a:lnTo>
                  <a:pt x="121" y="1316"/>
                </a:lnTo>
                <a:lnTo>
                  <a:pt x="104" y="1324"/>
                </a:lnTo>
                <a:lnTo>
                  <a:pt x="88" y="1333"/>
                </a:lnTo>
                <a:lnTo>
                  <a:pt x="73" y="1343"/>
                </a:lnTo>
                <a:lnTo>
                  <a:pt x="58" y="1354"/>
                </a:lnTo>
                <a:lnTo>
                  <a:pt x="46" y="1366"/>
                </a:lnTo>
                <a:lnTo>
                  <a:pt x="34" y="1379"/>
                </a:lnTo>
                <a:lnTo>
                  <a:pt x="25" y="1393"/>
                </a:lnTo>
                <a:lnTo>
                  <a:pt x="16" y="1408"/>
                </a:lnTo>
                <a:lnTo>
                  <a:pt x="8" y="1425"/>
                </a:lnTo>
                <a:lnTo>
                  <a:pt x="3" y="1441"/>
                </a:lnTo>
                <a:lnTo>
                  <a:pt x="1" y="1458"/>
                </a:lnTo>
                <a:lnTo>
                  <a:pt x="0" y="1475"/>
                </a:lnTo>
                <a:lnTo>
                  <a:pt x="1" y="1493"/>
                </a:lnTo>
                <a:lnTo>
                  <a:pt x="3" y="1510"/>
                </a:lnTo>
                <a:lnTo>
                  <a:pt x="8" y="1526"/>
                </a:lnTo>
                <a:lnTo>
                  <a:pt x="16" y="1543"/>
                </a:lnTo>
                <a:lnTo>
                  <a:pt x="25" y="1557"/>
                </a:lnTo>
                <a:lnTo>
                  <a:pt x="34" y="1572"/>
                </a:lnTo>
                <a:lnTo>
                  <a:pt x="46" y="1585"/>
                </a:lnTo>
                <a:lnTo>
                  <a:pt x="58" y="1597"/>
                </a:lnTo>
                <a:lnTo>
                  <a:pt x="73" y="1608"/>
                </a:lnTo>
                <a:lnTo>
                  <a:pt x="88" y="1618"/>
                </a:lnTo>
                <a:lnTo>
                  <a:pt x="104" y="1627"/>
                </a:lnTo>
                <a:lnTo>
                  <a:pt x="121" y="1634"/>
                </a:lnTo>
                <a:lnTo>
                  <a:pt x="140" y="1641"/>
                </a:lnTo>
                <a:lnTo>
                  <a:pt x="160" y="1644"/>
                </a:lnTo>
                <a:lnTo>
                  <a:pt x="180" y="1647"/>
                </a:lnTo>
                <a:lnTo>
                  <a:pt x="200" y="1648"/>
                </a:lnTo>
                <a:lnTo>
                  <a:pt x="223" y="1647"/>
                </a:lnTo>
                <a:lnTo>
                  <a:pt x="246" y="1643"/>
                </a:lnTo>
                <a:lnTo>
                  <a:pt x="258" y="1651"/>
                </a:lnTo>
                <a:lnTo>
                  <a:pt x="272" y="1658"/>
                </a:lnTo>
                <a:lnTo>
                  <a:pt x="288" y="1664"/>
                </a:lnTo>
                <a:lnTo>
                  <a:pt x="305" y="1672"/>
                </a:lnTo>
                <a:lnTo>
                  <a:pt x="348" y="1684"/>
                </a:lnTo>
                <a:lnTo>
                  <a:pt x="399" y="1697"/>
                </a:lnTo>
                <a:lnTo>
                  <a:pt x="456" y="1709"/>
                </a:lnTo>
                <a:lnTo>
                  <a:pt x="520" y="1720"/>
                </a:lnTo>
                <a:lnTo>
                  <a:pt x="591" y="1730"/>
                </a:lnTo>
                <a:lnTo>
                  <a:pt x="667" y="1740"/>
                </a:lnTo>
                <a:lnTo>
                  <a:pt x="750" y="1749"/>
                </a:lnTo>
                <a:lnTo>
                  <a:pt x="838" y="1756"/>
                </a:lnTo>
                <a:lnTo>
                  <a:pt x="930" y="1762"/>
                </a:lnTo>
                <a:lnTo>
                  <a:pt x="1027" y="1767"/>
                </a:lnTo>
                <a:lnTo>
                  <a:pt x="1129" y="1772"/>
                </a:lnTo>
                <a:lnTo>
                  <a:pt x="1234" y="1776"/>
                </a:lnTo>
                <a:lnTo>
                  <a:pt x="1342" y="1777"/>
                </a:lnTo>
                <a:lnTo>
                  <a:pt x="1452" y="1779"/>
                </a:lnTo>
                <a:lnTo>
                  <a:pt x="1552" y="1777"/>
                </a:lnTo>
                <a:lnTo>
                  <a:pt x="1650" y="1776"/>
                </a:lnTo>
                <a:lnTo>
                  <a:pt x="1744" y="1774"/>
                </a:lnTo>
                <a:lnTo>
                  <a:pt x="1836" y="1770"/>
                </a:lnTo>
                <a:lnTo>
                  <a:pt x="1926" y="1765"/>
                </a:lnTo>
                <a:lnTo>
                  <a:pt x="2011" y="1760"/>
                </a:lnTo>
                <a:lnTo>
                  <a:pt x="2093" y="1754"/>
                </a:lnTo>
                <a:lnTo>
                  <a:pt x="2172" y="1746"/>
                </a:lnTo>
                <a:lnTo>
                  <a:pt x="2245" y="1739"/>
                </a:lnTo>
                <a:lnTo>
                  <a:pt x="2314" y="1730"/>
                </a:lnTo>
                <a:lnTo>
                  <a:pt x="2378" y="1721"/>
                </a:lnTo>
                <a:lnTo>
                  <a:pt x="2436" y="1712"/>
                </a:lnTo>
                <a:lnTo>
                  <a:pt x="2490" y="1700"/>
                </a:lnTo>
                <a:lnTo>
                  <a:pt x="2537" y="1689"/>
                </a:lnTo>
                <a:lnTo>
                  <a:pt x="2579" y="1678"/>
                </a:lnTo>
                <a:lnTo>
                  <a:pt x="2614" y="1666"/>
                </a:lnTo>
                <a:lnTo>
                  <a:pt x="2629" y="1674"/>
                </a:lnTo>
                <a:lnTo>
                  <a:pt x="2645" y="1680"/>
                </a:lnTo>
                <a:lnTo>
                  <a:pt x="2664" y="1684"/>
                </a:lnTo>
                <a:lnTo>
                  <a:pt x="2682" y="1685"/>
                </a:lnTo>
                <a:lnTo>
                  <a:pt x="2695" y="1685"/>
                </a:lnTo>
                <a:lnTo>
                  <a:pt x="2707" y="1683"/>
                </a:lnTo>
                <a:lnTo>
                  <a:pt x="2720" y="1680"/>
                </a:lnTo>
                <a:lnTo>
                  <a:pt x="2731" y="1675"/>
                </a:lnTo>
                <a:lnTo>
                  <a:pt x="2742" y="1671"/>
                </a:lnTo>
                <a:lnTo>
                  <a:pt x="2752" y="1664"/>
                </a:lnTo>
                <a:lnTo>
                  <a:pt x="2762" y="1657"/>
                </a:lnTo>
                <a:lnTo>
                  <a:pt x="2772" y="1649"/>
                </a:lnTo>
                <a:lnTo>
                  <a:pt x="2779" y="1639"/>
                </a:lnTo>
                <a:lnTo>
                  <a:pt x="2787" y="1630"/>
                </a:lnTo>
                <a:lnTo>
                  <a:pt x="2793" y="1620"/>
                </a:lnTo>
                <a:lnTo>
                  <a:pt x="2798" y="1608"/>
                </a:lnTo>
                <a:lnTo>
                  <a:pt x="2803" y="1597"/>
                </a:lnTo>
                <a:lnTo>
                  <a:pt x="2805" y="1585"/>
                </a:lnTo>
                <a:lnTo>
                  <a:pt x="2808" y="1572"/>
                </a:lnTo>
                <a:lnTo>
                  <a:pt x="2808" y="1559"/>
                </a:lnTo>
                <a:lnTo>
                  <a:pt x="2808" y="1546"/>
                </a:lnTo>
                <a:lnTo>
                  <a:pt x="2805" y="1534"/>
                </a:lnTo>
                <a:lnTo>
                  <a:pt x="2803" y="1521"/>
                </a:lnTo>
                <a:lnTo>
                  <a:pt x="2798" y="1510"/>
                </a:lnTo>
                <a:lnTo>
                  <a:pt x="2793" y="1499"/>
                </a:lnTo>
                <a:lnTo>
                  <a:pt x="2787" y="1489"/>
                </a:lnTo>
                <a:lnTo>
                  <a:pt x="2779" y="1479"/>
                </a:lnTo>
                <a:lnTo>
                  <a:pt x="2772" y="1469"/>
                </a:lnTo>
                <a:lnTo>
                  <a:pt x="2762" y="1462"/>
                </a:lnTo>
                <a:lnTo>
                  <a:pt x="2752" y="1454"/>
                </a:lnTo>
                <a:lnTo>
                  <a:pt x="2742" y="1448"/>
                </a:lnTo>
                <a:lnTo>
                  <a:pt x="2731" y="1443"/>
                </a:lnTo>
                <a:lnTo>
                  <a:pt x="2720" y="1438"/>
                </a:lnTo>
                <a:lnTo>
                  <a:pt x="2707" y="1436"/>
                </a:lnTo>
                <a:lnTo>
                  <a:pt x="2695" y="1433"/>
                </a:lnTo>
                <a:lnTo>
                  <a:pt x="2682" y="1433"/>
                </a:lnTo>
                <a:close/>
                <a:moveTo>
                  <a:pt x="878" y="1462"/>
                </a:moveTo>
                <a:lnTo>
                  <a:pt x="878" y="1462"/>
                </a:lnTo>
                <a:lnTo>
                  <a:pt x="881" y="1459"/>
                </a:lnTo>
                <a:lnTo>
                  <a:pt x="886" y="1462"/>
                </a:lnTo>
                <a:lnTo>
                  <a:pt x="878" y="1462"/>
                </a:lnTo>
                <a:close/>
              </a:path>
            </a:pathLst>
          </a:custGeom>
          <a:solidFill>
            <a:srgbClr val="37B3A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nvGrpSpPr>
          <p:cNvPr id="5" name="Group 4"/>
          <p:cNvGrpSpPr>
            <a:grpSpLocks/>
          </p:cNvGrpSpPr>
          <p:nvPr/>
        </p:nvGrpSpPr>
        <p:grpSpPr bwMode="auto">
          <a:xfrm>
            <a:off x="3251200" y="1385888"/>
            <a:ext cx="393700" cy="1054100"/>
            <a:chOff x="2470309" y="1740287"/>
            <a:chExt cx="393377" cy="1055646"/>
          </a:xfrm>
        </p:grpSpPr>
        <p:sp>
          <p:nvSpPr>
            <p:cNvPr id="37899" name="Freeform 140"/>
            <p:cNvSpPr>
              <a:spLocks/>
            </p:cNvSpPr>
            <p:nvPr/>
          </p:nvSpPr>
          <p:spPr bwMode="auto">
            <a:xfrm>
              <a:off x="2759117" y="2395916"/>
              <a:ext cx="104569" cy="263912"/>
            </a:xfrm>
            <a:custGeom>
              <a:avLst/>
              <a:gdLst>
                <a:gd name="T0" fmla="*/ 36324 w 190"/>
                <a:gd name="T1" fmla="*/ 7223 h 475"/>
                <a:gd name="T2" fmla="*/ 36324 w 190"/>
                <a:gd name="T3" fmla="*/ 7223 h 475"/>
                <a:gd name="T4" fmla="*/ 34673 w 190"/>
                <a:gd name="T5" fmla="*/ 18891 h 475"/>
                <a:gd name="T6" fmla="*/ 33572 w 190"/>
                <a:gd name="T7" fmla="*/ 31669 h 475"/>
                <a:gd name="T8" fmla="*/ 29169 w 190"/>
                <a:gd name="T9" fmla="*/ 61116 h 475"/>
                <a:gd name="T10" fmla="*/ 23115 w 190"/>
                <a:gd name="T11" fmla="*/ 92786 h 475"/>
                <a:gd name="T12" fmla="*/ 17061 w 190"/>
                <a:gd name="T13" fmla="*/ 123900 h 475"/>
                <a:gd name="T14" fmla="*/ 4403 w 190"/>
                <a:gd name="T15" fmla="*/ 176127 h 475"/>
                <a:gd name="T16" fmla="*/ 0 w 190"/>
                <a:gd name="T17" fmla="*/ 197795 h 475"/>
                <a:gd name="T18" fmla="*/ 0 w 190"/>
                <a:gd name="T19" fmla="*/ 197795 h 475"/>
                <a:gd name="T20" fmla="*/ 5504 w 190"/>
                <a:gd name="T21" fmla="*/ 193350 h 475"/>
                <a:gd name="T22" fmla="*/ 11007 w 190"/>
                <a:gd name="T23" fmla="*/ 190572 h 475"/>
                <a:gd name="T24" fmla="*/ 15410 w 190"/>
                <a:gd name="T25" fmla="*/ 188350 h 475"/>
                <a:gd name="T26" fmla="*/ 20363 w 190"/>
                <a:gd name="T27" fmla="*/ 187239 h 475"/>
                <a:gd name="T28" fmla="*/ 25317 w 190"/>
                <a:gd name="T29" fmla="*/ 186683 h 475"/>
                <a:gd name="T30" fmla="*/ 29169 w 190"/>
                <a:gd name="T31" fmla="*/ 186683 h 475"/>
                <a:gd name="T32" fmla="*/ 32471 w 190"/>
                <a:gd name="T33" fmla="*/ 187239 h 475"/>
                <a:gd name="T34" fmla="*/ 36324 w 190"/>
                <a:gd name="T35" fmla="*/ 187794 h 475"/>
                <a:gd name="T36" fmla="*/ 39626 w 190"/>
                <a:gd name="T37" fmla="*/ 190017 h 475"/>
                <a:gd name="T38" fmla="*/ 42928 w 190"/>
                <a:gd name="T39" fmla="*/ 192239 h 475"/>
                <a:gd name="T40" fmla="*/ 45680 w 190"/>
                <a:gd name="T41" fmla="*/ 195017 h 475"/>
                <a:gd name="T42" fmla="*/ 47882 w 190"/>
                <a:gd name="T43" fmla="*/ 198351 h 475"/>
                <a:gd name="T44" fmla="*/ 52284 w 190"/>
                <a:gd name="T45" fmla="*/ 205018 h 475"/>
                <a:gd name="T46" fmla="*/ 56137 w 190"/>
                <a:gd name="T47" fmla="*/ 213352 h 475"/>
                <a:gd name="T48" fmla="*/ 58889 w 190"/>
                <a:gd name="T49" fmla="*/ 221686 h 475"/>
                <a:gd name="T50" fmla="*/ 61641 w 190"/>
                <a:gd name="T51" fmla="*/ 230576 h 475"/>
                <a:gd name="T52" fmla="*/ 62741 w 190"/>
                <a:gd name="T53" fmla="*/ 238910 h 475"/>
                <a:gd name="T54" fmla="*/ 64392 w 190"/>
                <a:gd name="T55" fmla="*/ 246688 h 475"/>
                <a:gd name="T56" fmla="*/ 64943 w 190"/>
                <a:gd name="T57" fmla="*/ 258912 h 475"/>
                <a:gd name="T58" fmla="*/ 65493 w 190"/>
                <a:gd name="T59" fmla="*/ 263912 h 475"/>
                <a:gd name="T60" fmla="*/ 65493 w 190"/>
                <a:gd name="T61" fmla="*/ 263912 h 475"/>
                <a:gd name="T62" fmla="*/ 74299 w 190"/>
                <a:gd name="T63" fmla="*/ 233909 h 475"/>
                <a:gd name="T64" fmla="*/ 82004 w 190"/>
                <a:gd name="T65" fmla="*/ 206685 h 475"/>
                <a:gd name="T66" fmla="*/ 88608 w 190"/>
                <a:gd name="T67" fmla="*/ 181683 h 475"/>
                <a:gd name="T68" fmla="*/ 93562 w 190"/>
                <a:gd name="T69" fmla="*/ 158903 h 475"/>
                <a:gd name="T70" fmla="*/ 97414 w 190"/>
                <a:gd name="T71" fmla="*/ 137790 h 475"/>
                <a:gd name="T72" fmla="*/ 101267 w 190"/>
                <a:gd name="T73" fmla="*/ 118344 h 475"/>
                <a:gd name="T74" fmla="*/ 102918 w 190"/>
                <a:gd name="T75" fmla="*/ 101120 h 475"/>
                <a:gd name="T76" fmla="*/ 104569 w 190"/>
                <a:gd name="T77" fmla="*/ 85007 h 475"/>
                <a:gd name="T78" fmla="*/ 104569 w 190"/>
                <a:gd name="T79" fmla="*/ 71117 h 475"/>
                <a:gd name="T80" fmla="*/ 104019 w 190"/>
                <a:gd name="T81" fmla="*/ 58894 h 475"/>
                <a:gd name="T82" fmla="*/ 102918 w 190"/>
                <a:gd name="T83" fmla="*/ 47782 h 475"/>
                <a:gd name="T84" fmla="*/ 101267 w 190"/>
                <a:gd name="T85" fmla="*/ 38892 h 475"/>
                <a:gd name="T86" fmla="*/ 99065 w 190"/>
                <a:gd name="T87" fmla="*/ 30558 h 475"/>
                <a:gd name="T88" fmla="*/ 96314 w 190"/>
                <a:gd name="T89" fmla="*/ 22780 h 475"/>
                <a:gd name="T90" fmla="*/ 93011 w 190"/>
                <a:gd name="T91" fmla="*/ 17224 h 475"/>
                <a:gd name="T92" fmla="*/ 89709 w 190"/>
                <a:gd name="T93" fmla="*/ 12779 h 475"/>
                <a:gd name="T94" fmla="*/ 85306 w 190"/>
                <a:gd name="T95" fmla="*/ 8334 h 475"/>
                <a:gd name="T96" fmla="*/ 81454 w 190"/>
                <a:gd name="T97" fmla="*/ 5556 h 475"/>
                <a:gd name="T98" fmla="*/ 76500 w 190"/>
                <a:gd name="T99" fmla="*/ 2778 h 475"/>
                <a:gd name="T100" fmla="*/ 72098 w 190"/>
                <a:gd name="T101" fmla="*/ 1667 h 475"/>
                <a:gd name="T102" fmla="*/ 67695 w 190"/>
                <a:gd name="T103" fmla="*/ 1111 h 475"/>
                <a:gd name="T104" fmla="*/ 63292 w 190"/>
                <a:gd name="T105" fmla="*/ 0 h 475"/>
                <a:gd name="T106" fmla="*/ 55036 w 190"/>
                <a:gd name="T107" fmla="*/ 1111 h 475"/>
                <a:gd name="T108" fmla="*/ 47331 w 190"/>
                <a:gd name="T109" fmla="*/ 2222 h 475"/>
                <a:gd name="T110" fmla="*/ 41828 w 190"/>
                <a:gd name="T111" fmla="*/ 4445 h 475"/>
                <a:gd name="T112" fmla="*/ 36324 w 190"/>
                <a:gd name="T113" fmla="*/ 7223 h 47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90" h="475">
                  <a:moveTo>
                    <a:pt x="66" y="13"/>
                  </a:moveTo>
                  <a:lnTo>
                    <a:pt x="66" y="13"/>
                  </a:lnTo>
                  <a:lnTo>
                    <a:pt x="63" y="34"/>
                  </a:lnTo>
                  <a:lnTo>
                    <a:pt x="61" y="57"/>
                  </a:lnTo>
                  <a:lnTo>
                    <a:pt x="53" y="110"/>
                  </a:lnTo>
                  <a:lnTo>
                    <a:pt x="42" y="167"/>
                  </a:lnTo>
                  <a:lnTo>
                    <a:pt x="31" y="223"/>
                  </a:lnTo>
                  <a:lnTo>
                    <a:pt x="8" y="317"/>
                  </a:lnTo>
                  <a:lnTo>
                    <a:pt x="0" y="356"/>
                  </a:lnTo>
                  <a:lnTo>
                    <a:pt x="10" y="348"/>
                  </a:lnTo>
                  <a:lnTo>
                    <a:pt x="20" y="343"/>
                  </a:lnTo>
                  <a:lnTo>
                    <a:pt x="28" y="339"/>
                  </a:lnTo>
                  <a:lnTo>
                    <a:pt x="37" y="337"/>
                  </a:lnTo>
                  <a:lnTo>
                    <a:pt x="46" y="336"/>
                  </a:lnTo>
                  <a:lnTo>
                    <a:pt x="53" y="336"/>
                  </a:lnTo>
                  <a:lnTo>
                    <a:pt x="59" y="337"/>
                  </a:lnTo>
                  <a:lnTo>
                    <a:pt x="66" y="338"/>
                  </a:lnTo>
                  <a:lnTo>
                    <a:pt x="72" y="342"/>
                  </a:lnTo>
                  <a:lnTo>
                    <a:pt x="78" y="346"/>
                  </a:lnTo>
                  <a:lnTo>
                    <a:pt x="83" y="351"/>
                  </a:lnTo>
                  <a:lnTo>
                    <a:pt x="87" y="357"/>
                  </a:lnTo>
                  <a:lnTo>
                    <a:pt x="95" y="369"/>
                  </a:lnTo>
                  <a:lnTo>
                    <a:pt x="102" y="384"/>
                  </a:lnTo>
                  <a:lnTo>
                    <a:pt x="107" y="399"/>
                  </a:lnTo>
                  <a:lnTo>
                    <a:pt x="112" y="415"/>
                  </a:lnTo>
                  <a:lnTo>
                    <a:pt x="114" y="430"/>
                  </a:lnTo>
                  <a:lnTo>
                    <a:pt x="117" y="444"/>
                  </a:lnTo>
                  <a:lnTo>
                    <a:pt x="118" y="466"/>
                  </a:lnTo>
                  <a:lnTo>
                    <a:pt x="119" y="475"/>
                  </a:lnTo>
                  <a:lnTo>
                    <a:pt x="135" y="421"/>
                  </a:lnTo>
                  <a:lnTo>
                    <a:pt x="149" y="372"/>
                  </a:lnTo>
                  <a:lnTo>
                    <a:pt x="161" y="327"/>
                  </a:lnTo>
                  <a:lnTo>
                    <a:pt x="170" y="286"/>
                  </a:lnTo>
                  <a:lnTo>
                    <a:pt x="177" y="248"/>
                  </a:lnTo>
                  <a:lnTo>
                    <a:pt x="184" y="213"/>
                  </a:lnTo>
                  <a:lnTo>
                    <a:pt x="187" y="182"/>
                  </a:lnTo>
                  <a:lnTo>
                    <a:pt x="190" y="153"/>
                  </a:lnTo>
                  <a:lnTo>
                    <a:pt x="190" y="128"/>
                  </a:lnTo>
                  <a:lnTo>
                    <a:pt x="189" y="106"/>
                  </a:lnTo>
                  <a:lnTo>
                    <a:pt x="187" y="86"/>
                  </a:lnTo>
                  <a:lnTo>
                    <a:pt x="184" y="70"/>
                  </a:lnTo>
                  <a:lnTo>
                    <a:pt x="180" y="55"/>
                  </a:lnTo>
                  <a:lnTo>
                    <a:pt x="175" y="41"/>
                  </a:lnTo>
                  <a:lnTo>
                    <a:pt x="169" y="31"/>
                  </a:lnTo>
                  <a:lnTo>
                    <a:pt x="163" y="23"/>
                  </a:lnTo>
                  <a:lnTo>
                    <a:pt x="155" y="15"/>
                  </a:lnTo>
                  <a:lnTo>
                    <a:pt x="148" y="10"/>
                  </a:lnTo>
                  <a:lnTo>
                    <a:pt x="139" y="5"/>
                  </a:lnTo>
                  <a:lnTo>
                    <a:pt x="131" y="3"/>
                  </a:lnTo>
                  <a:lnTo>
                    <a:pt x="123" y="2"/>
                  </a:lnTo>
                  <a:lnTo>
                    <a:pt x="115" y="0"/>
                  </a:lnTo>
                  <a:lnTo>
                    <a:pt x="100" y="2"/>
                  </a:lnTo>
                  <a:lnTo>
                    <a:pt x="86" y="4"/>
                  </a:lnTo>
                  <a:lnTo>
                    <a:pt x="76" y="8"/>
                  </a:lnTo>
                  <a:lnTo>
                    <a:pt x="66" y="13"/>
                  </a:lnTo>
                  <a:close/>
                </a:path>
              </a:pathLst>
            </a:custGeom>
            <a:solidFill>
              <a:srgbClr val="3FA2C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00" name="Freeform 141"/>
            <p:cNvSpPr>
              <a:spLocks/>
            </p:cNvSpPr>
            <p:nvPr/>
          </p:nvSpPr>
          <p:spPr bwMode="auto">
            <a:xfrm>
              <a:off x="2759117" y="2395916"/>
              <a:ext cx="104569" cy="263912"/>
            </a:xfrm>
            <a:custGeom>
              <a:avLst/>
              <a:gdLst>
                <a:gd name="T0" fmla="*/ 36324 w 190"/>
                <a:gd name="T1" fmla="*/ 7223 h 475"/>
                <a:gd name="T2" fmla="*/ 36324 w 190"/>
                <a:gd name="T3" fmla="*/ 7223 h 475"/>
                <a:gd name="T4" fmla="*/ 34673 w 190"/>
                <a:gd name="T5" fmla="*/ 18891 h 475"/>
                <a:gd name="T6" fmla="*/ 33572 w 190"/>
                <a:gd name="T7" fmla="*/ 31669 h 475"/>
                <a:gd name="T8" fmla="*/ 29169 w 190"/>
                <a:gd name="T9" fmla="*/ 61116 h 475"/>
                <a:gd name="T10" fmla="*/ 23115 w 190"/>
                <a:gd name="T11" fmla="*/ 92786 h 475"/>
                <a:gd name="T12" fmla="*/ 17061 w 190"/>
                <a:gd name="T13" fmla="*/ 123900 h 475"/>
                <a:gd name="T14" fmla="*/ 4403 w 190"/>
                <a:gd name="T15" fmla="*/ 176127 h 475"/>
                <a:gd name="T16" fmla="*/ 0 w 190"/>
                <a:gd name="T17" fmla="*/ 197795 h 475"/>
                <a:gd name="T18" fmla="*/ 0 w 190"/>
                <a:gd name="T19" fmla="*/ 197795 h 475"/>
                <a:gd name="T20" fmla="*/ 5504 w 190"/>
                <a:gd name="T21" fmla="*/ 193350 h 475"/>
                <a:gd name="T22" fmla="*/ 11007 w 190"/>
                <a:gd name="T23" fmla="*/ 190572 h 475"/>
                <a:gd name="T24" fmla="*/ 15410 w 190"/>
                <a:gd name="T25" fmla="*/ 188350 h 475"/>
                <a:gd name="T26" fmla="*/ 20363 w 190"/>
                <a:gd name="T27" fmla="*/ 187239 h 475"/>
                <a:gd name="T28" fmla="*/ 25317 w 190"/>
                <a:gd name="T29" fmla="*/ 186683 h 475"/>
                <a:gd name="T30" fmla="*/ 29169 w 190"/>
                <a:gd name="T31" fmla="*/ 186683 h 475"/>
                <a:gd name="T32" fmla="*/ 32471 w 190"/>
                <a:gd name="T33" fmla="*/ 187239 h 475"/>
                <a:gd name="T34" fmla="*/ 36324 w 190"/>
                <a:gd name="T35" fmla="*/ 187794 h 475"/>
                <a:gd name="T36" fmla="*/ 39626 w 190"/>
                <a:gd name="T37" fmla="*/ 190017 h 475"/>
                <a:gd name="T38" fmla="*/ 42928 w 190"/>
                <a:gd name="T39" fmla="*/ 192239 h 475"/>
                <a:gd name="T40" fmla="*/ 45680 w 190"/>
                <a:gd name="T41" fmla="*/ 195017 h 475"/>
                <a:gd name="T42" fmla="*/ 47882 w 190"/>
                <a:gd name="T43" fmla="*/ 198351 h 475"/>
                <a:gd name="T44" fmla="*/ 52284 w 190"/>
                <a:gd name="T45" fmla="*/ 205018 h 475"/>
                <a:gd name="T46" fmla="*/ 56137 w 190"/>
                <a:gd name="T47" fmla="*/ 213352 h 475"/>
                <a:gd name="T48" fmla="*/ 58889 w 190"/>
                <a:gd name="T49" fmla="*/ 221686 h 475"/>
                <a:gd name="T50" fmla="*/ 61641 w 190"/>
                <a:gd name="T51" fmla="*/ 230576 h 475"/>
                <a:gd name="T52" fmla="*/ 62741 w 190"/>
                <a:gd name="T53" fmla="*/ 238910 h 475"/>
                <a:gd name="T54" fmla="*/ 64392 w 190"/>
                <a:gd name="T55" fmla="*/ 246688 h 475"/>
                <a:gd name="T56" fmla="*/ 64943 w 190"/>
                <a:gd name="T57" fmla="*/ 258912 h 475"/>
                <a:gd name="T58" fmla="*/ 65493 w 190"/>
                <a:gd name="T59" fmla="*/ 263912 h 475"/>
                <a:gd name="T60" fmla="*/ 65493 w 190"/>
                <a:gd name="T61" fmla="*/ 263912 h 475"/>
                <a:gd name="T62" fmla="*/ 74299 w 190"/>
                <a:gd name="T63" fmla="*/ 233909 h 475"/>
                <a:gd name="T64" fmla="*/ 82004 w 190"/>
                <a:gd name="T65" fmla="*/ 206685 h 475"/>
                <a:gd name="T66" fmla="*/ 88608 w 190"/>
                <a:gd name="T67" fmla="*/ 181683 h 475"/>
                <a:gd name="T68" fmla="*/ 93562 w 190"/>
                <a:gd name="T69" fmla="*/ 158903 h 475"/>
                <a:gd name="T70" fmla="*/ 97414 w 190"/>
                <a:gd name="T71" fmla="*/ 137790 h 475"/>
                <a:gd name="T72" fmla="*/ 101267 w 190"/>
                <a:gd name="T73" fmla="*/ 118344 h 475"/>
                <a:gd name="T74" fmla="*/ 102918 w 190"/>
                <a:gd name="T75" fmla="*/ 101120 h 475"/>
                <a:gd name="T76" fmla="*/ 104569 w 190"/>
                <a:gd name="T77" fmla="*/ 85007 h 475"/>
                <a:gd name="T78" fmla="*/ 104569 w 190"/>
                <a:gd name="T79" fmla="*/ 71117 h 475"/>
                <a:gd name="T80" fmla="*/ 104019 w 190"/>
                <a:gd name="T81" fmla="*/ 58894 h 475"/>
                <a:gd name="T82" fmla="*/ 102918 w 190"/>
                <a:gd name="T83" fmla="*/ 47782 h 475"/>
                <a:gd name="T84" fmla="*/ 101267 w 190"/>
                <a:gd name="T85" fmla="*/ 38892 h 475"/>
                <a:gd name="T86" fmla="*/ 99065 w 190"/>
                <a:gd name="T87" fmla="*/ 30558 h 475"/>
                <a:gd name="T88" fmla="*/ 96314 w 190"/>
                <a:gd name="T89" fmla="*/ 22780 h 475"/>
                <a:gd name="T90" fmla="*/ 93011 w 190"/>
                <a:gd name="T91" fmla="*/ 17224 h 475"/>
                <a:gd name="T92" fmla="*/ 89709 w 190"/>
                <a:gd name="T93" fmla="*/ 12779 h 475"/>
                <a:gd name="T94" fmla="*/ 85306 w 190"/>
                <a:gd name="T95" fmla="*/ 8334 h 475"/>
                <a:gd name="T96" fmla="*/ 81454 w 190"/>
                <a:gd name="T97" fmla="*/ 5556 h 475"/>
                <a:gd name="T98" fmla="*/ 76500 w 190"/>
                <a:gd name="T99" fmla="*/ 2778 h 475"/>
                <a:gd name="T100" fmla="*/ 72098 w 190"/>
                <a:gd name="T101" fmla="*/ 1667 h 475"/>
                <a:gd name="T102" fmla="*/ 67695 w 190"/>
                <a:gd name="T103" fmla="*/ 1111 h 475"/>
                <a:gd name="T104" fmla="*/ 63292 w 190"/>
                <a:gd name="T105" fmla="*/ 0 h 475"/>
                <a:gd name="T106" fmla="*/ 55036 w 190"/>
                <a:gd name="T107" fmla="*/ 1111 h 475"/>
                <a:gd name="T108" fmla="*/ 47331 w 190"/>
                <a:gd name="T109" fmla="*/ 2222 h 475"/>
                <a:gd name="T110" fmla="*/ 41828 w 190"/>
                <a:gd name="T111" fmla="*/ 4445 h 475"/>
                <a:gd name="T112" fmla="*/ 36324 w 190"/>
                <a:gd name="T113" fmla="*/ 7223 h 47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90" h="475">
                  <a:moveTo>
                    <a:pt x="66" y="13"/>
                  </a:moveTo>
                  <a:lnTo>
                    <a:pt x="66" y="13"/>
                  </a:lnTo>
                  <a:lnTo>
                    <a:pt x="63" y="34"/>
                  </a:lnTo>
                  <a:lnTo>
                    <a:pt x="61" y="57"/>
                  </a:lnTo>
                  <a:lnTo>
                    <a:pt x="53" y="110"/>
                  </a:lnTo>
                  <a:lnTo>
                    <a:pt x="42" y="167"/>
                  </a:lnTo>
                  <a:lnTo>
                    <a:pt x="31" y="223"/>
                  </a:lnTo>
                  <a:lnTo>
                    <a:pt x="8" y="317"/>
                  </a:lnTo>
                  <a:lnTo>
                    <a:pt x="0" y="356"/>
                  </a:lnTo>
                  <a:lnTo>
                    <a:pt x="10" y="348"/>
                  </a:lnTo>
                  <a:lnTo>
                    <a:pt x="20" y="343"/>
                  </a:lnTo>
                  <a:lnTo>
                    <a:pt x="28" y="339"/>
                  </a:lnTo>
                  <a:lnTo>
                    <a:pt x="37" y="337"/>
                  </a:lnTo>
                  <a:lnTo>
                    <a:pt x="46" y="336"/>
                  </a:lnTo>
                  <a:lnTo>
                    <a:pt x="53" y="336"/>
                  </a:lnTo>
                  <a:lnTo>
                    <a:pt x="59" y="337"/>
                  </a:lnTo>
                  <a:lnTo>
                    <a:pt x="66" y="338"/>
                  </a:lnTo>
                  <a:lnTo>
                    <a:pt x="72" y="342"/>
                  </a:lnTo>
                  <a:lnTo>
                    <a:pt x="78" y="346"/>
                  </a:lnTo>
                  <a:lnTo>
                    <a:pt x="83" y="351"/>
                  </a:lnTo>
                  <a:lnTo>
                    <a:pt x="87" y="357"/>
                  </a:lnTo>
                  <a:lnTo>
                    <a:pt x="95" y="369"/>
                  </a:lnTo>
                  <a:lnTo>
                    <a:pt x="102" y="384"/>
                  </a:lnTo>
                  <a:lnTo>
                    <a:pt x="107" y="399"/>
                  </a:lnTo>
                  <a:lnTo>
                    <a:pt x="112" y="415"/>
                  </a:lnTo>
                  <a:lnTo>
                    <a:pt x="114" y="430"/>
                  </a:lnTo>
                  <a:lnTo>
                    <a:pt x="117" y="444"/>
                  </a:lnTo>
                  <a:lnTo>
                    <a:pt x="118" y="466"/>
                  </a:lnTo>
                  <a:lnTo>
                    <a:pt x="119" y="475"/>
                  </a:lnTo>
                  <a:lnTo>
                    <a:pt x="135" y="421"/>
                  </a:lnTo>
                  <a:lnTo>
                    <a:pt x="149" y="372"/>
                  </a:lnTo>
                  <a:lnTo>
                    <a:pt x="161" y="327"/>
                  </a:lnTo>
                  <a:lnTo>
                    <a:pt x="170" y="286"/>
                  </a:lnTo>
                  <a:lnTo>
                    <a:pt x="177" y="248"/>
                  </a:lnTo>
                  <a:lnTo>
                    <a:pt x="184" y="213"/>
                  </a:lnTo>
                  <a:lnTo>
                    <a:pt x="187" y="182"/>
                  </a:lnTo>
                  <a:lnTo>
                    <a:pt x="190" y="153"/>
                  </a:lnTo>
                  <a:lnTo>
                    <a:pt x="190" y="128"/>
                  </a:lnTo>
                  <a:lnTo>
                    <a:pt x="189" y="106"/>
                  </a:lnTo>
                  <a:lnTo>
                    <a:pt x="187" y="86"/>
                  </a:lnTo>
                  <a:lnTo>
                    <a:pt x="184" y="70"/>
                  </a:lnTo>
                  <a:lnTo>
                    <a:pt x="180" y="55"/>
                  </a:lnTo>
                  <a:lnTo>
                    <a:pt x="175" y="41"/>
                  </a:lnTo>
                  <a:lnTo>
                    <a:pt x="169" y="31"/>
                  </a:lnTo>
                  <a:lnTo>
                    <a:pt x="163" y="23"/>
                  </a:lnTo>
                  <a:lnTo>
                    <a:pt x="155" y="15"/>
                  </a:lnTo>
                  <a:lnTo>
                    <a:pt x="148" y="10"/>
                  </a:lnTo>
                  <a:lnTo>
                    <a:pt x="139" y="5"/>
                  </a:lnTo>
                  <a:lnTo>
                    <a:pt x="131" y="3"/>
                  </a:lnTo>
                  <a:lnTo>
                    <a:pt x="123" y="2"/>
                  </a:lnTo>
                  <a:lnTo>
                    <a:pt x="115" y="0"/>
                  </a:lnTo>
                  <a:lnTo>
                    <a:pt x="100" y="2"/>
                  </a:lnTo>
                  <a:lnTo>
                    <a:pt x="86" y="4"/>
                  </a:lnTo>
                  <a:lnTo>
                    <a:pt x="76" y="8"/>
                  </a:lnTo>
                  <a:lnTo>
                    <a:pt x="66"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01" name="Freeform 142"/>
            <p:cNvSpPr>
              <a:spLocks/>
            </p:cNvSpPr>
            <p:nvPr/>
          </p:nvSpPr>
          <p:spPr bwMode="auto">
            <a:xfrm>
              <a:off x="2470309" y="2395916"/>
              <a:ext cx="104569" cy="263912"/>
            </a:xfrm>
            <a:custGeom>
              <a:avLst/>
              <a:gdLst>
                <a:gd name="T0" fmla="*/ 38871 w 191"/>
                <a:gd name="T1" fmla="*/ 263912 h 475"/>
                <a:gd name="T2" fmla="*/ 38871 w 191"/>
                <a:gd name="T3" fmla="*/ 263912 h 475"/>
                <a:gd name="T4" fmla="*/ 39419 w 191"/>
                <a:gd name="T5" fmla="*/ 258912 h 475"/>
                <a:gd name="T6" fmla="*/ 39966 w 191"/>
                <a:gd name="T7" fmla="*/ 246688 h 475"/>
                <a:gd name="T8" fmla="*/ 41609 w 191"/>
                <a:gd name="T9" fmla="*/ 238910 h 475"/>
                <a:gd name="T10" fmla="*/ 43251 w 191"/>
                <a:gd name="T11" fmla="*/ 230576 h 475"/>
                <a:gd name="T12" fmla="*/ 45441 w 191"/>
                <a:gd name="T13" fmla="*/ 221686 h 475"/>
                <a:gd name="T14" fmla="*/ 48178 w 191"/>
                <a:gd name="T15" fmla="*/ 213352 h 475"/>
                <a:gd name="T16" fmla="*/ 51463 w 191"/>
                <a:gd name="T17" fmla="*/ 205018 h 475"/>
                <a:gd name="T18" fmla="*/ 56391 w 191"/>
                <a:gd name="T19" fmla="*/ 198351 h 475"/>
                <a:gd name="T20" fmla="*/ 58581 w 191"/>
                <a:gd name="T21" fmla="*/ 195017 h 475"/>
                <a:gd name="T22" fmla="*/ 61865 w 191"/>
                <a:gd name="T23" fmla="*/ 192239 h 475"/>
                <a:gd name="T24" fmla="*/ 64603 w 191"/>
                <a:gd name="T25" fmla="*/ 190017 h 475"/>
                <a:gd name="T26" fmla="*/ 67888 w 191"/>
                <a:gd name="T27" fmla="*/ 187794 h 475"/>
                <a:gd name="T28" fmla="*/ 71173 w 191"/>
                <a:gd name="T29" fmla="*/ 187239 h 475"/>
                <a:gd name="T30" fmla="*/ 75552 w 191"/>
                <a:gd name="T31" fmla="*/ 186683 h 475"/>
                <a:gd name="T32" fmla="*/ 79385 w 191"/>
                <a:gd name="T33" fmla="*/ 186683 h 475"/>
                <a:gd name="T34" fmla="*/ 83765 w 191"/>
                <a:gd name="T35" fmla="*/ 187239 h 475"/>
                <a:gd name="T36" fmla="*/ 88145 w 191"/>
                <a:gd name="T37" fmla="*/ 188350 h 475"/>
                <a:gd name="T38" fmla="*/ 93072 w 191"/>
                <a:gd name="T39" fmla="*/ 190572 h 475"/>
                <a:gd name="T40" fmla="*/ 98547 w 191"/>
                <a:gd name="T41" fmla="*/ 193350 h 475"/>
                <a:gd name="T42" fmla="*/ 104569 w 191"/>
                <a:gd name="T43" fmla="*/ 197795 h 475"/>
                <a:gd name="T44" fmla="*/ 104569 w 191"/>
                <a:gd name="T45" fmla="*/ 197795 h 475"/>
                <a:gd name="T46" fmla="*/ 99094 w 191"/>
                <a:gd name="T47" fmla="*/ 176127 h 475"/>
                <a:gd name="T48" fmla="*/ 87050 w 191"/>
                <a:gd name="T49" fmla="*/ 123900 h 475"/>
                <a:gd name="T50" fmla="*/ 81027 w 191"/>
                <a:gd name="T51" fmla="*/ 92786 h 475"/>
                <a:gd name="T52" fmla="*/ 75005 w 191"/>
                <a:gd name="T53" fmla="*/ 61116 h 475"/>
                <a:gd name="T54" fmla="*/ 70625 w 191"/>
                <a:gd name="T55" fmla="*/ 31669 h 475"/>
                <a:gd name="T56" fmla="*/ 69530 w 191"/>
                <a:gd name="T57" fmla="*/ 18891 h 475"/>
                <a:gd name="T58" fmla="*/ 68435 w 191"/>
                <a:gd name="T59" fmla="*/ 7223 h 475"/>
                <a:gd name="T60" fmla="*/ 68435 w 191"/>
                <a:gd name="T61" fmla="*/ 7223 h 475"/>
                <a:gd name="T62" fmla="*/ 62960 w 191"/>
                <a:gd name="T63" fmla="*/ 4445 h 475"/>
                <a:gd name="T64" fmla="*/ 56938 w 191"/>
                <a:gd name="T65" fmla="*/ 2222 h 475"/>
                <a:gd name="T66" fmla="*/ 49821 w 191"/>
                <a:gd name="T67" fmla="*/ 1111 h 475"/>
                <a:gd name="T68" fmla="*/ 40514 w 191"/>
                <a:gd name="T69" fmla="*/ 0 h 475"/>
                <a:gd name="T70" fmla="*/ 36681 w 191"/>
                <a:gd name="T71" fmla="*/ 1111 h 475"/>
                <a:gd name="T72" fmla="*/ 31754 w 191"/>
                <a:gd name="T73" fmla="*/ 1667 h 475"/>
                <a:gd name="T74" fmla="*/ 27922 w 191"/>
                <a:gd name="T75" fmla="*/ 2778 h 475"/>
                <a:gd name="T76" fmla="*/ 22994 w 191"/>
                <a:gd name="T77" fmla="*/ 5556 h 475"/>
                <a:gd name="T78" fmla="*/ 19162 w 191"/>
                <a:gd name="T79" fmla="*/ 8334 h 475"/>
                <a:gd name="T80" fmla="*/ 15329 w 191"/>
                <a:gd name="T81" fmla="*/ 12779 h 475"/>
                <a:gd name="T82" fmla="*/ 11497 w 191"/>
                <a:gd name="T83" fmla="*/ 17224 h 475"/>
                <a:gd name="T84" fmla="*/ 8760 w 191"/>
                <a:gd name="T85" fmla="*/ 22780 h 475"/>
                <a:gd name="T86" fmla="*/ 5475 w 191"/>
                <a:gd name="T87" fmla="*/ 30558 h 475"/>
                <a:gd name="T88" fmla="*/ 3285 w 191"/>
                <a:gd name="T89" fmla="*/ 38892 h 475"/>
                <a:gd name="T90" fmla="*/ 1095 w 191"/>
                <a:gd name="T91" fmla="*/ 47782 h 475"/>
                <a:gd name="T92" fmla="*/ 547 w 191"/>
                <a:gd name="T93" fmla="*/ 58894 h 475"/>
                <a:gd name="T94" fmla="*/ 0 w 191"/>
                <a:gd name="T95" fmla="*/ 71117 h 475"/>
                <a:gd name="T96" fmla="*/ 547 w 191"/>
                <a:gd name="T97" fmla="*/ 85007 h 475"/>
                <a:gd name="T98" fmla="*/ 1095 w 191"/>
                <a:gd name="T99" fmla="*/ 101120 h 475"/>
                <a:gd name="T100" fmla="*/ 3832 w 191"/>
                <a:gd name="T101" fmla="*/ 118344 h 475"/>
                <a:gd name="T102" fmla="*/ 6570 w 191"/>
                <a:gd name="T103" fmla="*/ 137790 h 475"/>
                <a:gd name="T104" fmla="*/ 10950 w 191"/>
                <a:gd name="T105" fmla="*/ 158903 h 475"/>
                <a:gd name="T106" fmla="*/ 16424 w 191"/>
                <a:gd name="T107" fmla="*/ 181683 h 475"/>
                <a:gd name="T108" fmla="*/ 22447 w 191"/>
                <a:gd name="T109" fmla="*/ 206685 h 475"/>
                <a:gd name="T110" fmla="*/ 30111 w 191"/>
                <a:gd name="T111" fmla="*/ 233909 h 475"/>
                <a:gd name="T112" fmla="*/ 38871 w 191"/>
                <a:gd name="T113" fmla="*/ 263912 h 47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91" h="475">
                  <a:moveTo>
                    <a:pt x="71" y="475"/>
                  </a:moveTo>
                  <a:lnTo>
                    <a:pt x="71" y="475"/>
                  </a:lnTo>
                  <a:lnTo>
                    <a:pt x="72" y="466"/>
                  </a:lnTo>
                  <a:lnTo>
                    <a:pt x="73" y="444"/>
                  </a:lnTo>
                  <a:lnTo>
                    <a:pt x="76" y="430"/>
                  </a:lnTo>
                  <a:lnTo>
                    <a:pt x="79" y="415"/>
                  </a:lnTo>
                  <a:lnTo>
                    <a:pt x="83" y="399"/>
                  </a:lnTo>
                  <a:lnTo>
                    <a:pt x="88" y="384"/>
                  </a:lnTo>
                  <a:lnTo>
                    <a:pt x="94" y="369"/>
                  </a:lnTo>
                  <a:lnTo>
                    <a:pt x="103" y="357"/>
                  </a:lnTo>
                  <a:lnTo>
                    <a:pt x="107" y="351"/>
                  </a:lnTo>
                  <a:lnTo>
                    <a:pt x="113" y="346"/>
                  </a:lnTo>
                  <a:lnTo>
                    <a:pt x="118" y="342"/>
                  </a:lnTo>
                  <a:lnTo>
                    <a:pt x="124" y="338"/>
                  </a:lnTo>
                  <a:lnTo>
                    <a:pt x="130" y="337"/>
                  </a:lnTo>
                  <a:lnTo>
                    <a:pt x="138" y="336"/>
                  </a:lnTo>
                  <a:lnTo>
                    <a:pt x="145" y="336"/>
                  </a:lnTo>
                  <a:lnTo>
                    <a:pt x="153" y="337"/>
                  </a:lnTo>
                  <a:lnTo>
                    <a:pt x="161" y="339"/>
                  </a:lnTo>
                  <a:lnTo>
                    <a:pt x="170" y="343"/>
                  </a:lnTo>
                  <a:lnTo>
                    <a:pt x="180" y="348"/>
                  </a:lnTo>
                  <a:lnTo>
                    <a:pt x="191" y="356"/>
                  </a:lnTo>
                  <a:lnTo>
                    <a:pt x="181" y="317"/>
                  </a:lnTo>
                  <a:lnTo>
                    <a:pt x="159" y="223"/>
                  </a:lnTo>
                  <a:lnTo>
                    <a:pt x="148" y="167"/>
                  </a:lnTo>
                  <a:lnTo>
                    <a:pt x="137" y="110"/>
                  </a:lnTo>
                  <a:lnTo>
                    <a:pt x="129" y="57"/>
                  </a:lnTo>
                  <a:lnTo>
                    <a:pt x="127" y="34"/>
                  </a:lnTo>
                  <a:lnTo>
                    <a:pt x="125" y="13"/>
                  </a:lnTo>
                  <a:lnTo>
                    <a:pt x="115" y="8"/>
                  </a:lnTo>
                  <a:lnTo>
                    <a:pt x="104" y="4"/>
                  </a:lnTo>
                  <a:lnTo>
                    <a:pt x="91" y="2"/>
                  </a:lnTo>
                  <a:lnTo>
                    <a:pt x="74" y="0"/>
                  </a:lnTo>
                  <a:lnTo>
                    <a:pt x="67" y="2"/>
                  </a:lnTo>
                  <a:lnTo>
                    <a:pt x="58" y="3"/>
                  </a:lnTo>
                  <a:lnTo>
                    <a:pt x="51" y="5"/>
                  </a:lnTo>
                  <a:lnTo>
                    <a:pt x="42" y="10"/>
                  </a:lnTo>
                  <a:lnTo>
                    <a:pt x="35" y="15"/>
                  </a:lnTo>
                  <a:lnTo>
                    <a:pt x="28" y="23"/>
                  </a:lnTo>
                  <a:lnTo>
                    <a:pt x="21" y="31"/>
                  </a:lnTo>
                  <a:lnTo>
                    <a:pt x="16" y="41"/>
                  </a:lnTo>
                  <a:lnTo>
                    <a:pt x="10" y="55"/>
                  </a:lnTo>
                  <a:lnTo>
                    <a:pt x="6" y="70"/>
                  </a:lnTo>
                  <a:lnTo>
                    <a:pt x="2" y="86"/>
                  </a:lnTo>
                  <a:lnTo>
                    <a:pt x="1" y="106"/>
                  </a:lnTo>
                  <a:lnTo>
                    <a:pt x="0" y="128"/>
                  </a:lnTo>
                  <a:lnTo>
                    <a:pt x="1" y="153"/>
                  </a:lnTo>
                  <a:lnTo>
                    <a:pt x="2" y="182"/>
                  </a:lnTo>
                  <a:lnTo>
                    <a:pt x="7" y="213"/>
                  </a:lnTo>
                  <a:lnTo>
                    <a:pt x="12" y="248"/>
                  </a:lnTo>
                  <a:lnTo>
                    <a:pt x="20" y="286"/>
                  </a:lnTo>
                  <a:lnTo>
                    <a:pt x="30" y="327"/>
                  </a:lnTo>
                  <a:lnTo>
                    <a:pt x="41" y="372"/>
                  </a:lnTo>
                  <a:lnTo>
                    <a:pt x="55" y="421"/>
                  </a:lnTo>
                  <a:lnTo>
                    <a:pt x="71" y="475"/>
                  </a:lnTo>
                  <a:close/>
                </a:path>
              </a:pathLst>
            </a:custGeom>
            <a:solidFill>
              <a:srgbClr val="3FA2C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02" name="Freeform 143"/>
            <p:cNvSpPr>
              <a:spLocks/>
            </p:cNvSpPr>
            <p:nvPr/>
          </p:nvSpPr>
          <p:spPr bwMode="auto">
            <a:xfrm>
              <a:off x="2470309" y="2395916"/>
              <a:ext cx="104569" cy="263912"/>
            </a:xfrm>
            <a:custGeom>
              <a:avLst/>
              <a:gdLst>
                <a:gd name="T0" fmla="*/ 38871 w 191"/>
                <a:gd name="T1" fmla="*/ 263912 h 475"/>
                <a:gd name="T2" fmla="*/ 38871 w 191"/>
                <a:gd name="T3" fmla="*/ 263912 h 475"/>
                <a:gd name="T4" fmla="*/ 39419 w 191"/>
                <a:gd name="T5" fmla="*/ 258912 h 475"/>
                <a:gd name="T6" fmla="*/ 39966 w 191"/>
                <a:gd name="T7" fmla="*/ 246688 h 475"/>
                <a:gd name="T8" fmla="*/ 41609 w 191"/>
                <a:gd name="T9" fmla="*/ 238910 h 475"/>
                <a:gd name="T10" fmla="*/ 43251 w 191"/>
                <a:gd name="T11" fmla="*/ 230576 h 475"/>
                <a:gd name="T12" fmla="*/ 45441 w 191"/>
                <a:gd name="T13" fmla="*/ 221686 h 475"/>
                <a:gd name="T14" fmla="*/ 48178 w 191"/>
                <a:gd name="T15" fmla="*/ 213352 h 475"/>
                <a:gd name="T16" fmla="*/ 51463 w 191"/>
                <a:gd name="T17" fmla="*/ 205018 h 475"/>
                <a:gd name="T18" fmla="*/ 56391 w 191"/>
                <a:gd name="T19" fmla="*/ 198351 h 475"/>
                <a:gd name="T20" fmla="*/ 58581 w 191"/>
                <a:gd name="T21" fmla="*/ 195017 h 475"/>
                <a:gd name="T22" fmla="*/ 61865 w 191"/>
                <a:gd name="T23" fmla="*/ 192239 h 475"/>
                <a:gd name="T24" fmla="*/ 64603 w 191"/>
                <a:gd name="T25" fmla="*/ 190017 h 475"/>
                <a:gd name="T26" fmla="*/ 67888 w 191"/>
                <a:gd name="T27" fmla="*/ 187794 h 475"/>
                <a:gd name="T28" fmla="*/ 71173 w 191"/>
                <a:gd name="T29" fmla="*/ 187239 h 475"/>
                <a:gd name="T30" fmla="*/ 75552 w 191"/>
                <a:gd name="T31" fmla="*/ 186683 h 475"/>
                <a:gd name="T32" fmla="*/ 79385 w 191"/>
                <a:gd name="T33" fmla="*/ 186683 h 475"/>
                <a:gd name="T34" fmla="*/ 83765 w 191"/>
                <a:gd name="T35" fmla="*/ 187239 h 475"/>
                <a:gd name="T36" fmla="*/ 88145 w 191"/>
                <a:gd name="T37" fmla="*/ 188350 h 475"/>
                <a:gd name="T38" fmla="*/ 93072 w 191"/>
                <a:gd name="T39" fmla="*/ 190572 h 475"/>
                <a:gd name="T40" fmla="*/ 98547 w 191"/>
                <a:gd name="T41" fmla="*/ 193350 h 475"/>
                <a:gd name="T42" fmla="*/ 104569 w 191"/>
                <a:gd name="T43" fmla="*/ 197795 h 475"/>
                <a:gd name="T44" fmla="*/ 104569 w 191"/>
                <a:gd name="T45" fmla="*/ 197795 h 475"/>
                <a:gd name="T46" fmla="*/ 99094 w 191"/>
                <a:gd name="T47" fmla="*/ 176127 h 475"/>
                <a:gd name="T48" fmla="*/ 87050 w 191"/>
                <a:gd name="T49" fmla="*/ 123900 h 475"/>
                <a:gd name="T50" fmla="*/ 81027 w 191"/>
                <a:gd name="T51" fmla="*/ 92786 h 475"/>
                <a:gd name="T52" fmla="*/ 75005 w 191"/>
                <a:gd name="T53" fmla="*/ 61116 h 475"/>
                <a:gd name="T54" fmla="*/ 70625 w 191"/>
                <a:gd name="T55" fmla="*/ 31669 h 475"/>
                <a:gd name="T56" fmla="*/ 69530 w 191"/>
                <a:gd name="T57" fmla="*/ 18891 h 475"/>
                <a:gd name="T58" fmla="*/ 68435 w 191"/>
                <a:gd name="T59" fmla="*/ 7223 h 475"/>
                <a:gd name="T60" fmla="*/ 68435 w 191"/>
                <a:gd name="T61" fmla="*/ 7223 h 475"/>
                <a:gd name="T62" fmla="*/ 62960 w 191"/>
                <a:gd name="T63" fmla="*/ 4445 h 475"/>
                <a:gd name="T64" fmla="*/ 56938 w 191"/>
                <a:gd name="T65" fmla="*/ 2222 h 475"/>
                <a:gd name="T66" fmla="*/ 49821 w 191"/>
                <a:gd name="T67" fmla="*/ 1111 h 475"/>
                <a:gd name="T68" fmla="*/ 40514 w 191"/>
                <a:gd name="T69" fmla="*/ 0 h 475"/>
                <a:gd name="T70" fmla="*/ 36681 w 191"/>
                <a:gd name="T71" fmla="*/ 1111 h 475"/>
                <a:gd name="T72" fmla="*/ 31754 w 191"/>
                <a:gd name="T73" fmla="*/ 1667 h 475"/>
                <a:gd name="T74" fmla="*/ 27922 w 191"/>
                <a:gd name="T75" fmla="*/ 2778 h 475"/>
                <a:gd name="T76" fmla="*/ 22994 w 191"/>
                <a:gd name="T77" fmla="*/ 5556 h 475"/>
                <a:gd name="T78" fmla="*/ 19162 w 191"/>
                <a:gd name="T79" fmla="*/ 8334 h 475"/>
                <a:gd name="T80" fmla="*/ 15329 w 191"/>
                <a:gd name="T81" fmla="*/ 12779 h 475"/>
                <a:gd name="T82" fmla="*/ 11497 w 191"/>
                <a:gd name="T83" fmla="*/ 17224 h 475"/>
                <a:gd name="T84" fmla="*/ 8760 w 191"/>
                <a:gd name="T85" fmla="*/ 22780 h 475"/>
                <a:gd name="T86" fmla="*/ 5475 w 191"/>
                <a:gd name="T87" fmla="*/ 30558 h 475"/>
                <a:gd name="T88" fmla="*/ 3285 w 191"/>
                <a:gd name="T89" fmla="*/ 38892 h 475"/>
                <a:gd name="T90" fmla="*/ 1095 w 191"/>
                <a:gd name="T91" fmla="*/ 47782 h 475"/>
                <a:gd name="T92" fmla="*/ 547 w 191"/>
                <a:gd name="T93" fmla="*/ 58894 h 475"/>
                <a:gd name="T94" fmla="*/ 0 w 191"/>
                <a:gd name="T95" fmla="*/ 71117 h 475"/>
                <a:gd name="T96" fmla="*/ 547 w 191"/>
                <a:gd name="T97" fmla="*/ 85007 h 475"/>
                <a:gd name="T98" fmla="*/ 1095 w 191"/>
                <a:gd name="T99" fmla="*/ 101120 h 475"/>
                <a:gd name="T100" fmla="*/ 3832 w 191"/>
                <a:gd name="T101" fmla="*/ 118344 h 475"/>
                <a:gd name="T102" fmla="*/ 6570 w 191"/>
                <a:gd name="T103" fmla="*/ 137790 h 475"/>
                <a:gd name="T104" fmla="*/ 10950 w 191"/>
                <a:gd name="T105" fmla="*/ 158903 h 475"/>
                <a:gd name="T106" fmla="*/ 16424 w 191"/>
                <a:gd name="T107" fmla="*/ 181683 h 475"/>
                <a:gd name="T108" fmla="*/ 22447 w 191"/>
                <a:gd name="T109" fmla="*/ 206685 h 475"/>
                <a:gd name="T110" fmla="*/ 30111 w 191"/>
                <a:gd name="T111" fmla="*/ 233909 h 475"/>
                <a:gd name="T112" fmla="*/ 38871 w 191"/>
                <a:gd name="T113" fmla="*/ 263912 h 47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91" h="475">
                  <a:moveTo>
                    <a:pt x="71" y="475"/>
                  </a:moveTo>
                  <a:lnTo>
                    <a:pt x="71" y="475"/>
                  </a:lnTo>
                  <a:lnTo>
                    <a:pt x="72" y="466"/>
                  </a:lnTo>
                  <a:lnTo>
                    <a:pt x="73" y="444"/>
                  </a:lnTo>
                  <a:lnTo>
                    <a:pt x="76" y="430"/>
                  </a:lnTo>
                  <a:lnTo>
                    <a:pt x="79" y="415"/>
                  </a:lnTo>
                  <a:lnTo>
                    <a:pt x="83" y="399"/>
                  </a:lnTo>
                  <a:lnTo>
                    <a:pt x="88" y="384"/>
                  </a:lnTo>
                  <a:lnTo>
                    <a:pt x="94" y="369"/>
                  </a:lnTo>
                  <a:lnTo>
                    <a:pt x="103" y="357"/>
                  </a:lnTo>
                  <a:lnTo>
                    <a:pt x="107" y="351"/>
                  </a:lnTo>
                  <a:lnTo>
                    <a:pt x="113" y="346"/>
                  </a:lnTo>
                  <a:lnTo>
                    <a:pt x="118" y="342"/>
                  </a:lnTo>
                  <a:lnTo>
                    <a:pt x="124" y="338"/>
                  </a:lnTo>
                  <a:lnTo>
                    <a:pt x="130" y="337"/>
                  </a:lnTo>
                  <a:lnTo>
                    <a:pt x="138" y="336"/>
                  </a:lnTo>
                  <a:lnTo>
                    <a:pt x="145" y="336"/>
                  </a:lnTo>
                  <a:lnTo>
                    <a:pt x="153" y="337"/>
                  </a:lnTo>
                  <a:lnTo>
                    <a:pt x="161" y="339"/>
                  </a:lnTo>
                  <a:lnTo>
                    <a:pt x="170" y="343"/>
                  </a:lnTo>
                  <a:lnTo>
                    <a:pt x="180" y="348"/>
                  </a:lnTo>
                  <a:lnTo>
                    <a:pt x="191" y="356"/>
                  </a:lnTo>
                  <a:lnTo>
                    <a:pt x="181" y="317"/>
                  </a:lnTo>
                  <a:lnTo>
                    <a:pt x="159" y="223"/>
                  </a:lnTo>
                  <a:lnTo>
                    <a:pt x="148" y="167"/>
                  </a:lnTo>
                  <a:lnTo>
                    <a:pt x="137" y="110"/>
                  </a:lnTo>
                  <a:lnTo>
                    <a:pt x="129" y="57"/>
                  </a:lnTo>
                  <a:lnTo>
                    <a:pt x="127" y="34"/>
                  </a:lnTo>
                  <a:lnTo>
                    <a:pt x="125" y="13"/>
                  </a:lnTo>
                  <a:lnTo>
                    <a:pt x="115" y="8"/>
                  </a:lnTo>
                  <a:lnTo>
                    <a:pt x="104" y="4"/>
                  </a:lnTo>
                  <a:lnTo>
                    <a:pt x="91" y="2"/>
                  </a:lnTo>
                  <a:lnTo>
                    <a:pt x="74" y="0"/>
                  </a:lnTo>
                  <a:lnTo>
                    <a:pt x="67" y="2"/>
                  </a:lnTo>
                  <a:lnTo>
                    <a:pt x="58" y="3"/>
                  </a:lnTo>
                  <a:lnTo>
                    <a:pt x="51" y="5"/>
                  </a:lnTo>
                  <a:lnTo>
                    <a:pt x="42" y="10"/>
                  </a:lnTo>
                  <a:lnTo>
                    <a:pt x="35" y="15"/>
                  </a:lnTo>
                  <a:lnTo>
                    <a:pt x="28" y="23"/>
                  </a:lnTo>
                  <a:lnTo>
                    <a:pt x="21" y="31"/>
                  </a:lnTo>
                  <a:lnTo>
                    <a:pt x="16" y="41"/>
                  </a:lnTo>
                  <a:lnTo>
                    <a:pt x="10" y="55"/>
                  </a:lnTo>
                  <a:lnTo>
                    <a:pt x="6" y="70"/>
                  </a:lnTo>
                  <a:lnTo>
                    <a:pt x="2" y="86"/>
                  </a:lnTo>
                  <a:lnTo>
                    <a:pt x="1" y="106"/>
                  </a:lnTo>
                  <a:lnTo>
                    <a:pt x="0" y="128"/>
                  </a:lnTo>
                  <a:lnTo>
                    <a:pt x="1" y="153"/>
                  </a:lnTo>
                  <a:lnTo>
                    <a:pt x="2" y="182"/>
                  </a:lnTo>
                  <a:lnTo>
                    <a:pt x="7" y="213"/>
                  </a:lnTo>
                  <a:lnTo>
                    <a:pt x="12" y="248"/>
                  </a:lnTo>
                  <a:lnTo>
                    <a:pt x="20" y="286"/>
                  </a:lnTo>
                  <a:lnTo>
                    <a:pt x="30" y="327"/>
                  </a:lnTo>
                  <a:lnTo>
                    <a:pt x="41" y="372"/>
                  </a:lnTo>
                  <a:lnTo>
                    <a:pt x="55" y="421"/>
                  </a:lnTo>
                  <a:lnTo>
                    <a:pt x="71" y="4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03" name="Freeform 144"/>
            <p:cNvSpPr>
              <a:spLocks noEditPoints="1"/>
            </p:cNvSpPr>
            <p:nvPr/>
          </p:nvSpPr>
          <p:spPr bwMode="auto">
            <a:xfrm>
              <a:off x="2540021" y="1740287"/>
              <a:ext cx="253953" cy="846508"/>
            </a:xfrm>
            <a:custGeom>
              <a:avLst/>
              <a:gdLst>
                <a:gd name="T0" fmla="*/ 196841 w 458"/>
                <a:gd name="T1" fmla="*/ 260038 h 1530"/>
                <a:gd name="T2" fmla="*/ 194623 w 458"/>
                <a:gd name="T3" fmla="*/ 257272 h 1530"/>
                <a:gd name="T4" fmla="*/ 163572 w 458"/>
                <a:gd name="T5" fmla="*/ 190326 h 1530"/>
                <a:gd name="T6" fmla="*/ 141948 w 458"/>
                <a:gd name="T7" fmla="*/ 121720 h 1530"/>
                <a:gd name="T8" fmla="*/ 128085 w 458"/>
                <a:gd name="T9" fmla="*/ 39282 h 1530"/>
                <a:gd name="T10" fmla="*/ 132521 w 458"/>
                <a:gd name="T11" fmla="*/ 14385 h 1530"/>
                <a:gd name="T12" fmla="*/ 134739 w 458"/>
                <a:gd name="T13" fmla="*/ 5533 h 1530"/>
                <a:gd name="T14" fmla="*/ 126422 w 458"/>
                <a:gd name="T15" fmla="*/ 0 h 1530"/>
                <a:gd name="T16" fmla="*/ 118105 w 458"/>
                <a:gd name="T17" fmla="*/ 8299 h 1530"/>
                <a:gd name="T18" fmla="*/ 123095 w 458"/>
                <a:gd name="T19" fmla="*/ 16598 h 1530"/>
                <a:gd name="T20" fmla="*/ 123650 w 458"/>
                <a:gd name="T21" fmla="*/ 60307 h 1530"/>
                <a:gd name="T22" fmla="*/ 107015 w 458"/>
                <a:gd name="T23" fmla="*/ 139978 h 1530"/>
                <a:gd name="T24" fmla="*/ 84281 w 458"/>
                <a:gd name="T25" fmla="*/ 204158 h 1530"/>
                <a:gd name="T26" fmla="*/ 59330 w 458"/>
                <a:gd name="T27" fmla="*/ 257272 h 1530"/>
                <a:gd name="T28" fmla="*/ 57112 w 458"/>
                <a:gd name="T29" fmla="*/ 260592 h 1530"/>
                <a:gd name="T30" fmla="*/ 36596 w 458"/>
                <a:gd name="T31" fmla="*/ 292128 h 1530"/>
                <a:gd name="T32" fmla="*/ 16080 w 458"/>
                <a:gd name="T33" fmla="*/ 346349 h 1530"/>
                <a:gd name="T34" fmla="*/ 1663 w 458"/>
                <a:gd name="T35" fmla="*/ 434319 h 1530"/>
                <a:gd name="T36" fmla="*/ 0 w 458"/>
                <a:gd name="T37" fmla="*/ 526716 h 1530"/>
                <a:gd name="T38" fmla="*/ 11090 w 458"/>
                <a:gd name="T39" fmla="*/ 654522 h 1530"/>
                <a:gd name="T40" fmla="*/ 32714 w 458"/>
                <a:gd name="T41" fmla="*/ 782328 h 1530"/>
                <a:gd name="T42" fmla="*/ 206268 w 458"/>
                <a:gd name="T43" fmla="*/ 846508 h 1530"/>
                <a:gd name="T44" fmla="*/ 230665 w 458"/>
                <a:gd name="T45" fmla="*/ 736960 h 1530"/>
                <a:gd name="T46" fmla="*/ 246190 w 458"/>
                <a:gd name="T47" fmla="*/ 623539 h 1530"/>
                <a:gd name="T48" fmla="*/ 253953 w 458"/>
                <a:gd name="T49" fmla="*/ 492966 h 1530"/>
                <a:gd name="T50" fmla="*/ 248963 w 458"/>
                <a:gd name="T51" fmla="*/ 408869 h 1530"/>
                <a:gd name="T52" fmla="*/ 232883 w 458"/>
                <a:gd name="T53" fmla="*/ 329751 h 1530"/>
                <a:gd name="T54" fmla="*/ 212921 w 458"/>
                <a:gd name="T55" fmla="*/ 283276 h 1530"/>
                <a:gd name="T56" fmla="*/ 126422 w 458"/>
                <a:gd name="T57" fmla="*/ 335837 h 1530"/>
                <a:gd name="T58" fmla="*/ 143056 w 458"/>
                <a:gd name="T59" fmla="*/ 339710 h 1530"/>
                <a:gd name="T60" fmla="*/ 165236 w 458"/>
                <a:gd name="T61" fmla="*/ 360734 h 1530"/>
                <a:gd name="T62" fmla="*/ 168008 w 458"/>
                <a:gd name="T63" fmla="*/ 377332 h 1530"/>
                <a:gd name="T64" fmla="*/ 160800 w 458"/>
                <a:gd name="T65" fmla="*/ 400017 h 1530"/>
                <a:gd name="T66" fmla="*/ 134739 w 458"/>
                <a:gd name="T67" fmla="*/ 417168 h 1530"/>
                <a:gd name="T68" fmla="*/ 122541 w 458"/>
                <a:gd name="T69" fmla="*/ 417721 h 1530"/>
                <a:gd name="T70" fmla="*/ 97589 w 458"/>
                <a:gd name="T71" fmla="*/ 406103 h 1530"/>
                <a:gd name="T72" fmla="*/ 85945 w 458"/>
                <a:gd name="T73" fmla="*/ 381205 h 1530"/>
                <a:gd name="T74" fmla="*/ 86499 w 458"/>
                <a:gd name="T75" fmla="*/ 369033 h 1530"/>
                <a:gd name="T76" fmla="*/ 103688 w 458"/>
                <a:gd name="T77" fmla="*/ 343029 h 1530"/>
                <a:gd name="T78" fmla="*/ 126422 w 458"/>
                <a:gd name="T79" fmla="*/ 335837 h 1530"/>
                <a:gd name="T80" fmla="*/ 135294 w 458"/>
                <a:gd name="T81" fmla="*/ 483008 h 1530"/>
                <a:gd name="T82" fmla="*/ 160800 w 458"/>
                <a:gd name="T83" fmla="*/ 501266 h 1530"/>
                <a:gd name="T84" fmla="*/ 168008 w 458"/>
                <a:gd name="T85" fmla="*/ 523950 h 1530"/>
                <a:gd name="T86" fmla="*/ 165236 w 458"/>
                <a:gd name="T87" fmla="*/ 539441 h 1530"/>
                <a:gd name="T88" fmla="*/ 143056 w 458"/>
                <a:gd name="T89" fmla="*/ 561572 h 1530"/>
                <a:gd name="T90" fmla="*/ 127531 w 458"/>
                <a:gd name="T91" fmla="*/ 564892 h 1530"/>
                <a:gd name="T92" fmla="*/ 103688 w 458"/>
                <a:gd name="T93" fmla="*/ 558253 h 1530"/>
                <a:gd name="T94" fmla="*/ 86499 w 458"/>
                <a:gd name="T95" fmla="*/ 532249 h 1530"/>
                <a:gd name="T96" fmla="*/ 85945 w 458"/>
                <a:gd name="T97" fmla="*/ 519524 h 1530"/>
                <a:gd name="T98" fmla="*/ 97589 w 458"/>
                <a:gd name="T99" fmla="*/ 494626 h 1530"/>
                <a:gd name="T100" fmla="*/ 122541 w 458"/>
                <a:gd name="T101" fmla="*/ 483008 h 1530"/>
                <a:gd name="T102" fmla="*/ 122541 w 458"/>
                <a:gd name="T103" fmla="*/ 711509 h 1530"/>
                <a:gd name="T104" fmla="*/ 97589 w 458"/>
                <a:gd name="T105" fmla="*/ 699891 h 1530"/>
                <a:gd name="T106" fmla="*/ 85945 w 458"/>
                <a:gd name="T107" fmla="*/ 674440 h 1530"/>
                <a:gd name="T108" fmla="*/ 86499 w 458"/>
                <a:gd name="T109" fmla="*/ 661715 h 1530"/>
                <a:gd name="T110" fmla="*/ 103688 w 458"/>
                <a:gd name="T111" fmla="*/ 636264 h 1530"/>
                <a:gd name="T112" fmla="*/ 127531 w 458"/>
                <a:gd name="T113" fmla="*/ 629625 h 1530"/>
                <a:gd name="T114" fmla="*/ 143056 w 458"/>
                <a:gd name="T115" fmla="*/ 632391 h 1530"/>
                <a:gd name="T116" fmla="*/ 165236 w 458"/>
                <a:gd name="T117" fmla="*/ 654522 h 1530"/>
                <a:gd name="T118" fmla="*/ 168008 w 458"/>
                <a:gd name="T119" fmla="*/ 670014 h 1530"/>
                <a:gd name="T120" fmla="*/ 160800 w 458"/>
                <a:gd name="T121" fmla="*/ 693251 h 1530"/>
                <a:gd name="T122" fmla="*/ 135294 w 458"/>
                <a:gd name="T123" fmla="*/ 710403 h 153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58" h="1530">
                  <a:moveTo>
                    <a:pt x="355" y="471"/>
                  </a:moveTo>
                  <a:lnTo>
                    <a:pt x="355" y="471"/>
                  </a:lnTo>
                  <a:lnTo>
                    <a:pt x="355" y="470"/>
                  </a:lnTo>
                  <a:lnTo>
                    <a:pt x="354" y="467"/>
                  </a:lnTo>
                  <a:lnTo>
                    <a:pt x="351" y="465"/>
                  </a:lnTo>
                  <a:lnTo>
                    <a:pt x="341" y="446"/>
                  </a:lnTo>
                  <a:lnTo>
                    <a:pt x="325" y="414"/>
                  </a:lnTo>
                  <a:lnTo>
                    <a:pt x="305" y="369"/>
                  </a:lnTo>
                  <a:lnTo>
                    <a:pt x="295" y="344"/>
                  </a:lnTo>
                  <a:lnTo>
                    <a:pt x="284" y="316"/>
                  </a:lnTo>
                  <a:lnTo>
                    <a:pt x="274" y="286"/>
                  </a:lnTo>
                  <a:lnTo>
                    <a:pt x="264" y="253"/>
                  </a:lnTo>
                  <a:lnTo>
                    <a:pt x="256" y="220"/>
                  </a:lnTo>
                  <a:lnTo>
                    <a:pt x="247" y="185"/>
                  </a:lnTo>
                  <a:lnTo>
                    <a:pt x="241" y="148"/>
                  </a:lnTo>
                  <a:lnTo>
                    <a:pt x="234" y="109"/>
                  </a:lnTo>
                  <a:lnTo>
                    <a:pt x="231" y="71"/>
                  </a:lnTo>
                  <a:lnTo>
                    <a:pt x="230" y="31"/>
                  </a:lnTo>
                  <a:lnTo>
                    <a:pt x="234" y="30"/>
                  </a:lnTo>
                  <a:lnTo>
                    <a:pt x="239" y="26"/>
                  </a:lnTo>
                  <a:lnTo>
                    <a:pt x="243" y="21"/>
                  </a:lnTo>
                  <a:lnTo>
                    <a:pt x="244" y="15"/>
                  </a:lnTo>
                  <a:lnTo>
                    <a:pt x="243" y="10"/>
                  </a:lnTo>
                  <a:lnTo>
                    <a:pt x="239" y="5"/>
                  </a:lnTo>
                  <a:lnTo>
                    <a:pt x="234" y="1"/>
                  </a:lnTo>
                  <a:lnTo>
                    <a:pt x="228" y="0"/>
                  </a:lnTo>
                  <a:lnTo>
                    <a:pt x="223" y="1"/>
                  </a:lnTo>
                  <a:lnTo>
                    <a:pt x="218" y="5"/>
                  </a:lnTo>
                  <a:lnTo>
                    <a:pt x="215" y="10"/>
                  </a:lnTo>
                  <a:lnTo>
                    <a:pt x="213" y="15"/>
                  </a:lnTo>
                  <a:lnTo>
                    <a:pt x="215" y="21"/>
                  </a:lnTo>
                  <a:lnTo>
                    <a:pt x="218" y="26"/>
                  </a:lnTo>
                  <a:lnTo>
                    <a:pt x="222" y="30"/>
                  </a:lnTo>
                  <a:lnTo>
                    <a:pt x="228" y="31"/>
                  </a:lnTo>
                  <a:lnTo>
                    <a:pt x="227" y="71"/>
                  </a:lnTo>
                  <a:lnTo>
                    <a:pt x="223" y="109"/>
                  </a:lnTo>
                  <a:lnTo>
                    <a:pt x="217" y="148"/>
                  </a:lnTo>
                  <a:lnTo>
                    <a:pt x="210" y="185"/>
                  </a:lnTo>
                  <a:lnTo>
                    <a:pt x="202" y="220"/>
                  </a:lnTo>
                  <a:lnTo>
                    <a:pt x="193" y="253"/>
                  </a:lnTo>
                  <a:lnTo>
                    <a:pt x="184" y="286"/>
                  </a:lnTo>
                  <a:lnTo>
                    <a:pt x="172" y="316"/>
                  </a:lnTo>
                  <a:lnTo>
                    <a:pt x="162" y="344"/>
                  </a:lnTo>
                  <a:lnTo>
                    <a:pt x="152" y="369"/>
                  </a:lnTo>
                  <a:lnTo>
                    <a:pt x="133" y="412"/>
                  </a:lnTo>
                  <a:lnTo>
                    <a:pt x="116" y="445"/>
                  </a:lnTo>
                  <a:lnTo>
                    <a:pt x="107" y="465"/>
                  </a:lnTo>
                  <a:lnTo>
                    <a:pt x="104" y="467"/>
                  </a:lnTo>
                  <a:lnTo>
                    <a:pt x="103" y="470"/>
                  </a:lnTo>
                  <a:lnTo>
                    <a:pt x="103" y="471"/>
                  </a:lnTo>
                  <a:lnTo>
                    <a:pt x="95" y="480"/>
                  </a:lnTo>
                  <a:lnTo>
                    <a:pt x="82" y="498"/>
                  </a:lnTo>
                  <a:lnTo>
                    <a:pt x="74" y="512"/>
                  </a:lnTo>
                  <a:lnTo>
                    <a:pt x="66" y="528"/>
                  </a:lnTo>
                  <a:lnTo>
                    <a:pt x="56" y="548"/>
                  </a:lnTo>
                  <a:lnTo>
                    <a:pt x="47" y="570"/>
                  </a:lnTo>
                  <a:lnTo>
                    <a:pt x="38" y="596"/>
                  </a:lnTo>
                  <a:lnTo>
                    <a:pt x="29" y="626"/>
                  </a:lnTo>
                  <a:lnTo>
                    <a:pt x="21" y="660"/>
                  </a:lnTo>
                  <a:lnTo>
                    <a:pt x="13" y="698"/>
                  </a:lnTo>
                  <a:lnTo>
                    <a:pt x="8" y="739"/>
                  </a:lnTo>
                  <a:lnTo>
                    <a:pt x="3" y="785"/>
                  </a:lnTo>
                  <a:lnTo>
                    <a:pt x="0" y="836"/>
                  </a:lnTo>
                  <a:lnTo>
                    <a:pt x="0" y="891"/>
                  </a:lnTo>
                  <a:lnTo>
                    <a:pt x="0" y="952"/>
                  </a:lnTo>
                  <a:lnTo>
                    <a:pt x="3" y="1011"/>
                  </a:lnTo>
                  <a:lnTo>
                    <a:pt x="7" y="1070"/>
                  </a:lnTo>
                  <a:lnTo>
                    <a:pt x="13" y="1127"/>
                  </a:lnTo>
                  <a:lnTo>
                    <a:pt x="20" y="1183"/>
                  </a:lnTo>
                  <a:lnTo>
                    <a:pt x="27" y="1236"/>
                  </a:lnTo>
                  <a:lnTo>
                    <a:pt x="34" y="1286"/>
                  </a:lnTo>
                  <a:lnTo>
                    <a:pt x="43" y="1332"/>
                  </a:lnTo>
                  <a:lnTo>
                    <a:pt x="59" y="1414"/>
                  </a:lnTo>
                  <a:lnTo>
                    <a:pt x="73" y="1476"/>
                  </a:lnTo>
                  <a:lnTo>
                    <a:pt x="87" y="1530"/>
                  </a:lnTo>
                  <a:lnTo>
                    <a:pt x="230" y="1530"/>
                  </a:lnTo>
                  <a:lnTo>
                    <a:pt x="372" y="1530"/>
                  </a:lnTo>
                  <a:lnTo>
                    <a:pt x="386" y="1476"/>
                  </a:lnTo>
                  <a:lnTo>
                    <a:pt x="400" y="1414"/>
                  </a:lnTo>
                  <a:lnTo>
                    <a:pt x="416" y="1332"/>
                  </a:lnTo>
                  <a:lnTo>
                    <a:pt x="423" y="1286"/>
                  </a:lnTo>
                  <a:lnTo>
                    <a:pt x="431" y="1235"/>
                  </a:lnTo>
                  <a:lnTo>
                    <a:pt x="438" y="1183"/>
                  </a:lnTo>
                  <a:lnTo>
                    <a:pt x="444" y="1127"/>
                  </a:lnTo>
                  <a:lnTo>
                    <a:pt x="451" y="1070"/>
                  </a:lnTo>
                  <a:lnTo>
                    <a:pt x="454" y="1011"/>
                  </a:lnTo>
                  <a:lnTo>
                    <a:pt x="458" y="952"/>
                  </a:lnTo>
                  <a:lnTo>
                    <a:pt x="458" y="891"/>
                  </a:lnTo>
                  <a:lnTo>
                    <a:pt x="457" y="836"/>
                  </a:lnTo>
                  <a:lnTo>
                    <a:pt x="454" y="785"/>
                  </a:lnTo>
                  <a:lnTo>
                    <a:pt x="449" y="739"/>
                  </a:lnTo>
                  <a:lnTo>
                    <a:pt x="443" y="698"/>
                  </a:lnTo>
                  <a:lnTo>
                    <a:pt x="437" y="661"/>
                  </a:lnTo>
                  <a:lnTo>
                    <a:pt x="428" y="627"/>
                  </a:lnTo>
                  <a:lnTo>
                    <a:pt x="420" y="596"/>
                  </a:lnTo>
                  <a:lnTo>
                    <a:pt x="411" y="570"/>
                  </a:lnTo>
                  <a:lnTo>
                    <a:pt x="401" y="548"/>
                  </a:lnTo>
                  <a:lnTo>
                    <a:pt x="392" y="528"/>
                  </a:lnTo>
                  <a:lnTo>
                    <a:pt x="384" y="512"/>
                  </a:lnTo>
                  <a:lnTo>
                    <a:pt x="376" y="498"/>
                  </a:lnTo>
                  <a:lnTo>
                    <a:pt x="362" y="480"/>
                  </a:lnTo>
                  <a:lnTo>
                    <a:pt x="355" y="471"/>
                  </a:lnTo>
                  <a:close/>
                  <a:moveTo>
                    <a:pt x="228" y="607"/>
                  </a:moveTo>
                  <a:lnTo>
                    <a:pt x="228" y="607"/>
                  </a:lnTo>
                  <a:lnTo>
                    <a:pt x="236" y="607"/>
                  </a:lnTo>
                  <a:lnTo>
                    <a:pt x="243" y="609"/>
                  </a:lnTo>
                  <a:lnTo>
                    <a:pt x="258" y="614"/>
                  </a:lnTo>
                  <a:lnTo>
                    <a:pt x="271" y="620"/>
                  </a:lnTo>
                  <a:lnTo>
                    <a:pt x="282" y="629"/>
                  </a:lnTo>
                  <a:lnTo>
                    <a:pt x="290" y="640"/>
                  </a:lnTo>
                  <a:lnTo>
                    <a:pt x="298" y="652"/>
                  </a:lnTo>
                  <a:lnTo>
                    <a:pt x="302" y="667"/>
                  </a:lnTo>
                  <a:lnTo>
                    <a:pt x="303" y="675"/>
                  </a:lnTo>
                  <a:lnTo>
                    <a:pt x="303" y="682"/>
                  </a:lnTo>
                  <a:lnTo>
                    <a:pt x="303" y="689"/>
                  </a:lnTo>
                  <a:lnTo>
                    <a:pt x="302" y="697"/>
                  </a:lnTo>
                  <a:lnTo>
                    <a:pt x="298" y="711"/>
                  </a:lnTo>
                  <a:lnTo>
                    <a:pt x="290" y="723"/>
                  </a:lnTo>
                  <a:lnTo>
                    <a:pt x="282" y="734"/>
                  </a:lnTo>
                  <a:lnTo>
                    <a:pt x="271" y="743"/>
                  </a:lnTo>
                  <a:lnTo>
                    <a:pt x="258" y="750"/>
                  </a:lnTo>
                  <a:lnTo>
                    <a:pt x="243" y="754"/>
                  </a:lnTo>
                  <a:lnTo>
                    <a:pt x="237" y="755"/>
                  </a:lnTo>
                  <a:lnTo>
                    <a:pt x="228" y="757"/>
                  </a:lnTo>
                  <a:lnTo>
                    <a:pt x="221" y="755"/>
                  </a:lnTo>
                  <a:lnTo>
                    <a:pt x="213" y="754"/>
                  </a:lnTo>
                  <a:lnTo>
                    <a:pt x="200" y="750"/>
                  </a:lnTo>
                  <a:lnTo>
                    <a:pt x="187" y="743"/>
                  </a:lnTo>
                  <a:lnTo>
                    <a:pt x="176" y="734"/>
                  </a:lnTo>
                  <a:lnTo>
                    <a:pt x="167" y="723"/>
                  </a:lnTo>
                  <a:lnTo>
                    <a:pt x="160" y="711"/>
                  </a:lnTo>
                  <a:lnTo>
                    <a:pt x="156" y="697"/>
                  </a:lnTo>
                  <a:lnTo>
                    <a:pt x="155" y="689"/>
                  </a:lnTo>
                  <a:lnTo>
                    <a:pt x="155" y="682"/>
                  </a:lnTo>
                  <a:lnTo>
                    <a:pt x="155" y="675"/>
                  </a:lnTo>
                  <a:lnTo>
                    <a:pt x="156" y="667"/>
                  </a:lnTo>
                  <a:lnTo>
                    <a:pt x="160" y="653"/>
                  </a:lnTo>
                  <a:lnTo>
                    <a:pt x="167" y="640"/>
                  </a:lnTo>
                  <a:lnTo>
                    <a:pt x="176" y="630"/>
                  </a:lnTo>
                  <a:lnTo>
                    <a:pt x="187" y="620"/>
                  </a:lnTo>
                  <a:lnTo>
                    <a:pt x="200" y="614"/>
                  </a:lnTo>
                  <a:lnTo>
                    <a:pt x="213" y="609"/>
                  </a:lnTo>
                  <a:lnTo>
                    <a:pt x="221" y="607"/>
                  </a:lnTo>
                  <a:lnTo>
                    <a:pt x="228" y="607"/>
                  </a:lnTo>
                  <a:close/>
                  <a:moveTo>
                    <a:pt x="228" y="872"/>
                  </a:moveTo>
                  <a:lnTo>
                    <a:pt x="228" y="872"/>
                  </a:lnTo>
                  <a:lnTo>
                    <a:pt x="237" y="873"/>
                  </a:lnTo>
                  <a:lnTo>
                    <a:pt x="244" y="873"/>
                  </a:lnTo>
                  <a:lnTo>
                    <a:pt x="258" y="878"/>
                  </a:lnTo>
                  <a:lnTo>
                    <a:pt x="271" y="884"/>
                  </a:lnTo>
                  <a:lnTo>
                    <a:pt x="282" y="894"/>
                  </a:lnTo>
                  <a:lnTo>
                    <a:pt x="290" y="906"/>
                  </a:lnTo>
                  <a:lnTo>
                    <a:pt x="298" y="918"/>
                  </a:lnTo>
                  <a:lnTo>
                    <a:pt x="302" y="932"/>
                  </a:lnTo>
                  <a:lnTo>
                    <a:pt x="303" y="939"/>
                  </a:lnTo>
                  <a:lnTo>
                    <a:pt x="303" y="947"/>
                  </a:lnTo>
                  <a:lnTo>
                    <a:pt x="303" y="954"/>
                  </a:lnTo>
                  <a:lnTo>
                    <a:pt x="302" y="962"/>
                  </a:lnTo>
                  <a:lnTo>
                    <a:pt x="298" y="975"/>
                  </a:lnTo>
                  <a:lnTo>
                    <a:pt x="290" y="988"/>
                  </a:lnTo>
                  <a:lnTo>
                    <a:pt x="282" y="999"/>
                  </a:lnTo>
                  <a:lnTo>
                    <a:pt x="271" y="1009"/>
                  </a:lnTo>
                  <a:lnTo>
                    <a:pt x="258" y="1015"/>
                  </a:lnTo>
                  <a:lnTo>
                    <a:pt x="244" y="1020"/>
                  </a:lnTo>
                  <a:lnTo>
                    <a:pt x="237" y="1021"/>
                  </a:lnTo>
                  <a:lnTo>
                    <a:pt x="230" y="1021"/>
                  </a:lnTo>
                  <a:lnTo>
                    <a:pt x="221" y="1021"/>
                  </a:lnTo>
                  <a:lnTo>
                    <a:pt x="213" y="1020"/>
                  </a:lnTo>
                  <a:lnTo>
                    <a:pt x="200" y="1015"/>
                  </a:lnTo>
                  <a:lnTo>
                    <a:pt x="187" y="1009"/>
                  </a:lnTo>
                  <a:lnTo>
                    <a:pt x="176" y="999"/>
                  </a:lnTo>
                  <a:lnTo>
                    <a:pt x="167" y="989"/>
                  </a:lnTo>
                  <a:lnTo>
                    <a:pt x="160" y="975"/>
                  </a:lnTo>
                  <a:lnTo>
                    <a:pt x="156" y="962"/>
                  </a:lnTo>
                  <a:lnTo>
                    <a:pt x="155" y="954"/>
                  </a:lnTo>
                  <a:lnTo>
                    <a:pt x="155" y="947"/>
                  </a:lnTo>
                  <a:lnTo>
                    <a:pt x="155" y="939"/>
                  </a:lnTo>
                  <a:lnTo>
                    <a:pt x="156" y="932"/>
                  </a:lnTo>
                  <a:lnTo>
                    <a:pt x="160" y="918"/>
                  </a:lnTo>
                  <a:lnTo>
                    <a:pt x="167" y="906"/>
                  </a:lnTo>
                  <a:lnTo>
                    <a:pt x="176" y="894"/>
                  </a:lnTo>
                  <a:lnTo>
                    <a:pt x="187" y="884"/>
                  </a:lnTo>
                  <a:lnTo>
                    <a:pt x="200" y="878"/>
                  </a:lnTo>
                  <a:lnTo>
                    <a:pt x="213" y="873"/>
                  </a:lnTo>
                  <a:lnTo>
                    <a:pt x="221" y="873"/>
                  </a:lnTo>
                  <a:lnTo>
                    <a:pt x="228" y="872"/>
                  </a:lnTo>
                  <a:close/>
                  <a:moveTo>
                    <a:pt x="230" y="1286"/>
                  </a:moveTo>
                  <a:lnTo>
                    <a:pt x="230" y="1286"/>
                  </a:lnTo>
                  <a:lnTo>
                    <a:pt x="221" y="1286"/>
                  </a:lnTo>
                  <a:lnTo>
                    <a:pt x="215" y="1284"/>
                  </a:lnTo>
                  <a:lnTo>
                    <a:pt x="200" y="1280"/>
                  </a:lnTo>
                  <a:lnTo>
                    <a:pt x="187" y="1273"/>
                  </a:lnTo>
                  <a:lnTo>
                    <a:pt x="176" y="1265"/>
                  </a:lnTo>
                  <a:lnTo>
                    <a:pt x="167" y="1253"/>
                  </a:lnTo>
                  <a:lnTo>
                    <a:pt x="160" y="1241"/>
                  </a:lnTo>
                  <a:lnTo>
                    <a:pt x="156" y="1226"/>
                  </a:lnTo>
                  <a:lnTo>
                    <a:pt x="155" y="1219"/>
                  </a:lnTo>
                  <a:lnTo>
                    <a:pt x="155" y="1211"/>
                  </a:lnTo>
                  <a:lnTo>
                    <a:pt x="155" y="1204"/>
                  </a:lnTo>
                  <a:lnTo>
                    <a:pt x="156" y="1196"/>
                  </a:lnTo>
                  <a:lnTo>
                    <a:pt x="160" y="1183"/>
                  </a:lnTo>
                  <a:lnTo>
                    <a:pt x="167" y="1170"/>
                  </a:lnTo>
                  <a:lnTo>
                    <a:pt x="176" y="1159"/>
                  </a:lnTo>
                  <a:lnTo>
                    <a:pt x="187" y="1150"/>
                  </a:lnTo>
                  <a:lnTo>
                    <a:pt x="200" y="1143"/>
                  </a:lnTo>
                  <a:lnTo>
                    <a:pt x="215" y="1139"/>
                  </a:lnTo>
                  <a:lnTo>
                    <a:pt x="221" y="1138"/>
                  </a:lnTo>
                  <a:lnTo>
                    <a:pt x="230" y="1138"/>
                  </a:lnTo>
                  <a:lnTo>
                    <a:pt x="237" y="1138"/>
                  </a:lnTo>
                  <a:lnTo>
                    <a:pt x="244" y="1139"/>
                  </a:lnTo>
                  <a:lnTo>
                    <a:pt x="258" y="1143"/>
                  </a:lnTo>
                  <a:lnTo>
                    <a:pt x="271" y="1150"/>
                  </a:lnTo>
                  <a:lnTo>
                    <a:pt x="282" y="1159"/>
                  </a:lnTo>
                  <a:lnTo>
                    <a:pt x="290" y="1170"/>
                  </a:lnTo>
                  <a:lnTo>
                    <a:pt x="298" y="1183"/>
                  </a:lnTo>
                  <a:lnTo>
                    <a:pt x="302" y="1196"/>
                  </a:lnTo>
                  <a:lnTo>
                    <a:pt x="303" y="1204"/>
                  </a:lnTo>
                  <a:lnTo>
                    <a:pt x="303" y="1211"/>
                  </a:lnTo>
                  <a:lnTo>
                    <a:pt x="303" y="1219"/>
                  </a:lnTo>
                  <a:lnTo>
                    <a:pt x="302" y="1226"/>
                  </a:lnTo>
                  <a:lnTo>
                    <a:pt x="298" y="1241"/>
                  </a:lnTo>
                  <a:lnTo>
                    <a:pt x="290" y="1253"/>
                  </a:lnTo>
                  <a:lnTo>
                    <a:pt x="282" y="1265"/>
                  </a:lnTo>
                  <a:lnTo>
                    <a:pt x="271" y="1273"/>
                  </a:lnTo>
                  <a:lnTo>
                    <a:pt x="258" y="1280"/>
                  </a:lnTo>
                  <a:lnTo>
                    <a:pt x="244" y="1284"/>
                  </a:lnTo>
                  <a:lnTo>
                    <a:pt x="237" y="1286"/>
                  </a:lnTo>
                  <a:lnTo>
                    <a:pt x="230" y="1286"/>
                  </a:lnTo>
                  <a:close/>
                </a:path>
              </a:pathLst>
            </a:custGeom>
            <a:solidFill>
              <a:srgbClr val="37B3A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04" name="Freeform 145"/>
            <p:cNvSpPr>
              <a:spLocks/>
            </p:cNvSpPr>
            <p:nvPr/>
          </p:nvSpPr>
          <p:spPr bwMode="auto">
            <a:xfrm>
              <a:off x="2540021" y="1740287"/>
              <a:ext cx="253953" cy="846508"/>
            </a:xfrm>
            <a:custGeom>
              <a:avLst/>
              <a:gdLst>
                <a:gd name="T0" fmla="*/ 196841 w 458"/>
                <a:gd name="T1" fmla="*/ 260592 h 1530"/>
                <a:gd name="T2" fmla="*/ 196841 w 458"/>
                <a:gd name="T3" fmla="*/ 260038 h 1530"/>
                <a:gd name="T4" fmla="*/ 196287 w 458"/>
                <a:gd name="T5" fmla="*/ 258379 h 1530"/>
                <a:gd name="T6" fmla="*/ 194623 w 458"/>
                <a:gd name="T7" fmla="*/ 257272 h 1530"/>
                <a:gd name="T8" fmla="*/ 180207 w 458"/>
                <a:gd name="T9" fmla="*/ 229055 h 1530"/>
                <a:gd name="T10" fmla="*/ 163572 w 458"/>
                <a:gd name="T11" fmla="*/ 190326 h 1530"/>
                <a:gd name="T12" fmla="*/ 151928 w 458"/>
                <a:gd name="T13" fmla="*/ 158236 h 1530"/>
                <a:gd name="T14" fmla="*/ 141948 w 458"/>
                <a:gd name="T15" fmla="*/ 121720 h 1530"/>
                <a:gd name="T16" fmla="*/ 133630 w 458"/>
                <a:gd name="T17" fmla="*/ 81884 h 1530"/>
                <a:gd name="T18" fmla="*/ 128085 w 458"/>
                <a:gd name="T19" fmla="*/ 39282 h 1530"/>
                <a:gd name="T20" fmla="*/ 127531 w 458"/>
                <a:gd name="T21" fmla="*/ 17151 h 1530"/>
                <a:gd name="T22" fmla="*/ 132521 w 458"/>
                <a:gd name="T23" fmla="*/ 14385 h 1530"/>
                <a:gd name="T24" fmla="*/ 135294 w 458"/>
                <a:gd name="T25" fmla="*/ 8299 h 1530"/>
                <a:gd name="T26" fmla="*/ 134739 w 458"/>
                <a:gd name="T27" fmla="*/ 5533 h 1530"/>
                <a:gd name="T28" fmla="*/ 129749 w 458"/>
                <a:gd name="T29" fmla="*/ 553 h 1530"/>
                <a:gd name="T30" fmla="*/ 126422 w 458"/>
                <a:gd name="T31" fmla="*/ 0 h 1530"/>
                <a:gd name="T32" fmla="*/ 120877 w 458"/>
                <a:gd name="T33" fmla="*/ 2766 h 1530"/>
                <a:gd name="T34" fmla="*/ 118105 w 458"/>
                <a:gd name="T35" fmla="*/ 8299 h 1530"/>
                <a:gd name="T36" fmla="*/ 119214 w 458"/>
                <a:gd name="T37" fmla="*/ 11619 h 1530"/>
                <a:gd name="T38" fmla="*/ 123095 w 458"/>
                <a:gd name="T39" fmla="*/ 16598 h 1530"/>
                <a:gd name="T40" fmla="*/ 126422 w 458"/>
                <a:gd name="T41" fmla="*/ 17151 h 1530"/>
                <a:gd name="T42" fmla="*/ 123650 w 458"/>
                <a:gd name="T43" fmla="*/ 60307 h 1530"/>
                <a:gd name="T44" fmla="*/ 116441 w 458"/>
                <a:gd name="T45" fmla="*/ 102356 h 1530"/>
                <a:gd name="T46" fmla="*/ 107015 w 458"/>
                <a:gd name="T47" fmla="*/ 139978 h 1530"/>
                <a:gd name="T48" fmla="*/ 95371 w 458"/>
                <a:gd name="T49" fmla="*/ 174834 h 1530"/>
                <a:gd name="T50" fmla="*/ 84281 w 458"/>
                <a:gd name="T51" fmla="*/ 204158 h 1530"/>
                <a:gd name="T52" fmla="*/ 64320 w 458"/>
                <a:gd name="T53" fmla="*/ 246207 h 1530"/>
                <a:gd name="T54" fmla="*/ 59330 w 458"/>
                <a:gd name="T55" fmla="*/ 257272 h 1530"/>
                <a:gd name="T56" fmla="*/ 57112 w 458"/>
                <a:gd name="T57" fmla="*/ 260038 h 1530"/>
                <a:gd name="T58" fmla="*/ 57112 w 458"/>
                <a:gd name="T59" fmla="*/ 260592 h 1530"/>
                <a:gd name="T60" fmla="*/ 45468 w 458"/>
                <a:gd name="T61" fmla="*/ 275530 h 1530"/>
                <a:gd name="T62" fmla="*/ 36596 w 458"/>
                <a:gd name="T63" fmla="*/ 292128 h 1530"/>
                <a:gd name="T64" fmla="*/ 26061 w 458"/>
                <a:gd name="T65" fmla="*/ 315366 h 1530"/>
                <a:gd name="T66" fmla="*/ 16080 w 458"/>
                <a:gd name="T67" fmla="*/ 346349 h 1530"/>
                <a:gd name="T68" fmla="*/ 7208 w 458"/>
                <a:gd name="T69" fmla="*/ 386185 h 1530"/>
                <a:gd name="T70" fmla="*/ 1663 w 458"/>
                <a:gd name="T71" fmla="*/ 434319 h 1530"/>
                <a:gd name="T72" fmla="*/ 0 w 458"/>
                <a:gd name="T73" fmla="*/ 492966 h 1530"/>
                <a:gd name="T74" fmla="*/ 0 w 458"/>
                <a:gd name="T75" fmla="*/ 526716 h 1530"/>
                <a:gd name="T76" fmla="*/ 3881 w 458"/>
                <a:gd name="T77" fmla="*/ 592002 h 1530"/>
                <a:gd name="T78" fmla="*/ 11090 w 458"/>
                <a:gd name="T79" fmla="*/ 654522 h 1530"/>
                <a:gd name="T80" fmla="*/ 18852 w 458"/>
                <a:gd name="T81" fmla="*/ 711509 h 1530"/>
                <a:gd name="T82" fmla="*/ 32714 w 458"/>
                <a:gd name="T83" fmla="*/ 782328 h 1530"/>
                <a:gd name="T84" fmla="*/ 48240 w 458"/>
                <a:gd name="T85" fmla="*/ 846508 h 1530"/>
                <a:gd name="T86" fmla="*/ 206268 w 458"/>
                <a:gd name="T87" fmla="*/ 846508 h 1530"/>
                <a:gd name="T88" fmla="*/ 214030 w 458"/>
                <a:gd name="T89" fmla="*/ 816631 h 1530"/>
                <a:gd name="T90" fmla="*/ 230665 w 458"/>
                <a:gd name="T91" fmla="*/ 736960 h 1530"/>
                <a:gd name="T92" fmla="*/ 238982 w 458"/>
                <a:gd name="T93" fmla="*/ 683292 h 1530"/>
                <a:gd name="T94" fmla="*/ 246190 w 458"/>
                <a:gd name="T95" fmla="*/ 623539 h 1530"/>
                <a:gd name="T96" fmla="*/ 251735 w 458"/>
                <a:gd name="T97" fmla="*/ 559359 h 1530"/>
                <a:gd name="T98" fmla="*/ 253953 w 458"/>
                <a:gd name="T99" fmla="*/ 492966 h 1530"/>
                <a:gd name="T100" fmla="*/ 253399 w 458"/>
                <a:gd name="T101" fmla="*/ 462536 h 1530"/>
                <a:gd name="T102" fmla="*/ 248963 w 458"/>
                <a:gd name="T103" fmla="*/ 408869 h 1530"/>
                <a:gd name="T104" fmla="*/ 242309 w 458"/>
                <a:gd name="T105" fmla="*/ 365714 h 1530"/>
                <a:gd name="T106" fmla="*/ 232883 w 458"/>
                <a:gd name="T107" fmla="*/ 329751 h 1530"/>
                <a:gd name="T108" fmla="*/ 222347 w 458"/>
                <a:gd name="T109" fmla="*/ 303194 h 1530"/>
                <a:gd name="T110" fmla="*/ 212921 w 458"/>
                <a:gd name="T111" fmla="*/ 283276 h 1530"/>
                <a:gd name="T112" fmla="*/ 200723 w 458"/>
                <a:gd name="T113" fmla="*/ 265571 h 153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458" h="1530">
                  <a:moveTo>
                    <a:pt x="355" y="471"/>
                  </a:moveTo>
                  <a:lnTo>
                    <a:pt x="355" y="471"/>
                  </a:lnTo>
                  <a:lnTo>
                    <a:pt x="355" y="470"/>
                  </a:lnTo>
                  <a:lnTo>
                    <a:pt x="354" y="467"/>
                  </a:lnTo>
                  <a:lnTo>
                    <a:pt x="351" y="465"/>
                  </a:lnTo>
                  <a:lnTo>
                    <a:pt x="341" y="446"/>
                  </a:lnTo>
                  <a:lnTo>
                    <a:pt x="325" y="414"/>
                  </a:lnTo>
                  <a:lnTo>
                    <a:pt x="305" y="369"/>
                  </a:lnTo>
                  <a:lnTo>
                    <a:pt x="295" y="344"/>
                  </a:lnTo>
                  <a:lnTo>
                    <a:pt x="284" y="316"/>
                  </a:lnTo>
                  <a:lnTo>
                    <a:pt x="274" y="286"/>
                  </a:lnTo>
                  <a:lnTo>
                    <a:pt x="264" y="253"/>
                  </a:lnTo>
                  <a:lnTo>
                    <a:pt x="256" y="220"/>
                  </a:lnTo>
                  <a:lnTo>
                    <a:pt x="247" y="185"/>
                  </a:lnTo>
                  <a:lnTo>
                    <a:pt x="241" y="148"/>
                  </a:lnTo>
                  <a:lnTo>
                    <a:pt x="234" y="109"/>
                  </a:lnTo>
                  <a:lnTo>
                    <a:pt x="231" y="71"/>
                  </a:lnTo>
                  <a:lnTo>
                    <a:pt x="230" y="31"/>
                  </a:lnTo>
                  <a:lnTo>
                    <a:pt x="234" y="30"/>
                  </a:lnTo>
                  <a:lnTo>
                    <a:pt x="239" y="26"/>
                  </a:lnTo>
                  <a:lnTo>
                    <a:pt x="243" y="21"/>
                  </a:lnTo>
                  <a:lnTo>
                    <a:pt x="244" y="15"/>
                  </a:lnTo>
                  <a:lnTo>
                    <a:pt x="243" y="10"/>
                  </a:lnTo>
                  <a:lnTo>
                    <a:pt x="239" y="5"/>
                  </a:lnTo>
                  <a:lnTo>
                    <a:pt x="234" y="1"/>
                  </a:lnTo>
                  <a:lnTo>
                    <a:pt x="228" y="0"/>
                  </a:lnTo>
                  <a:lnTo>
                    <a:pt x="223" y="1"/>
                  </a:lnTo>
                  <a:lnTo>
                    <a:pt x="218" y="5"/>
                  </a:lnTo>
                  <a:lnTo>
                    <a:pt x="215" y="10"/>
                  </a:lnTo>
                  <a:lnTo>
                    <a:pt x="213" y="15"/>
                  </a:lnTo>
                  <a:lnTo>
                    <a:pt x="215" y="21"/>
                  </a:lnTo>
                  <a:lnTo>
                    <a:pt x="218" y="26"/>
                  </a:lnTo>
                  <a:lnTo>
                    <a:pt x="222" y="30"/>
                  </a:lnTo>
                  <a:lnTo>
                    <a:pt x="228" y="31"/>
                  </a:lnTo>
                  <a:lnTo>
                    <a:pt x="227" y="71"/>
                  </a:lnTo>
                  <a:lnTo>
                    <a:pt x="223" y="109"/>
                  </a:lnTo>
                  <a:lnTo>
                    <a:pt x="217" y="148"/>
                  </a:lnTo>
                  <a:lnTo>
                    <a:pt x="210" y="185"/>
                  </a:lnTo>
                  <a:lnTo>
                    <a:pt x="202" y="220"/>
                  </a:lnTo>
                  <a:lnTo>
                    <a:pt x="193" y="253"/>
                  </a:lnTo>
                  <a:lnTo>
                    <a:pt x="184" y="286"/>
                  </a:lnTo>
                  <a:lnTo>
                    <a:pt x="172" y="316"/>
                  </a:lnTo>
                  <a:lnTo>
                    <a:pt x="162" y="344"/>
                  </a:lnTo>
                  <a:lnTo>
                    <a:pt x="152" y="369"/>
                  </a:lnTo>
                  <a:lnTo>
                    <a:pt x="133" y="412"/>
                  </a:lnTo>
                  <a:lnTo>
                    <a:pt x="116" y="445"/>
                  </a:lnTo>
                  <a:lnTo>
                    <a:pt x="107" y="465"/>
                  </a:lnTo>
                  <a:lnTo>
                    <a:pt x="104" y="467"/>
                  </a:lnTo>
                  <a:lnTo>
                    <a:pt x="103" y="470"/>
                  </a:lnTo>
                  <a:lnTo>
                    <a:pt x="103" y="471"/>
                  </a:lnTo>
                  <a:lnTo>
                    <a:pt x="95" y="480"/>
                  </a:lnTo>
                  <a:lnTo>
                    <a:pt x="82" y="498"/>
                  </a:lnTo>
                  <a:lnTo>
                    <a:pt x="74" y="512"/>
                  </a:lnTo>
                  <a:lnTo>
                    <a:pt x="66" y="528"/>
                  </a:lnTo>
                  <a:lnTo>
                    <a:pt x="56" y="548"/>
                  </a:lnTo>
                  <a:lnTo>
                    <a:pt x="47" y="570"/>
                  </a:lnTo>
                  <a:lnTo>
                    <a:pt x="38" y="596"/>
                  </a:lnTo>
                  <a:lnTo>
                    <a:pt x="29" y="626"/>
                  </a:lnTo>
                  <a:lnTo>
                    <a:pt x="21" y="660"/>
                  </a:lnTo>
                  <a:lnTo>
                    <a:pt x="13" y="698"/>
                  </a:lnTo>
                  <a:lnTo>
                    <a:pt x="8" y="739"/>
                  </a:lnTo>
                  <a:lnTo>
                    <a:pt x="3" y="785"/>
                  </a:lnTo>
                  <a:lnTo>
                    <a:pt x="0" y="836"/>
                  </a:lnTo>
                  <a:lnTo>
                    <a:pt x="0" y="891"/>
                  </a:lnTo>
                  <a:lnTo>
                    <a:pt x="0" y="952"/>
                  </a:lnTo>
                  <a:lnTo>
                    <a:pt x="3" y="1011"/>
                  </a:lnTo>
                  <a:lnTo>
                    <a:pt x="7" y="1070"/>
                  </a:lnTo>
                  <a:lnTo>
                    <a:pt x="13" y="1127"/>
                  </a:lnTo>
                  <a:lnTo>
                    <a:pt x="20" y="1183"/>
                  </a:lnTo>
                  <a:lnTo>
                    <a:pt x="27" y="1236"/>
                  </a:lnTo>
                  <a:lnTo>
                    <a:pt x="34" y="1286"/>
                  </a:lnTo>
                  <a:lnTo>
                    <a:pt x="43" y="1332"/>
                  </a:lnTo>
                  <a:lnTo>
                    <a:pt x="59" y="1414"/>
                  </a:lnTo>
                  <a:lnTo>
                    <a:pt x="73" y="1476"/>
                  </a:lnTo>
                  <a:lnTo>
                    <a:pt x="87" y="1530"/>
                  </a:lnTo>
                  <a:lnTo>
                    <a:pt x="230" y="1530"/>
                  </a:lnTo>
                  <a:lnTo>
                    <a:pt x="372" y="1530"/>
                  </a:lnTo>
                  <a:lnTo>
                    <a:pt x="386" y="1476"/>
                  </a:lnTo>
                  <a:lnTo>
                    <a:pt x="400" y="1414"/>
                  </a:lnTo>
                  <a:lnTo>
                    <a:pt x="416" y="1332"/>
                  </a:lnTo>
                  <a:lnTo>
                    <a:pt x="423" y="1286"/>
                  </a:lnTo>
                  <a:lnTo>
                    <a:pt x="431" y="1235"/>
                  </a:lnTo>
                  <a:lnTo>
                    <a:pt x="438" y="1183"/>
                  </a:lnTo>
                  <a:lnTo>
                    <a:pt x="444" y="1127"/>
                  </a:lnTo>
                  <a:lnTo>
                    <a:pt x="451" y="1070"/>
                  </a:lnTo>
                  <a:lnTo>
                    <a:pt x="454" y="1011"/>
                  </a:lnTo>
                  <a:lnTo>
                    <a:pt x="458" y="952"/>
                  </a:lnTo>
                  <a:lnTo>
                    <a:pt x="458" y="891"/>
                  </a:lnTo>
                  <a:lnTo>
                    <a:pt x="457" y="836"/>
                  </a:lnTo>
                  <a:lnTo>
                    <a:pt x="454" y="785"/>
                  </a:lnTo>
                  <a:lnTo>
                    <a:pt x="449" y="739"/>
                  </a:lnTo>
                  <a:lnTo>
                    <a:pt x="443" y="698"/>
                  </a:lnTo>
                  <a:lnTo>
                    <a:pt x="437" y="661"/>
                  </a:lnTo>
                  <a:lnTo>
                    <a:pt x="428" y="627"/>
                  </a:lnTo>
                  <a:lnTo>
                    <a:pt x="420" y="596"/>
                  </a:lnTo>
                  <a:lnTo>
                    <a:pt x="411" y="570"/>
                  </a:lnTo>
                  <a:lnTo>
                    <a:pt x="401" y="548"/>
                  </a:lnTo>
                  <a:lnTo>
                    <a:pt x="392" y="528"/>
                  </a:lnTo>
                  <a:lnTo>
                    <a:pt x="384" y="512"/>
                  </a:lnTo>
                  <a:lnTo>
                    <a:pt x="376" y="498"/>
                  </a:lnTo>
                  <a:lnTo>
                    <a:pt x="362" y="480"/>
                  </a:lnTo>
                  <a:lnTo>
                    <a:pt x="355" y="47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905" name="Freeform 149"/>
            <p:cNvSpPr>
              <a:spLocks/>
            </p:cNvSpPr>
            <p:nvPr/>
          </p:nvSpPr>
          <p:spPr bwMode="auto">
            <a:xfrm>
              <a:off x="2591476" y="2610033"/>
              <a:ext cx="149384" cy="185900"/>
            </a:xfrm>
            <a:custGeom>
              <a:avLst/>
              <a:gdLst>
                <a:gd name="T0" fmla="*/ 122274 w 270"/>
                <a:gd name="T1" fmla="*/ 5533 h 336"/>
                <a:gd name="T2" fmla="*/ 125040 w 270"/>
                <a:gd name="T3" fmla="*/ 28770 h 336"/>
                <a:gd name="T4" fmla="*/ 121720 w 270"/>
                <a:gd name="T5" fmla="*/ 50901 h 336"/>
                <a:gd name="T6" fmla="*/ 117847 w 270"/>
                <a:gd name="T7" fmla="*/ 62520 h 336"/>
                <a:gd name="T8" fmla="*/ 116741 w 270"/>
                <a:gd name="T9" fmla="*/ 53668 h 336"/>
                <a:gd name="T10" fmla="*/ 113974 w 270"/>
                <a:gd name="T11" fmla="*/ 49241 h 336"/>
                <a:gd name="T12" fmla="*/ 110102 w 270"/>
                <a:gd name="T13" fmla="*/ 47028 h 336"/>
                <a:gd name="T14" fmla="*/ 106782 w 270"/>
                <a:gd name="T15" fmla="*/ 49795 h 336"/>
                <a:gd name="T16" fmla="*/ 99036 w 270"/>
                <a:gd name="T17" fmla="*/ 82991 h 336"/>
                <a:gd name="T18" fmla="*/ 90737 w 270"/>
                <a:gd name="T19" fmla="*/ 103462 h 336"/>
                <a:gd name="T20" fmla="*/ 75245 w 270"/>
                <a:gd name="T21" fmla="*/ 125593 h 336"/>
                <a:gd name="T22" fmla="*/ 63073 w 270"/>
                <a:gd name="T23" fmla="*/ 111208 h 336"/>
                <a:gd name="T24" fmla="*/ 52561 w 270"/>
                <a:gd name="T25" fmla="*/ 89630 h 336"/>
                <a:gd name="T26" fmla="*/ 44262 w 270"/>
                <a:gd name="T27" fmla="*/ 52561 h 336"/>
                <a:gd name="T28" fmla="*/ 40389 w 270"/>
                <a:gd name="T29" fmla="*/ 47028 h 336"/>
                <a:gd name="T30" fmla="*/ 35963 w 270"/>
                <a:gd name="T31" fmla="*/ 49241 h 336"/>
                <a:gd name="T32" fmla="*/ 33196 w 270"/>
                <a:gd name="T33" fmla="*/ 53668 h 336"/>
                <a:gd name="T34" fmla="*/ 32090 w 270"/>
                <a:gd name="T35" fmla="*/ 62520 h 336"/>
                <a:gd name="T36" fmla="*/ 27664 w 270"/>
                <a:gd name="T37" fmla="*/ 50901 h 336"/>
                <a:gd name="T38" fmla="*/ 24344 w 270"/>
                <a:gd name="T39" fmla="*/ 29324 h 336"/>
                <a:gd name="T40" fmla="*/ 27110 w 270"/>
                <a:gd name="T41" fmla="*/ 5533 h 336"/>
                <a:gd name="T42" fmla="*/ 6086 w 270"/>
                <a:gd name="T43" fmla="*/ 0 h 336"/>
                <a:gd name="T44" fmla="*/ 553 w 270"/>
                <a:gd name="T45" fmla="*/ 28770 h 336"/>
                <a:gd name="T46" fmla="*/ 1660 w 270"/>
                <a:gd name="T47" fmla="*/ 59200 h 336"/>
                <a:gd name="T48" fmla="*/ 7746 w 270"/>
                <a:gd name="T49" fmla="*/ 84098 h 336"/>
                <a:gd name="T50" fmla="*/ 11065 w 270"/>
                <a:gd name="T51" fmla="*/ 90737 h 336"/>
                <a:gd name="T52" fmla="*/ 12172 w 270"/>
                <a:gd name="T53" fmla="*/ 79118 h 336"/>
                <a:gd name="T54" fmla="*/ 16598 w 270"/>
                <a:gd name="T55" fmla="*/ 73585 h 336"/>
                <a:gd name="T56" fmla="*/ 22131 w 270"/>
                <a:gd name="T57" fmla="*/ 70819 h 336"/>
                <a:gd name="T58" fmla="*/ 27664 w 270"/>
                <a:gd name="T59" fmla="*/ 74692 h 336"/>
                <a:gd name="T60" fmla="*/ 33750 w 270"/>
                <a:gd name="T61" fmla="*/ 105122 h 336"/>
                <a:gd name="T62" fmla="*/ 42049 w 270"/>
                <a:gd name="T63" fmla="*/ 133339 h 336"/>
                <a:gd name="T64" fmla="*/ 57541 w 270"/>
                <a:gd name="T65" fmla="*/ 164322 h 336"/>
                <a:gd name="T66" fmla="*/ 75245 w 270"/>
                <a:gd name="T67" fmla="*/ 185900 h 336"/>
                <a:gd name="T68" fmla="*/ 98483 w 270"/>
                <a:gd name="T69" fmla="*/ 153810 h 336"/>
                <a:gd name="T70" fmla="*/ 111208 w 270"/>
                <a:gd name="T71" fmla="*/ 122827 h 336"/>
                <a:gd name="T72" fmla="*/ 118401 w 270"/>
                <a:gd name="T73" fmla="*/ 89630 h 336"/>
                <a:gd name="T74" fmla="*/ 122827 w 270"/>
                <a:gd name="T75" fmla="*/ 71926 h 336"/>
                <a:gd name="T76" fmla="*/ 127253 w 270"/>
                <a:gd name="T77" fmla="*/ 70819 h 336"/>
                <a:gd name="T78" fmla="*/ 132786 w 270"/>
                <a:gd name="T79" fmla="*/ 73585 h 336"/>
                <a:gd name="T80" fmla="*/ 138319 w 270"/>
                <a:gd name="T81" fmla="*/ 82438 h 336"/>
                <a:gd name="T82" fmla="*/ 138319 w 270"/>
                <a:gd name="T83" fmla="*/ 93503 h 336"/>
                <a:gd name="T84" fmla="*/ 144405 w 270"/>
                <a:gd name="T85" fmla="*/ 75245 h 336"/>
                <a:gd name="T86" fmla="*/ 149384 w 270"/>
                <a:gd name="T87" fmla="*/ 50901 h 336"/>
                <a:gd name="T88" fmla="*/ 147724 w 270"/>
                <a:gd name="T89" fmla="*/ 17151 h 336"/>
                <a:gd name="T90" fmla="*/ 121167 w 270"/>
                <a:gd name="T91" fmla="*/ 0 h 3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70" h="336">
                  <a:moveTo>
                    <a:pt x="219" y="0"/>
                  </a:moveTo>
                  <a:lnTo>
                    <a:pt x="219" y="0"/>
                  </a:lnTo>
                  <a:lnTo>
                    <a:pt x="221" y="10"/>
                  </a:lnTo>
                  <a:lnTo>
                    <a:pt x="224" y="21"/>
                  </a:lnTo>
                  <a:lnTo>
                    <a:pt x="226" y="36"/>
                  </a:lnTo>
                  <a:lnTo>
                    <a:pt x="226" y="52"/>
                  </a:lnTo>
                  <a:lnTo>
                    <a:pt x="225" y="72"/>
                  </a:lnTo>
                  <a:lnTo>
                    <a:pt x="222" y="82"/>
                  </a:lnTo>
                  <a:lnTo>
                    <a:pt x="220" y="92"/>
                  </a:lnTo>
                  <a:lnTo>
                    <a:pt x="216" y="103"/>
                  </a:lnTo>
                  <a:lnTo>
                    <a:pt x="213" y="113"/>
                  </a:lnTo>
                  <a:lnTo>
                    <a:pt x="213" y="110"/>
                  </a:lnTo>
                  <a:lnTo>
                    <a:pt x="213" y="104"/>
                  </a:lnTo>
                  <a:lnTo>
                    <a:pt x="211" y="97"/>
                  </a:lnTo>
                  <a:lnTo>
                    <a:pt x="209" y="93"/>
                  </a:lnTo>
                  <a:lnTo>
                    <a:pt x="206" y="89"/>
                  </a:lnTo>
                  <a:lnTo>
                    <a:pt x="203" y="87"/>
                  </a:lnTo>
                  <a:lnTo>
                    <a:pt x="199" y="85"/>
                  </a:lnTo>
                  <a:lnTo>
                    <a:pt x="196" y="85"/>
                  </a:lnTo>
                  <a:lnTo>
                    <a:pt x="194" y="88"/>
                  </a:lnTo>
                  <a:lnTo>
                    <a:pt x="193" y="90"/>
                  </a:lnTo>
                  <a:lnTo>
                    <a:pt x="191" y="95"/>
                  </a:lnTo>
                  <a:lnTo>
                    <a:pt x="185" y="128"/>
                  </a:lnTo>
                  <a:lnTo>
                    <a:pt x="179" y="150"/>
                  </a:lnTo>
                  <a:lnTo>
                    <a:pt x="175" y="162"/>
                  </a:lnTo>
                  <a:lnTo>
                    <a:pt x="170" y="175"/>
                  </a:lnTo>
                  <a:lnTo>
                    <a:pt x="164" y="187"/>
                  </a:lnTo>
                  <a:lnTo>
                    <a:pt x="157" y="200"/>
                  </a:lnTo>
                  <a:lnTo>
                    <a:pt x="147" y="213"/>
                  </a:lnTo>
                  <a:lnTo>
                    <a:pt x="136" y="227"/>
                  </a:lnTo>
                  <a:lnTo>
                    <a:pt x="124" y="213"/>
                  </a:lnTo>
                  <a:lnTo>
                    <a:pt x="114" y="201"/>
                  </a:lnTo>
                  <a:lnTo>
                    <a:pt x="107" y="187"/>
                  </a:lnTo>
                  <a:lnTo>
                    <a:pt x="101" y="175"/>
                  </a:lnTo>
                  <a:lnTo>
                    <a:pt x="95" y="162"/>
                  </a:lnTo>
                  <a:lnTo>
                    <a:pt x="91" y="150"/>
                  </a:lnTo>
                  <a:lnTo>
                    <a:pt x="86" y="128"/>
                  </a:lnTo>
                  <a:lnTo>
                    <a:pt x="80" y="95"/>
                  </a:lnTo>
                  <a:lnTo>
                    <a:pt x="78" y="90"/>
                  </a:lnTo>
                  <a:lnTo>
                    <a:pt x="76" y="88"/>
                  </a:lnTo>
                  <a:lnTo>
                    <a:pt x="73" y="85"/>
                  </a:lnTo>
                  <a:lnTo>
                    <a:pt x="71" y="85"/>
                  </a:lnTo>
                  <a:lnTo>
                    <a:pt x="65" y="89"/>
                  </a:lnTo>
                  <a:lnTo>
                    <a:pt x="61" y="93"/>
                  </a:lnTo>
                  <a:lnTo>
                    <a:pt x="60" y="97"/>
                  </a:lnTo>
                  <a:lnTo>
                    <a:pt x="57" y="104"/>
                  </a:lnTo>
                  <a:lnTo>
                    <a:pt x="57" y="110"/>
                  </a:lnTo>
                  <a:lnTo>
                    <a:pt x="58" y="113"/>
                  </a:lnTo>
                  <a:lnTo>
                    <a:pt x="54" y="103"/>
                  </a:lnTo>
                  <a:lnTo>
                    <a:pt x="50" y="92"/>
                  </a:lnTo>
                  <a:lnTo>
                    <a:pt x="47" y="82"/>
                  </a:lnTo>
                  <a:lnTo>
                    <a:pt x="46" y="72"/>
                  </a:lnTo>
                  <a:lnTo>
                    <a:pt x="44" y="53"/>
                  </a:lnTo>
                  <a:lnTo>
                    <a:pt x="45" y="36"/>
                  </a:lnTo>
                  <a:lnTo>
                    <a:pt x="46" y="21"/>
                  </a:lnTo>
                  <a:lnTo>
                    <a:pt x="49" y="10"/>
                  </a:lnTo>
                  <a:lnTo>
                    <a:pt x="52" y="0"/>
                  </a:lnTo>
                  <a:lnTo>
                    <a:pt x="11" y="0"/>
                  </a:lnTo>
                  <a:lnTo>
                    <a:pt x="8" y="15"/>
                  </a:lnTo>
                  <a:lnTo>
                    <a:pt x="4" y="31"/>
                  </a:lnTo>
                  <a:lnTo>
                    <a:pt x="1" y="52"/>
                  </a:lnTo>
                  <a:lnTo>
                    <a:pt x="0" y="78"/>
                  </a:lnTo>
                  <a:lnTo>
                    <a:pt x="1" y="92"/>
                  </a:lnTo>
                  <a:lnTo>
                    <a:pt x="3" y="107"/>
                  </a:lnTo>
                  <a:lnTo>
                    <a:pt x="5" y="121"/>
                  </a:lnTo>
                  <a:lnTo>
                    <a:pt x="9" y="136"/>
                  </a:lnTo>
                  <a:lnTo>
                    <a:pt x="14" y="152"/>
                  </a:lnTo>
                  <a:lnTo>
                    <a:pt x="21" y="169"/>
                  </a:lnTo>
                  <a:lnTo>
                    <a:pt x="20" y="164"/>
                  </a:lnTo>
                  <a:lnTo>
                    <a:pt x="20" y="155"/>
                  </a:lnTo>
                  <a:lnTo>
                    <a:pt x="21" y="149"/>
                  </a:lnTo>
                  <a:lnTo>
                    <a:pt x="22" y="143"/>
                  </a:lnTo>
                  <a:lnTo>
                    <a:pt x="26" y="138"/>
                  </a:lnTo>
                  <a:lnTo>
                    <a:pt x="30" y="133"/>
                  </a:lnTo>
                  <a:lnTo>
                    <a:pt x="35" y="129"/>
                  </a:lnTo>
                  <a:lnTo>
                    <a:pt x="40" y="128"/>
                  </a:lnTo>
                  <a:lnTo>
                    <a:pt x="45" y="128"/>
                  </a:lnTo>
                  <a:lnTo>
                    <a:pt x="47" y="130"/>
                  </a:lnTo>
                  <a:lnTo>
                    <a:pt x="50" y="135"/>
                  </a:lnTo>
                  <a:lnTo>
                    <a:pt x="52" y="143"/>
                  </a:lnTo>
                  <a:lnTo>
                    <a:pt x="56" y="162"/>
                  </a:lnTo>
                  <a:lnTo>
                    <a:pt x="61" y="190"/>
                  </a:lnTo>
                  <a:lnTo>
                    <a:pt x="65" y="206"/>
                  </a:lnTo>
                  <a:lnTo>
                    <a:pt x="70" y="222"/>
                  </a:lnTo>
                  <a:lnTo>
                    <a:pt x="76" y="241"/>
                  </a:lnTo>
                  <a:lnTo>
                    <a:pt x="83" y="258"/>
                  </a:lnTo>
                  <a:lnTo>
                    <a:pt x="93" y="278"/>
                  </a:lnTo>
                  <a:lnTo>
                    <a:pt x="104" y="297"/>
                  </a:lnTo>
                  <a:lnTo>
                    <a:pt x="118" y="316"/>
                  </a:lnTo>
                  <a:lnTo>
                    <a:pt x="136" y="336"/>
                  </a:lnTo>
                  <a:lnTo>
                    <a:pt x="152" y="316"/>
                  </a:lnTo>
                  <a:lnTo>
                    <a:pt x="167" y="297"/>
                  </a:lnTo>
                  <a:lnTo>
                    <a:pt x="178" y="278"/>
                  </a:lnTo>
                  <a:lnTo>
                    <a:pt x="188" y="258"/>
                  </a:lnTo>
                  <a:lnTo>
                    <a:pt x="195" y="241"/>
                  </a:lnTo>
                  <a:lnTo>
                    <a:pt x="201" y="222"/>
                  </a:lnTo>
                  <a:lnTo>
                    <a:pt x="206" y="206"/>
                  </a:lnTo>
                  <a:lnTo>
                    <a:pt x="209" y="190"/>
                  </a:lnTo>
                  <a:lnTo>
                    <a:pt x="214" y="162"/>
                  </a:lnTo>
                  <a:lnTo>
                    <a:pt x="218" y="143"/>
                  </a:lnTo>
                  <a:lnTo>
                    <a:pt x="220" y="135"/>
                  </a:lnTo>
                  <a:lnTo>
                    <a:pt x="222" y="130"/>
                  </a:lnTo>
                  <a:lnTo>
                    <a:pt x="226" y="128"/>
                  </a:lnTo>
                  <a:lnTo>
                    <a:pt x="230" y="128"/>
                  </a:lnTo>
                  <a:lnTo>
                    <a:pt x="236" y="129"/>
                  </a:lnTo>
                  <a:lnTo>
                    <a:pt x="240" y="133"/>
                  </a:lnTo>
                  <a:lnTo>
                    <a:pt x="245" y="138"/>
                  </a:lnTo>
                  <a:lnTo>
                    <a:pt x="247" y="143"/>
                  </a:lnTo>
                  <a:lnTo>
                    <a:pt x="250" y="149"/>
                  </a:lnTo>
                  <a:lnTo>
                    <a:pt x="250" y="155"/>
                  </a:lnTo>
                  <a:lnTo>
                    <a:pt x="250" y="164"/>
                  </a:lnTo>
                  <a:lnTo>
                    <a:pt x="250" y="169"/>
                  </a:lnTo>
                  <a:lnTo>
                    <a:pt x="256" y="152"/>
                  </a:lnTo>
                  <a:lnTo>
                    <a:pt x="261" y="136"/>
                  </a:lnTo>
                  <a:lnTo>
                    <a:pt x="266" y="121"/>
                  </a:lnTo>
                  <a:lnTo>
                    <a:pt x="268" y="107"/>
                  </a:lnTo>
                  <a:lnTo>
                    <a:pt x="270" y="92"/>
                  </a:lnTo>
                  <a:lnTo>
                    <a:pt x="270" y="78"/>
                  </a:lnTo>
                  <a:lnTo>
                    <a:pt x="270" y="52"/>
                  </a:lnTo>
                  <a:lnTo>
                    <a:pt x="267" y="31"/>
                  </a:lnTo>
                  <a:lnTo>
                    <a:pt x="263" y="15"/>
                  </a:lnTo>
                  <a:lnTo>
                    <a:pt x="259" y="0"/>
                  </a:lnTo>
                  <a:lnTo>
                    <a:pt x="219" y="0"/>
                  </a:lnTo>
                  <a:close/>
                </a:path>
              </a:pathLst>
            </a:custGeom>
            <a:solidFill>
              <a:srgbClr val="3FA2C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55" name="Freeform 54"/>
          <p:cNvSpPr/>
          <p:nvPr/>
        </p:nvSpPr>
        <p:spPr>
          <a:xfrm>
            <a:off x="2509838" y="3138488"/>
            <a:ext cx="1874837" cy="736600"/>
          </a:xfrm>
          <a:custGeom>
            <a:avLst/>
            <a:gdLst>
              <a:gd name="connsiteX0" fmla="*/ 419069 w 1875658"/>
              <a:gd name="connsiteY0" fmla="*/ 14 h 736004"/>
              <a:gd name="connsiteX1" fmla="*/ 465318 w 1875658"/>
              <a:gd name="connsiteY1" fmla="*/ 7470 h 736004"/>
              <a:gd name="connsiteX2" fmla="*/ 508583 w 1875658"/>
              <a:gd name="connsiteY2" fmla="*/ 34313 h 736004"/>
              <a:gd name="connsiteX3" fmla="*/ 538421 w 1875658"/>
              <a:gd name="connsiteY3" fmla="*/ 74576 h 736004"/>
              <a:gd name="connsiteX4" fmla="*/ 545881 w 1875658"/>
              <a:gd name="connsiteY4" fmla="*/ 105892 h 736004"/>
              <a:gd name="connsiteX5" fmla="*/ 559308 w 1875658"/>
              <a:gd name="connsiteY5" fmla="*/ 99927 h 736004"/>
              <a:gd name="connsiteX6" fmla="*/ 595114 w 1875658"/>
              <a:gd name="connsiteY6" fmla="*/ 92471 h 736004"/>
              <a:gd name="connsiteX7" fmla="*/ 638379 w 1875658"/>
              <a:gd name="connsiteY7" fmla="*/ 101418 h 736004"/>
              <a:gd name="connsiteX8" fmla="*/ 677168 w 1875658"/>
              <a:gd name="connsiteY8" fmla="*/ 126769 h 736004"/>
              <a:gd name="connsiteX9" fmla="*/ 690801 w 1875658"/>
              <a:gd name="connsiteY9" fmla="*/ 147610 h 736004"/>
              <a:gd name="connsiteX10" fmla="*/ 702553 w 1875658"/>
              <a:gd name="connsiteY10" fmla="*/ 125422 h 736004"/>
              <a:gd name="connsiteX11" fmla="*/ 723440 w 1875658"/>
              <a:gd name="connsiteY11" fmla="*/ 103054 h 736004"/>
              <a:gd name="connsiteX12" fmla="*/ 745818 w 1875658"/>
              <a:gd name="connsiteY12" fmla="*/ 88142 h 736004"/>
              <a:gd name="connsiteX13" fmla="*/ 774164 w 1875658"/>
              <a:gd name="connsiteY13" fmla="*/ 79194 h 736004"/>
              <a:gd name="connsiteX14" fmla="*/ 808478 w 1875658"/>
              <a:gd name="connsiteY14" fmla="*/ 79194 h 736004"/>
              <a:gd name="connsiteX15" fmla="*/ 826381 w 1875658"/>
              <a:gd name="connsiteY15" fmla="*/ 83668 h 736004"/>
              <a:gd name="connsiteX16" fmla="*/ 833840 w 1875658"/>
              <a:gd name="connsiteY16" fmla="*/ 70247 h 736004"/>
              <a:gd name="connsiteX17" fmla="*/ 853235 w 1875658"/>
              <a:gd name="connsiteY17" fmla="*/ 46387 h 736004"/>
              <a:gd name="connsiteX18" fmla="*/ 875614 w 1875658"/>
              <a:gd name="connsiteY18" fmla="*/ 27001 h 736004"/>
              <a:gd name="connsiteX19" fmla="*/ 908436 w 1875658"/>
              <a:gd name="connsiteY19" fmla="*/ 13580 h 736004"/>
              <a:gd name="connsiteX20" fmla="*/ 947225 w 1875658"/>
              <a:gd name="connsiteY20" fmla="*/ 7615 h 736004"/>
              <a:gd name="connsiteX21" fmla="*/ 993474 w 1875658"/>
              <a:gd name="connsiteY21" fmla="*/ 15071 h 736004"/>
              <a:gd name="connsiteX22" fmla="*/ 1036739 w 1875658"/>
              <a:gd name="connsiteY22" fmla="*/ 41914 h 736004"/>
              <a:gd name="connsiteX23" fmla="*/ 1066577 w 1875658"/>
              <a:gd name="connsiteY23" fmla="*/ 82177 h 736004"/>
              <a:gd name="connsiteX24" fmla="*/ 1074037 w 1875658"/>
              <a:gd name="connsiteY24" fmla="*/ 113493 h 736004"/>
              <a:gd name="connsiteX25" fmla="*/ 1087464 w 1875658"/>
              <a:gd name="connsiteY25" fmla="*/ 107528 h 736004"/>
              <a:gd name="connsiteX26" fmla="*/ 1123270 w 1875658"/>
              <a:gd name="connsiteY26" fmla="*/ 100072 h 736004"/>
              <a:gd name="connsiteX27" fmla="*/ 1166535 w 1875658"/>
              <a:gd name="connsiteY27" fmla="*/ 109019 h 736004"/>
              <a:gd name="connsiteX28" fmla="*/ 1178702 w 1875658"/>
              <a:gd name="connsiteY28" fmla="*/ 116971 h 736004"/>
              <a:gd name="connsiteX29" fmla="*/ 1191697 w 1875658"/>
              <a:gd name="connsiteY29" fmla="*/ 103054 h 736004"/>
              <a:gd name="connsiteX30" fmla="*/ 1214075 w 1875658"/>
              <a:gd name="connsiteY30" fmla="*/ 88142 h 736004"/>
              <a:gd name="connsiteX31" fmla="*/ 1242422 w 1875658"/>
              <a:gd name="connsiteY31" fmla="*/ 79194 h 736004"/>
              <a:gd name="connsiteX32" fmla="*/ 1276735 w 1875658"/>
              <a:gd name="connsiteY32" fmla="*/ 79194 h 736004"/>
              <a:gd name="connsiteX33" fmla="*/ 1294638 w 1875658"/>
              <a:gd name="connsiteY33" fmla="*/ 83668 h 736004"/>
              <a:gd name="connsiteX34" fmla="*/ 1302098 w 1875658"/>
              <a:gd name="connsiteY34" fmla="*/ 70247 h 736004"/>
              <a:gd name="connsiteX35" fmla="*/ 1321493 w 1875658"/>
              <a:gd name="connsiteY35" fmla="*/ 46387 h 736004"/>
              <a:gd name="connsiteX36" fmla="*/ 1343871 w 1875658"/>
              <a:gd name="connsiteY36" fmla="*/ 27001 h 736004"/>
              <a:gd name="connsiteX37" fmla="*/ 1376693 w 1875658"/>
              <a:gd name="connsiteY37" fmla="*/ 13580 h 736004"/>
              <a:gd name="connsiteX38" fmla="*/ 1415482 w 1875658"/>
              <a:gd name="connsiteY38" fmla="*/ 7615 h 736004"/>
              <a:gd name="connsiteX39" fmla="*/ 1450105 w 1875658"/>
              <a:gd name="connsiteY39" fmla="*/ 13197 h 736004"/>
              <a:gd name="connsiteX40" fmla="*/ 1486402 w 1875658"/>
              <a:gd name="connsiteY40" fmla="*/ 7615 h 736004"/>
              <a:gd name="connsiteX41" fmla="*/ 1532651 w 1875658"/>
              <a:gd name="connsiteY41" fmla="*/ 15071 h 736004"/>
              <a:gd name="connsiteX42" fmla="*/ 1575917 w 1875658"/>
              <a:gd name="connsiteY42" fmla="*/ 41914 h 736004"/>
              <a:gd name="connsiteX43" fmla="*/ 1605755 w 1875658"/>
              <a:gd name="connsiteY43" fmla="*/ 82177 h 736004"/>
              <a:gd name="connsiteX44" fmla="*/ 1610510 w 1875658"/>
              <a:gd name="connsiteY44" fmla="*/ 100724 h 736004"/>
              <a:gd name="connsiteX45" fmla="*/ 1611235 w 1875658"/>
              <a:gd name="connsiteY45" fmla="*/ 104147 h 736004"/>
              <a:gd name="connsiteX46" fmla="*/ 1627032 w 1875658"/>
              <a:gd name="connsiteY46" fmla="*/ 107414 h 736004"/>
              <a:gd name="connsiteX47" fmla="*/ 1642679 w 1875658"/>
              <a:gd name="connsiteY47" fmla="*/ 102868 h 736004"/>
              <a:gd name="connsiteX48" fmla="*/ 1662447 w 1875658"/>
              <a:gd name="connsiteY48" fmla="*/ 100072 h 736004"/>
              <a:gd name="connsiteX49" fmla="*/ 1705712 w 1875658"/>
              <a:gd name="connsiteY49" fmla="*/ 109019 h 736004"/>
              <a:gd name="connsiteX50" fmla="*/ 1744502 w 1875658"/>
              <a:gd name="connsiteY50" fmla="*/ 134370 h 736004"/>
              <a:gd name="connsiteX51" fmla="*/ 1769864 w 1875658"/>
              <a:gd name="connsiteY51" fmla="*/ 173142 h 736004"/>
              <a:gd name="connsiteX52" fmla="*/ 1773407 w 1875658"/>
              <a:gd name="connsiteY52" fmla="*/ 193739 h 736004"/>
              <a:gd name="connsiteX53" fmla="*/ 1775787 w 1875658"/>
              <a:gd name="connsiteY53" fmla="*/ 210115 h 736004"/>
              <a:gd name="connsiteX54" fmla="*/ 1776032 w 1875658"/>
              <a:gd name="connsiteY54" fmla="*/ 210489 h 736004"/>
              <a:gd name="connsiteX55" fmla="*/ 1783944 w 1875658"/>
              <a:gd name="connsiteY55" fmla="*/ 213125 h 736004"/>
              <a:gd name="connsiteX56" fmla="*/ 1792243 w 1875658"/>
              <a:gd name="connsiteY56" fmla="*/ 217878 h 736004"/>
              <a:gd name="connsiteX57" fmla="*/ 1829540 w 1875658"/>
              <a:gd name="connsiteY57" fmla="*/ 247703 h 736004"/>
              <a:gd name="connsiteX58" fmla="*/ 1856394 w 1875658"/>
              <a:gd name="connsiteY58" fmla="*/ 293931 h 736004"/>
              <a:gd name="connsiteX59" fmla="*/ 1857982 w 1875658"/>
              <a:gd name="connsiteY59" fmla="*/ 321706 h 736004"/>
              <a:gd name="connsiteX60" fmla="*/ 1860726 w 1875658"/>
              <a:gd name="connsiteY60" fmla="*/ 326429 h 736004"/>
              <a:gd name="connsiteX61" fmla="*/ 1875658 w 1875658"/>
              <a:gd name="connsiteY61" fmla="*/ 326429 h 736004"/>
              <a:gd name="connsiteX62" fmla="*/ 1875658 w 1875658"/>
              <a:gd name="connsiteY62" fmla="*/ 736004 h 736004"/>
              <a:gd name="connsiteX63" fmla="*/ 0 w 1875658"/>
              <a:gd name="connsiteY63" fmla="*/ 736004 h 736004"/>
              <a:gd name="connsiteX64" fmla="*/ 0 w 1875658"/>
              <a:gd name="connsiteY64" fmla="*/ 326429 h 736004"/>
              <a:gd name="connsiteX65" fmla="*/ 7536 w 1875658"/>
              <a:gd name="connsiteY65" fmla="*/ 326429 h 736004"/>
              <a:gd name="connsiteX66" fmla="*/ 7940 w 1875658"/>
              <a:gd name="connsiteY66" fmla="*/ 325182 h 736004"/>
              <a:gd name="connsiteX67" fmla="*/ 17203 w 1875658"/>
              <a:gd name="connsiteY67" fmla="*/ 308471 h 736004"/>
              <a:gd name="connsiteX68" fmla="*/ 19601 w 1875658"/>
              <a:gd name="connsiteY68" fmla="*/ 292807 h 736004"/>
              <a:gd name="connsiteX69" fmla="*/ 35650 w 1875658"/>
              <a:gd name="connsiteY69" fmla="*/ 257997 h 736004"/>
              <a:gd name="connsiteX70" fmla="*/ 65488 w 1875658"/>
              <a:gd name="connsiteY70" fmla="*/ 220716 h 736004"/>
              <a:gd name="connsiteX71" fmla="*/ 108753 w 1875658"/>
              <a:gd name="connsiteY71" fmla="*/ 196856 h 736004"/>
              <a:gd name="connsiteX72" fmla="*/ 136074 w 1875658"/>
              <a:gd name="connsiteY72" fmla="*/ 194620 h 736004"/>
              <a:gd name="connsiteX73" fmla="*/ 144039 w 1875658"/>
              <a:gd name="connsiteY73" fmla="*/ 193806 h 736004"/>
              <a:gd name="connsiteX74" fmla="*/ 144729 w 1875658"/>
              <a:gd name="connsiteY74" fmla="*/ 189667 h 736004"/>
              <a:gd name="connsiteX75" fmla="*/ 157117 w 1875658"/>
              <a:gd name="connsiteY75" fmla="*/ 166278 h 736004"/>
              <a:gd name="connsiteX76" fmla="*/ 160970 w 1875658"/>
              <a:gd name="connsiteY76" fmla="*/ 143172 h 736004"/>
              <a:gd name="connsiteX77" fmla="*/ 174397 w 1875658"/>
              <a:gd name="connsiteY77" fmla="*/ 117821 h 736004"/>
              <a:gd name="connsiteX78" fmla="*/ 195284 w 1875658"/>
              <a:gd name="connsiteY78" fmla="*/ 95453 h 736004"/>
              <a:gd name="connsiteX79" fmla="*/ 217662 w 1875658"/>
              <a:gd name="connsiteY79" fmla="*/ 80541 h 736004"/>
              <a:gd name="connsiteX80" fmla="*/ 246008 w 1875658"/>
              <a:gd name="connsiteY80" fmla="*/ 71593 h 736004"/>
              <a:gd name="connsiteX81" fmla="*/ 280322 w 1875658"/>
              <a:gd name="connsiteY81" fmla="*/ 71593 h 736004"/>
              <a:gd name="connsiteX82" fmla="*/ 298225 w 1875658"/>
              <a:gd name="connsiteY82" fmla="*/ 76067 h 736004"/>
              <a:gd name="connsiteX83" fmla="*/ 305685 w 1875658"/>
              <a:gd name="connsiteY83" fmla="*/ 62646 h 736004"/>
              <a:gd name="connsiteX84" fmla="*/ 325079 w 1875658"/>
              <a:gd name="connsiteY84" fmla="*/ 38786 h 736004"/>
              <a:gd name="connsiteX85" fmla="*/ 347458 w 1875658"/>
              <a:gd name="connsiteY85" fmla="*/ 19400 h 736004"/>
              <a:gd name="connsiteX86" fmla="*/ 380280 w 1875658"/>
              <a:gd name="connsiteY86" fmla="*/ 5979 h 736004"/>
              <a:gd name="connsiteX87" fmla="*/ 419069 w 1875658"/>
              <a:gd name="connsiteY87" fmla="*/ 14 h 736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875658" h="736004">
                <a:moveTo>
                  <a:pt x="419069" y="14"/>
                </a:moveTo>
                <a:cubicBezTo>
                  <a:pt x="433242" y="263"/>
                  <a:pt x="450399" y="1754"/>
                  <a:pt x="465318" y="7470"/>
                </a:cubicBezTo>
                <a:cubicBezTo>
                  <a:pt x="480237" y="13187"/>
                  <a:pt x="496400" y="23128"/>
                  <a:pt x="508583" y="34313"/>
                </a:cubicBezTo>
                <a:cubicBezTo>
                  <a:pt x="520767" y="45497"/>
                  <a:pt x="532205" y="62646"/>
                  <a:pt x="538421" y="74576"/>
                </a:cubicBezTo>
                <a:cubicBezTo>
                  <a:pt x="544638" y="86506"/>
                  <a:pt x="542400" y="101666"/>
                  <a:pt x="545881" y="105892"/>
                </a:cubicBezTo>
                <a:cubicBezTo>
                  <a:pt x="556324" y="101666"/>
                  <a:pt x="551103" y="102164"/>
                  <a:pt x="559308" y="99927"/>
                </a:cubicBezTo>
                <a:cubicBezTo>
                  <a:pt x="567514" y="97690"/>
                  <a:pt x="581935" y="92222"/>
                  <a:pt x="595114" y="92471"/>
                </a:cubicBezTo>
                <a:cubicBezTo>
                  <a:pt x="608292" y="92719"/>
                  <a:pt x="624703" y="95701"/>
                  <a:pt x="638379" y="101418"/>
                </a:cubicBezTo>
                <a:cubicBezTo>
                  <a:pt x="652055" y="107134"/>
                  <a:pt x="666477" y="116082"/>
                  <a:pt x="677168" y="126769"/>
                </a:cubicBezTo>
                <a:lnTo>
                  <a:pt x="690801" y="147610"/>
                </a:lnTo>
                <a:lnTo>
                  <a:pt x="702553" y="125422"/>
                </a:lnTo>
                <a:cubicBezTo>
                  <a:pt x="708272" y="117469"/>
                  <a:pt x="716229" y="109267"/>
                  <a:pt x="723440" y="103054"/>
                </a:cubicBezTo>
                <a:cubicBezTo>
                  <a:pt x="730651" y="96841"/>
                  <a:pt x="737364" y="92118"/>
                  <a:pt x="745818" y="88142"/>
                </a:cubicBezTo>
                <a:cubicBezTo>
                  <a:pt x="754272" y="84165"/>
                  <a:pt x="763721" y="80686"/>
                  <a:pt x="774164" y="79194"/>
                </a:cubicBezTo>
                <a:cubicBezTo>
                  <a:pt x="784608" y="77703"/>
                  <a:pt x="799775" y="78449"/>
                  <a:pt x="808478" y="79194"/>
                </a:cubicBezTo>
                <a:cubicBezTo>
                  <a:pt x="817181" y="79940"/>
                  <a:pt x="816683" y="81680"/>
                  <a:pt x="826381" y="83668"/>
                </a:cubicBezTo>
                <a:cubicBezTo>
                  <a:pt x="831105" y="76212"/>
                  <a:pt x="829365" y="76460"/>
                  <a:pt x="833840" y="70247"/>
                </a:cubicBezTo>
                <a:cubicBezTo>
                  <a:pt x="838316" y="64034"/>
                  <a:pt x="846273" y="53595"/>
                  <a:pt x="853235" y="46387"/>
                </a:cubicBezTo>
                <a:cubicBezTo>
                  <a:pt x="860197" y="39180"/>
                  <a:pt x="866414" y="32469"/>
                  <a:pt x="875614" y="27001"/>
                </a:cubicBezTo>
                <a:cubicBezTo>
                  <a:pt x="884814" y="21534"/>
                  <a:pt x="896500" y="16811"/>
                  <a:pt x="908436" y="13580"/>
                </a:cubicBezTo>
                <a:cubicBezTo>
                  <a:pt x="920371" y="10349"/>
                  <a:pt x="933052" y="7367"/>
                  <a:pt x="947225" y="7615"/>
                </a:cubicBezTo>
                <a:cubicBezTo>
                  <a:pt x="961398" y="7864"/>
                  <a:pt x="978555" y="9355"/>
                  <a:pt x="993474" y="15071"/>
                </a:cubicBezTo>
                <a:cubicBezTo>
                  <a:pt x="1008393" y="20788"/>
                  <a:pt x="1024556" y="30729"/>
                  <a:pt x="1036739" y="41914"/>
                </a:cubicBezTo>
                <a:cubicBezTo>
                  <a:pt x="1048923" y="53098"/>
                  <a:pt x="1060361" y="70247"/>
                  <a:pt x="1066577" y="82177"/>
                </a:cubicBezTo>
                <a:cubicBezTo>
                  <a:pt x="1072794" y="94107"/>
                  <a:pt x="1070556" y="109267"/>
                  <a:pt x="1074037" y="113493"/>
                </a:cubicBezTo>
                <a:cubicBezTo>
                  <a:pt x="1084480" y="109267"/>
                  <a:pt x="1079259" y="109765"/>
                  <a:pt x="1087464" y="107528"/>
                </a:cubicBezTo>
                <a:cubicBezTo>
                  <a:pt x="1095670" y="105291"/>
                  <a:pt x="1110091" y="99823"/>
                  <a:pt x="1123270" y="100072"/>
                </a:cubicBezTo>
                <a:cubicBezTo>
                  <a:pt x="1136449" y="100320"/>
                  <a:pt x="1152860" y="103302"/>
                  <a:pt x="1166535" y="109019"/>
                </a:cubicBezTo>
                <a:lnTo>
                  <a:pt x="1178702" y="116971"/>
                </a:lnTo>
                <a:lnTo>
                  <a:pt x="1191697" y="103054"/>
                </a:lnTo>
                <a:cubicBezTo>
                  <a:pt x="1198908" y="96841"/>
                  <a:pt x="1205621" y="92118"/>
                  <a:pt x="1214075" y="88142"/>
                </a:cubicBezTo>
                <a:cubicBezTo>
                  <a:pt x="1222530" y="84165"/>
                  <a:pt x="1231978" y="80686"/>
                  <a:pt x="1242422" y="79194"/>
                </a:cubicBezTo>
                <a:cubicBezTo>
                  <a:pt x="1252865" y="77703"/>
                  <a:pt x="1268033" y="78449"/>
                  <a:pt x="1276735" y="79194"/>
                </a:cubicBezTo>
                <a:cubicBezTo>
                  <a:pt x="1285438" y="79940"/>
                  <a:pt x="1284941" y="81680"/>
                  <a:pt x="1294638" y="83668"/>
                </a:cubicBezTo>
                <a:cubicBezTo>
                  <a:pt x="1299363" y="76212"/>
                  <a:pt x="1297622" y="76460"/>
                  <a:pt x="1302098" y="70247"/>
                </a:cubicBezTo>
                <a:cubicBezTo>
                  <a:pt x="1306573" y="64034"/>
                  <a:pt x="1314530" y="53595"/>
                  <a:pt x="1321493" y="46387"/>
                </a:cubicBezTo>
                <a:cubicBezTo>
                  <a:pt x="1328455" y="39180"/>
                  <a:pt x="1334671" y="32469"/>
                  <a:pt x="1343871" y="27001"/>
                </a:cubicBezTo>
                <a:cubicBezTo>
                  <a:pt x="1353071" y="21534"/>
                  <a:pt x="1364758" y="16811"/>
                  <a:pt x="1376693" y="13580"/>
                </a:cubicBezTo>
                <a:cubicBezTo>
                  <a:pt x="1388628" y="10349"/>
                  <a:pt x="1401309" y="7367"/>
                  <a:pt x="1415482" y="7615"/>
                </a:cubicBezTo>
                <a:lnTo>
                  <a:pt x="1450105" y="13197"/>
                </a:lnTo>
                <a:lnTo>
                  <a:pt x="1486402" y="7615"/>
                </a:lnTo>
                <a:cubicBezTo>
                  <a:pt x="1500576" y="7864"/>
                  <a:pt x="1517732" y="9355"/>
                  <a:pt x="1532651" y="15071"/>
                </a:cubicBezTo>
                <a:cubicBezTo>
                  <a:pt x="1547570" y="20788"/>
                  <a:pt x="1563733" y="30729"/>
                  <a:pt x="1575917" y="41914"/>
                </a:cubicBezTo>
                <a:cubicBezTo>
                  <a:pt x="1588100" y="53098"/>
                  <a:pt x="1599539" y="70247"/>
                  <a:pt x="1605755" y="82177"/>
                </a:cubicBezTo>
                <a:cubicBezTo>
                  <a:pt x="1608863" y="88142"/>
                  <a:pt x="1609857" y="94914"/>
                  <a:pt x="1610510" y="100724"/>
                </a:cubicBezTo>
                <a:lnTo>
                  <a:pt x="1611235" y="104147"/>
                </a:lnTo>
                <a:lnTo>
                  <a:pt x="1627032" y="107414"/>
                </a:lnTo>
                <a:lnTo>
                  <a:pt x="1642679" y="102868"/>
                </a:lnTo>
                <a:cubicBezTo>
                  <a:pt x="1648958" y="101252"/>
                  <a:pt x="1655858" y="99947"/>
                  <a:pt x="1662447" y="100072"/>
                </a:cubicBezTo>
                <a:cubicBezTo>
                  <a:pt x="1675626" y="100320"/>
                  <a:pt x="1692037" y="103302"/>
                  <a:pt x="1705712" y="109019"/>
                </a:cubicBezTo>
                <a:cubicBezTo>
                  <a:pt x="1719388" y="114735"/>
                  <a:pt x="1733810" y="123683"/>
                  <a:pt x="1744502" y="134370"/>
                </a:cubicBezTo>
                <a:cubicBezTo>
                  <a:pt x="1755194" y="145057"/>
                  <a:pt x="1764642" y="160466"/>
                  <a:pt x="1769864" y="173142"/>
                </a:cubicBezTo>
                <a:cubicBezTo>
                  <a:pt x="1772475" y="179479"/>
                  <a:pt x="1773034" y="186936"/>
                  <a:pt x="1773407" y="193739"/>
                </a:cubicBezTo>
                <a:lnTo>
                  <a:pt x="1775787" y="210115"/>
                </a:lnTo>
                <a:lnTo>
                  <a:pt x="1776032" y="210489"/>
                </a:lnTo>
                <a:lnTo>
                  <a:pt x="1783944" y="213125"/>
                </a:lnTo>
                <a:cubicBezTo>
                  <a:pt x="1785840" y="213778"/>
                  <a:pt x="1787767" y="214772"/>
                  <a:pt x="1792243" y="217878"/>
                </a:cubicBezTo>
                <a:cubicBezTo>
                  <a:pt x="1801194" y="224092"/>
                  <a:pt x="1818848" y="235027"/>
                  <a:pt x="1829540" y="247703"/>
                </a:cubicBezTo>
                <a:cubicBezTo>
                  <a:pt x="1840232" y="260378"/>
                  <a:pt x="1851421" y="277527"/>
                  <a:pt x="1856394" y="293931"/>
                </a:cubicBezTo>
                <a:lnTo>
                  <a:pt x="1857982" y="321706"/>
                </a:lnTo>
                <a:lnTo>
                  <a:pt x="1860726" y="326429"/>
                </a:lnTo>
                <a:lnTo>
                  <a:pt x="1875658" y="326429"/>
                </a:lnTo>
                <a:lnTo>
                  <a:pt x="1875658" y="736004"/>
                </a:lnTo>
                <a:lnTo>
                  <a:pt x="0" y="736004"/>
                </a:lnTo>
                <a:lnTo>
                  <a:pt x="0" y="326429"/>
                </a:lnTo>
                <a:lnTo>
                  <a:pt x="7536" y="326429"/>
                </a:lnTo>
                <a:lnTo>
                  <a:pt x="7940" y="325182"/>
                </a:lnTo>
                <a:lnTo>
                  <a:pt x="17203" y="308471"/>
                </a:lnTo>
                <a:lnTo>
                  <a:pt x="19601" y="292807"/>
                </a:lnTo>
                <a:cubicBezTo>
                  <a:pt x="23622" y="275472"/>
                  <a:pt x="29496" y="269740"/>
                  <a:pt x="35650" y="257997"/>
                </a:cubicBezTo>
                <a:cubicBezTo>
                  <a:pt x="43856" y="242339"/>
                  <a:pt x="53304" y="230906"/>
                  <a:pt x="65488" y="220716"/>
                </a:cubicBezTo>
                <a:cubicBezTo>
                  <a:pt x="77672" y="210526"/>
                  <a:pt x="93586" y="201330"/>
                  <a:pt x="108753" y="196856"/>
                </a:cubicBezTo>
                <a:cubicBezTo>
                  <a:pt x="116337" y="194620"/>
                  <a:pt x="126656" y="194620"/>
                  <a:pt x="136074" y="194620"/>
                </a:cubicBezTo>
                <a:lnTo>
                  <a:pt x="144039" y="193806"/>
                </a:lnTo>
                <a:lnTo>
                  <a:pt x="144729" y="189667"/>
                </a:lnTo>
                <a:lnTo>
                  <a:pt x="157117" y="166278"/>
                </a:lnTo>
                <a:lnTo>
                  <a:pt x="160970" y="143172"/>
                </a:lnTo>
                <a:cubicBezTo>
                  <a:pt x="163954" y="134473"/>
                  <a:pt x="168678" y="125775"/>
                  <a:pt x="174397" y="117821"/>
                </a:cubicBezTo>
                <a:cubicBezTo>
                  <a:pt x="180116" y="109868"/>
                  <a:pt x="188073" y="101666"/>
                  <a:pt x="195284" y="95453"/>
                </a:cubicBezTo>
                <a:cubicBezTo>
                  <a:pt x="202495" y="89240"/>
                  <a:pt x="209208" y="84517"/>
                  <a:pt x="217662" y="80541"/>
                </a:cubicBezTo>
                <a:cubicBezTo>
                  <a:pt x="226116" y="76564"/>
                  <a:pt x="235565" y="73085"/>
                  <a:pt x="246008" y="71593"/>
                </a:cubicBezTo>
                <a:cubicBezTo>
                  <a:pt x="256452" y="70102"/>
                  <a:pt x="271619" y="70848"/>
                  <a:pt x="280322" y="71593"/>
                </a:cubicBezTo>
                <a:cubicBezTo>
                  <a:pt x="289025" y="72339"/>
                  <a:pt x="288527" y="74079"/>
                  <a:pt x="298225" y="76067"/>
                </a:cubicBezTo>
                <a:cubicBezTo>
                  <a:pt x="302949" y="68611"/>
                  <a:pt x="301209" y="68859"/>
                  <a:pt x="305685" y="62646"/>
                </a:cubicBezTo>
                <a:cubicBezTo>
                  <a:pt x="310160" y="56432"/>
                  <a:pt x="318117" y="45994"/>
                  <a:pt x="325079" y="38786"/>
                </a:cubicBezTo>
                <a:cubicBezTo>
                  <a:pt x="332041" y="31579"/>
                  <a:pt x="338258" y="24868"/>
                  <a:pt x="347458" y="19400"/>
                </a:cubicBezTo>
                <a:cubicBezTo>
                  <a:pt x="356658" y="13933"/>
                  <a:pt x="368345" y="9210"/>
                  <a:pt x="380280" y="5979"/>
                </a:cubicBezTo>
                <a:cubicBezTo>
                  <a:pt x="392215" y="2748"/>
                  <a:pt x="404896" y="-234"/>
                  <a:pt x="419069" y="14"/>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43" name="Rectangle 42"/>
          <p:cNvSpPr/>
          <p:nvPr/>
        </p:nvSpPr>
        <p:spPr>
          <a:xfrm>
            <a:off x="2803202" y="3384550"/>
            <a:ext cx="1288110" cy="400110"/>
          </a:xfrm>
          <a:prstGeom prst="rect">
            <a:avLst/>
          </a:prstGeom>
        </p:spPr>
        <p:txBody>
          <a:bodyPr wrap="none">
            <a:spAutoFit/>
          </a:bodyPr>
          <a:lstStyle/>
          <a:p>
            <a:pPr algn="ctr" eaLnBrk="1" fontAlgn="auto" hangingPunct="1">
              <a:spcBef>
                <a:spcPts val="0"/>
              </a:spcBef>
              <a:spcAft>
                <a:spcPts val="0"/>
              </a:spcAft>
              <a:defRPr/>
            </a:pPr>
            <a:r>
              <a:rPr lang="id-ID" sz="2000" b="1" spc="-150" dirty="0">
                <a:solidFill>
                  <a:schemeClr val="bg1"/>
                </a:solidFill>
                <a:latin typeface="Copperplate Gothic Bold" charset="0"/>
                <a:ea typeface="Copperplate Gothic Bold" charset="0"/>
                <a:cs typeface="Copperplate Gothic Bold" charset="0"/>
              </a:rPr>
              <a:t>Start</a:t>
            </a:r>
            <a:r>
              <a:rPr lang="en-US" sz="2000" b="1" spc="-150" dirty="0">
                <a:solidFill>
                  <a:schemeClr val="bg1"/>
                </a:solidFill>
                <a:latin typeface="Copperplate Gothic Bold" charset="0"/>
                <a:ea typeface="Copperplate Gothic Bold" charset="0"/>
                <a:cs typeface="Copperplate Gothic Bold" charset="0"/>
              </a:rPr>
              <a:t>U</a:t>
            </a:r>
            <a:r>
              <a:rPr lang="id-ID" sz="2000" b="1" spc="-150" dirty="0">
                <a:solidFill>
                  <a:schemeClr val="bg1"/>
                </a:solidFill>
                <a:latin typeface="Copperplate Gothic Bold" charset="0"/>
                <a:ea typeface="Copperplate Gothic Bold" charset="0"/>
                <a:cs typeface="Copperplate Gothic Bold" charset="0"/>
              </a:rPr>
              <a:t>p </a:t>
            </a:r>
          </a:p>
        </p:txBody>
      </p:sp>
      <p:sp>
        <p:nvSpPr>
          <p:cNvPr id="4" name="TextBox 3"/>
          <p:cNvSpPr txBox="1"/>
          <p:nvPr/>
        </p:nvSpPr>
        <p:spPr>
          <a:xfrm>
            <a:off x="4725988" y="4201100"/>
            <a:ext cx="3538148" cy="707886"/>
          </a:xfrm>
          <a:prstGeom prst="rect">
            <a:avLst/>
          </a:prstGeom>
          <a:noFill/>
        </p:spPr>
        <p:txBody>
          <a:bodyPr wrap="none" rtlCol="0">
            <a:spAutoFit/>
          </a:bodyPr>
          <a:lstStyle/>
          <a:p>
            <a:r>
              <a:rPr lang="en-US" sz="4000" dirty="0" err="1" smtClean="0">
                <a:solidFill>
                  <a:schemeClr val="accent1">
                    <a:lumMod val="60000"/>
                    <a:lumOff val="40000"/>
                  </a:schemeClr>
                </a:solidFill>
                <a:latin typeface="Julietta Messie Messie-Demo" charset="0"/>
                <a:ea typeface="Julietta Messie Messie-Demo" charset="0"/>
                <a:cs typeface="Julietta Messie Messie-Demo" charset="0"/>
              </a:rPr>
              <a:t>Dyah</a:t>
            </a:r>
            <a:r>
              <a:rPr lang="en-US" sz="4000" dirty="0" smtClean="0">
                <a:solidFill>
                  <a:schemeClr val="accent1">
                    <a:lumMod val="60000"/>
                    <a:lumOff val="40000"/>
                  </a:schemeClr>
                </a:solidFill>
                <a:latin typeface="Julietta Messie Messie-Demo" charset="0"/>
                <a:ea typeface="Julietta Messie Messie-Demo" charset="0"/>
                <a:cs typeface="Julietta Messie Messie-Demo" charset="0"/>
              </a:rPr>
              <a:t> </a:t>
            </a:r>
            <a:r>
              <a:rPr lang="en-US" sz="4000" dirty="0" err="1" smtClean="0">
                <a:solidFill>
                  <a:schemeClr val="accent1">
                    <a:lumMod val="60000"/>
                    <a:lumOff val="40000"/>
                  </a:schemeClr>
                </a:solidFill>
                <a:latin typeface="Julietta Messie Messie-Demo" charset="0"/>
                <a:ea typeface="Julietta Messie Messie-Demo" charset="0"/>
                <a:cs typeface="Julietta Messie Messie-Demo" charset="0"/>
              </a:rPr>
              <a:t>Ayu</a:t>
            </a:r>
            <a:r>
              <a:rPr lang="en-US" sz="4000" dirty="0" smtClean="0">
                <a:solidFill>
                  <a:schemeClr val="accent1">
                    <a:lumMod val="60000"/>
                    <a:lumOff val="40000"/>
                  </a:schemeClr>
                </a:solidFill>
                <a:latin typeface="Julietta Messie Messie-Demo" charset="0"/>
                <a:ea typeface="Julietta Messie Messie-Demo" charset="0"/>
                <a:cs typeface="Julietta Messie Messie-Demo" charset="0"/>
              </a:rPr>
              <a:t> </a:t>
            </a:r>
            <a:r>
              <a:rPr lang="en-US" sz="4000" dirty="0" err="1" smtClean="0">
                <a:solidFill>
                  <a:schemeClr val="accent1">
                    <a:lumMod val="60000"/>
                    <a:lumOff val="40000"/>
                  </a:schemeClr>
                </a:solidFill>
                <a:latin typeface="Julietta Messie Messie-Demo" charset="0"/>
                <a:ea typeface="Julietta Messie Messie-Demo" charset="0"/>
                <a:cs typeface="Julietta Messie Messie-Demo" charset="0"/>
              </a:rPr>
              <a:t>Irawati</a:t>
            </a:r>
            <a:endParaRPr lang="en-US" sz="4000" dirty="0">
              <a:solidFill>
                <a:schemeClr val="accent1">
                  <a:lumMod val="60000"/>
                  <a:lumOff val="40000"/>
                </a:schemeClr>
              </a:solidFill>
              <a:latin typeface="Julietta Messie Messie-Demo" charset="0"/>
              <a:ea typeface="Julietta Messie Messie-Demo" charset="0"/>
              <a:cs typeface="Julietta Messie Messie-Demo" charset="0"/>
            </a:endParaRPr>
          </a:p>
        </p:txBody>
      </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nodeType="afterGroup">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43"/>
                                        </p:tgtEl>
                                        <p:attrNameLst>
                                          <p:attrName>style.visibility</p:attrName>
                                        </p:attrNameLst>
                                      </p:cBhvr>
                                      <p:to>
                                        <p:strVal val="visible"/>
                                      </p:to>
                                    </p:set>
                                    <p:animEffect transition="in" filter="wipe(down)">
                                      <p:cBhvr>
                                        <p:cTn id="11" dur="500"/>
                                        <p:tgtEl>
                                          <p:spTgt spid="43"/>
                                        </p:tgtEl>
                                      </p:cBhvr>
                                    </p:animEffect>
                                  </p:childTnLst>
                                </p:cTn>
                              </p:par>
                            </p:childTnLst>
                          </p:cTn>
                        </p:par>
                        <p:par>
                          <p:cTn id="12" fill="hold" nodeType="afterGroup">
                            <p:stCondLst>
                              <p:cond delay="1000"/>
                            </p:stCondLst>
                            <p:childTnLst>
                              <p:par>
                                <p:cTn id="13" presetID="22" presetClass="entr" presetSubtype="4" fill="hold" nodeType="afterEffect">
                                  <p:stCondLst>
                                    <p:cond delay="0"/>
                                  </p:stCondLst>
                                  <p:childTnLst>
                                    <p:set>
                                      <p:cBhvr>
                                        <p:cTn id="14" dur="1" fill="hold">
                                          <p:stCondLst>
                                            <p:cond delay="0"/>
                                          </p:stCondLst>
                                        </p:cTn>
                                        <p:tgtEl>
                                          <p:spTgt spid="55"/>
                                        </p:tgtEl>
                                        <p:attrNameLst>
                                          <p:attrName>style.visibility</p:attrName>
                                        </p:attrNameLst>
                                      </p:cBhvr>
                                      <p:to>
                                        <p:strVal val="visible"/>
                                      </p:to>
                                    </p:set>
                                    <p:animEffect transition="in" filter="wipe(down)">
                                      <p:cBhvr>
                                        <p:cTn id="15" dur="500"/>
                                        <p:tgtEl>
                                          <p:spTgt spid="55"/>
                                        </p:tgtEl>
                                      </p:cBhvr>
                                    </p:animEffect>
                                  </p:childTnLst>
                                </p:cTn>
                              </p:par>
                            </p:childTnLst>
                          </p:cTn>
                        </p:par>
                        <p:par>
                          <p:cTn id="16" fill="hold" nodeType="afterGroup">
                            <p:stCondLst>
                              <p:cond delay="1500"/>
                            </p:stCondLst>
                            <p:childTnLst>
                              <p:par>
                                <p:cTn id="17" presetID="22" presetClass="entr" presetSubtype="4" fill="hold" grpId="0"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wipe(down)">
                                      <p:cBhvr>
                                        <p:cTn id="19" dur="500"/>
                                        <p:tgtEl>
                                          <p:spTgt spid="7"/>
                                        </p:tgtEl>
                                      </p:cBhvr>
                                    </p:animEffect>
                                  </p:childTnLst>
                                </p:cTn>
                              </p:par>
                            </p:childTnLst>
                          </p:cTn>
                        </p:par>
                        <p:par>
                          <p:cTn id="20" fill="hold" nodeType="afterGroup">
                            <p:stCondLst>
                              <p:cond delay="2000"/>
                            </p:stCondLst>
                            <p:childTnLst>
                              <p:par>
                                <p:cTn id="21" presetID="22" presetClass="entr" presetSubtype="4" fill="hold" nodeType="after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wipe(down)">
                                      <p:cBhvr>
                                        <p:cTn id="23" dur="500"/>
                                        <p:tgtEl>
                                          <p:spTgt spid="5"/>
                                        </p:tgtEl>
                                      </p:cBhvr>
                                    </p:animEffect>
                                  </p:childTnLst>
                                </p:cTn>
                              </p:par>
                              <p:par>
                                <p:cTn id="24" presetID="14" presetClass="entr" presetSubtype="10" fill="hold" grpId="0" nodeType="withEffect">
                                  <p:stCondLst>
                                    <p:cond delay="0"/>
                                  </p:stCondLst>
                                  <p:childTnLst>
                                    <p:set>
                                      <p:cBhvr>
                                        <p:cTn id="25" dur="1" fill="hold">
                                          <p:stCondLst>
                                            <p:cond delay="0"/>
                                          </p:stCondLst>
                                        </p:cTn>
                                        <p:tgtEl>
                                          <p:spTgt spid="2"/>
                                        </p:tgtEl>
                                        <p:attrNameLst>
                                          <p:attrName>style.visibility</p:attrName>
                                        </p:attrNameLst>
                                      </p:cBhvr>
                                      <p:to>
                                        <p:strVal val="visible"/>
                                      </p:to>
                                    </p:set>
                                    <p:animEffect transition="in" filter="randombar(horizontal)">
                                      <p:cBhvr>
                                        <p:cTn id="26" dur="750"/>
                                        <p:tgtEl>
                                          <p:spTgt spid="2"/>
                                        </p:tgtEl>
                                      </p:cBhvr>
                                    </p:animEffect>
                                  </p:childTnLst>
                                </p:cTn>
                              </p:par>
                              <p:par>
                                <p:cTn id="27" presetID="14" presetClass="entr" presetSubtype="10" fill="hold" grpId="0" nodeType="withEffect">
                                  <p:stCondLst>
                                    <p:cond delay="0"/>
                                  </p:stCondLst>
                                  <p:childTnLst>
                                    <p:set>
                                      <p:cBhvr>
                                        <p:cTn id="28" dur="1" fill="hold">
                                          <p:stCondLst>
                                            <p:cond delay="0"/>
                                          </p:stCondLst>
                                        </p:cTn>
                                        <p:tgtEl>
                                          <p:spTgt spid="92"/>
                                        </p:tgtEl>
                                        <p:attrNameLst>
                                          <p:attrName>style.visibility</p:attrName>
                                        </p:attrNameLst>
                                      </p:cBhvr>
                                      <p:to>
                                        <p:strVal val="visible"/>
                                      </p:to>
                                    </p:set>
                                    <p:animEffect transition="in" filter="randombar(horizontal)">
                                      <p:cBhvr>
                                        <p:cTn id="29" dur="750"/>
                                        <p:tgtEl>
                                          <p:spTgt spid="92"/>
                                        </p:tgtEl>
                                      </p:cBhvr>
                                    </p:animEffect>
                                  </p:childTnLst>
                                </p:cTn>
                              </p:par>
                              <p:par>
                                <p:cTn id="30" presetID="14" presetClass="entr" presetSubtype="10" fill="hold" grpId="0" nodeType="withEffect">
                                  <p:stCondLst>
                                    <p:cond delay="0"/>
                                  </p:stCondLst>
                                  <p:childTnLst>
                                    <p:set>
                                      <p:cBhvr>
                                        <p:cTn id="31" dur="1" fill="hold">
                                          <p:stCondLst>
                                            <p:cond delay="0"/>
                                          </p:stCondLst>
                                        </p:cTn>
                                        <p:tgtEl>
                                          <p:spTgt spid="103"/>
                                        </p:tgtEl>
                                        <p:attrNameLst>
                                          <p:attrName>style.visibility</p:attrName>
                                        </p:attrNameLst>
                                      </p:cBhvr>
                                      <p:to>
                                        <p:strVal val="visible"/>
                                      </p:to>
                                    </p:set>
                                    <p:animEffect transition="in" filter="randombar(horizontal)">
                                      <p:cBhvr>
                                        <p:cTn id="32" dur="750"/>
                                        <p:tgtEl>
                                          <p:spTgt spid="103"/>
                                        </p:tgtEl>
                                      </p:cBhvr>
                                    </p:animEffect>
                                  </p:childTnLst>
                                </p:cTn>
                              </p:par>
                            </p:childTnLst>
                          </p:cTn>
                        </p:par>
                        <p:par>
                          <p:cTn id="33" fill="hold">
                            <p:stCondLst>
                              <p:cond delay="2750"/>
                            </p:stCondLst>
                            <p:childTnLst>
                              <p:par>
                                <p:cTn id="34" presetID="3" presetClass="entr" presetSubtype="10" fill="hold" grpId="0" nodeType="afterEffect">
                                  <p:stCondLst>
                                    <p:cond delay="0"/>
                                  </p:stCondLst>
                                  <p:childTnLst>
                                    <p:set>
                                      <p:cBhvr>
                                        <p:cTn id="35" dur="1" fill="hold">
                                          <p:stCondLst>
                                            <p:cond delay="0"/>
                                          </p:stCondLst>
                                        </p:cTn>
                                        <p:tgtEl>
                                          <p:spTgt spid="4"/>
                                        </p:tgtEl>
                                        <p:attrNameLst>
                                          <p:attrName>style.visibility</p:attrName>
                                        </p:attrNameLst>
                                      </p:cBhvr>
                                      <p:to>
                                        <p:strVal val="visible"/>
                                      </p:to>
                                    </p:set>
                                    <p:animEffect transition="in" filter="blinds(horizontal)">
                                      <p:cBhvr>
                                        <p:cTn id="36"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92" grpId="0" animBg="1"/>
      <p:bldP spid="103" grpId="0"/>
      <p:bldP spid="7" grpId="0" animBg="1"/>
      <p:bldP spid="43" grpId="0"/>
      <p:bldP spid="4"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4094328" y="0"/>
            <a:ext cx="7383297" cy="6858000"/>
          </a:xfrm>
          <a:prstGeom prst="rect">
            <a:avLst/>
          </a:prstGeom>
          <a:solidFill>
            <a:schemeClr val="accent1">
              <a:lumMod val="7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dirty="0" err="1">
                <a:solidFill>
                  <a:schemeClr val="tx1"/>
                </a:solidFill>
              </a:rPr>
              <a:t>Osterwalder</a:t>
            </a:r>
            <a:r>
              <a:rPr lang="en-US" dirty="0">
                <a:solidFill>
                  <a:schemeClr val="tx1"/>
                </a:solidFill>
              </a:rPr>
              <a:t>, A., </a:t>
            </a:r>
            <a:r>
              <a:rPr lang="en-US" dirty="0" err="1">
                <a:solidFill>
                  <a:schemeClr val="tx1"/>
                </a:solidFill>
              </a:rPr>
              <a:t>Pigneur</a:t>
            </a:r>
            <a:r>
              <a:rPr lang="en-US" dirty="0">
                <a:solidFill>
                  <a:schemeClr val="tx1"/>
                </a:solidFill>
              </a:rPr>
              <a:t>, Y.:</a:t>
            </a:r>
          </a:p>
        </p:txBody>
      </p:sp>
      <p:sp>
        <p:nvSpPr>
          <p:cNvPr id="147" name="Rectangle 146"/>
          <p:cNvSpPr/>
          <p:nvPr/>
        </p:nvSpPr>
        <p:spPr>
          <a:xfrm>
            <a:off x="365125" y="544513"/>
            <a:ext cx="4251325" cy="231775"/>
          </a:xfrm>
          <a:prstGeom prst="rect">
            <a:avLst/>
          </a:prstGeom>
        </p:spPr>
        <p:txBody>
          <a:bodyPr anchor="ctr"/>
          <a:lstStyle/>
          <a:p>
            <a:pPr defTabSz="914082" eaLnBrk="1" fontAlgn="auto" hangingPunct="1">
              <a:spcAft>
                <a:spcPts val="0"/>
              </a:spcAft>
              <a:defRPr/>
            </a:pPr>
            <a:r>
              <a:rPr lang="en-US" sz="6000" spc="-300" noProof="1">
                <a:solidFill>
                  <a:schemeClr val="bg1"/>
                </a:solidFill>
                <a:latin typeface="Open Sans" panose="020B0606030504020204" pitchFamily="34" charset="0"/>
                <a:ea typeface="Open Sans" panose="020B0606030504020204" pitchFamily="34" charset="0"/>
                <a:cs typeface="Open Sans" panose="020B0606030504020204" pitchFamily="34" charset="0"/>
              </a:rPr>
              <a:t>Business</a:t>
            </a:r>
          </a:p>
        </p:txBody>
      </p:sp>
      <p:sp>
        <p:nvSpPr>
          <p:cNvPr id="148" name="Rectangle 147"/>
          <p:cNvSpPr/>
          <p:nvPr/>
        </p:nvSpPr>
        <p:spPr>
          <a:xfrm>
            <a:off x="365125" y="938213"/>
            <a:ext cx="4090988" cy="650875"/>
          </a:xfrm>
          <a:prstGeom prst="rect">
            <a:avLst/>
          </a:prstGeom>
        </p:spPr>
        <p:txBody>
          <a:bodyPr anchor="ctr"/>
          <a:lstStyle/>
          <a:p>
            <a:pPr defTabSz="914082" eaLnBrk="1" fontAlgn="auto" hangingPunct="1">
              <a:spcAft>
                <a:spcPts val="0"/>
              </a:spcAft>
              <a:defRPr/>
            </a:pPr>
            <a:r>
              <a:rPr lang="en-US" sz="5500" spc="-300" noProof="1" smtClean="0">
                <a:solidFill>
                  <a:srgbClr val="37B3AD"/>
                </a:solidFill>
                <a:latin typeface="Open Sans" panose="020B0606030504020204" pitchFamily="34" charset="0"/>
                <a:ea typeface="Open Sans" panose="020B0606030504020204" pitchFamily="34" charset="0"/>
                <a:cs typeface="Open Sans" panose="020B0606030504020204" pitchFamily="34" charset="0"/>
              </a:rPr>
              <a:t>Model Canvas</a:t>
            </a:r>
            <a:endParaRPr lang="en-US" sz="5500" spc="-300" noProof="1">
              <a:solidFill>
                <a:srgbClr val="37B3AD"/>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50" name="Straight Connector 149"/>
          <p:cNvCxnSpPr/>
          <p:nvPr/>
        </p:nvCxnSpPr>
        <p:spPr>
          <a:xfrm>
            <a:off x="457200" y="1763713"/>
            <a:ext cx="31369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51" name="Rectangle 150"/>
          <p:cNvSpPr/>
          <p:nvPr/>
        </p:nvSpPr>
        <p:spPr>
          <a:xfrm>
            <a:off x="365125" y="1868488"/>
            <a:ext cx="544353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eaLnBrk="1" hangingPunct="1">
              <a:buClr>
                <a:srgbClr val="E24848"/>
              </a:buClr>
            </a:pPr>
            <a:r>
              <a:rPr lang="en-US" sz="2000" b="1" noProof="1" smtClean="0">
                <a:solidFill>
                  <a:schemeClr val="bg1"/>
                </a:solidFill>
                <a:latin typeface="Open Sans" charset="0"/>
                <a:ea typeface="Open Sans" charset="0"/>
                <a:cs typeface="Open Sans" charset="0"/>
              </a:rPr>
              <a:t>contoh BMC</a:t>
            </a:r>
            <a:endParaRPr lang="en-US" sz="2000" b="1" noProof="1">
              <a:solidFill>
                <a:schemeClr val="bg1"/>
              </a:solidFill>
              <a:latin typeface="Open Sans" charset="0"/>
              <a:ea typeface="Open Sans" charset="0"/>
              <a:cs typeface="Open Sans" charset="0"/>
            </a:endParaRPr>
          </a:p>
        </p:txBody>
      </p:sp>
      <p:sp>
        <p:nvSpPr>
          <p:cNvPr id="8" name="TextBox 7"/>
          <p:cNvSpPr txBox="1"/>
          <p:nvPr/>
        </p:nvSpPr>
        <p:spPr>
          <a:xfrm>
            <a:off x="6797527" y="1868488"/>
            <a:ext cx="4325570" cy="369332"/>
          </a:xfrm>
          <a:prstGeom prst="rect">
            <a:avLst/>
          </a:prstGeom>
          <a:noFill/>
        </p:spPr>
        <p:txBody>
          <a:bodyPr wrap="square" rtlCol="0">
            <a:spAutoFit/>
          </a:bodyPr>
          <a:lstStyle/>
          <a:p>
            <a:r>
              <a:rPr lang="en-US" dirty="0" err="1">
                <a:solidFill>
                  <a:schemeClr val="bg1"/>
                </a:solidFill>
              </a:rPr>
              <a:t>Osterwalder</a:t>
            </a:r>
            <a:r>
              <a:rPr lang="en-US" dirty="0">
                <a:solidFill>
                  <a:schemeClr val="bg1"/>
                </a:solidFill>
              </a:rPr>
              <a:t>, A</a:t>
            </a:r>
            <a:r>
              <a:rPr lang="en-US" dirty="0" smtClean="0">
                <a:solidFill>
                  <a:schemeClr val="bg1"/>
                </a:solidFill>
              </a:rPr>
              <a:t>. </a:t>
            </a:r>
            <a:r>
              <a:rPr lang="en-US" dirty="0" err="1" smtClean="0">
                <a:solidFill>
                  <a:schemeClr val="bg1"/>
                </a:solidFill>
              </a:rPr>
              <a:t>dan</a:t>
            </a:r>
            <a:r>
              <a:rPr lang="en-US" dirty="0" smtClean="0">
                <a:solidFill>
                  <a:schemeClr val="bg1"/>
                </a:solidFill>
              </a:rPr>
              <a:t> </a:t>
            </a:r>
            <a:r>
              <a:rPr lang="en-US" dirty="0" err="1">
                <a:solidFill>
                  <a:schemeClr val="bg1"/>
                </a:solidFill>
              </a:rPr>
              <a:t>Pigneur</a:t>
            </a:r>
            <a:r>
              <a:rPr lang="en-US" dirty="0">
                <a:solidFill>
                  <a:schemeClr val="bg1"/>
                </a:solidFill>
              </a:rPr>
              <a:t>, Y</a:t>
            </a:r>
            <a:r>
              <a:rPr lang="en-US" dirty="0" smtClean="0">
                <a:solidFill>
                  <a:schemeClr val="bg1"/>
                </a:solidFill>
              </a:rPr>
              <a:t>.: (2002)</a:t>
            </a:r>
            <a:endParaRPr lang="en-US" dirty="0">
              <a:solidFill>
                <a:schemeClr val="bg1"/>
              </a:solidFill>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5649" y="1938338"/>
            <a:ext cx="8333001" cy="4860917"/>
          </a:xfrm>
          <a:prstGeom prst="rect">
            <a:avLst/>
          </a:prstGeom>
        </p:spPr>
      </p:pic>
    </p:spTree>
    <p:extLst>
      <p:ext uri="{BB962C8B-B14F-4D97-AF65-F5344CB8AC3E}">
        <p14:creationId xmlns:p14="http://schemas.microsoft.com/office/powerpoint/2010/main" val="2042608545"/>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7"/>
                                        </p:tgtEl>
                                        <p:attrNameLst>
                                          <p:attrName>style.visibility</p:attrName>
                                        </p:attrNameLst>
                                      </p:cBhvr>
                                      <p:to>
                                        <p:strVal val="visible"/>
                                      </p:to>
                                    </p:set>
                                    <p:animEffect transition="in" filter="fade">
                                      <p:cBhvr>
                                        <p:cTn id="7" dur="1000"/>
                                        <p:tgtEl>
                                          <p:spTgt spid="14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8"/>
                                        </p:tgtEl>
                                        <p:attrNameLst>
                                          <p:attrName>style.visibility</p:attrName>
                                        </p:attrNameLst>
                                      </p:cBhvr>
                                      <p:to>
                                        <p:strVal val="visible"/>
                                      </p:to>
                                    </p:set>
                                    <p:animEffect transition="in" filter="fade">
                                      <p:cBhvr>
                                        <p:cTn id="10" dur="1000"/>
                                        <p:tgtEl>
                                          <p:spTgt spid="148"/>
                                        </p:tgtEl>
                                      </p:cBhvr>
                                    </p:animEffect>
                                  </p:childTnLst>
                                </p:cTn>
                              </p:par>
                              <p:par>
                                <p:cTn id="11" presetID="10" presetClass="entr" presetSubtype="0" fill="hold" nodeType="withEffect">
                                  <p:stCondLst>
                                    <p:cond delay="0"/>
                                  </p:stCondLst>
                                  <p:childTnLst>
                                    <p:set>
                                      <p:cBhvr>
                                        <p:cTn id="12" dur="1" fill="hold">
                                          <p:stCondLst>
                                            <p:cond delay="0"/>
                                          </p:stCondLst>
                                        </p:cTn>
                                        <p:tgtEl>
                                          <p:spTgt spid="150"/>
                                        </p:tgtEl>
                                        <p:attrNameLst>
                                          <p:attrName>style.visibility</p:attrName>
                                        </p:attrNameLst>
                                      </p:cBhvr>
                                      <p:to>
                                        <p:strVal val="visible"/>
                                      </p:to>
                                    </p:set>
                                    <p:animEffect transition="in" filter="fade">
                                      <p:cBhvr>
                                        <p:cTn id="13" dur="1000"/>
                                        <p:tgtEl>
                                          <p:spTgt spid="15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51"/>
                                        </p:tgtEl>
                                        <p:attrNameLst>
                                          <p:attrName>style.visibility</p:attrName>
                                        </p:attrNameLst>
                                      </p:cBhvr>
                                      <p:to>
                                        <p:strVal val="visible"/>
                                      </p:to>
                                    </p:set>
                                    <p:animEffect transition="in" filter="fade">
                                      <p:cBhvr>
                                        <p:cTn id="16" dur="1000"/>
                                        <p:tgtEl>
                                          <p:spTgt spid="151"/>
                                        </p:tgtEl>
                                      </p:cBhvr>
                                    </p:animEffect>
                                  </p:childTnLst>
                                </p:cTn>
                              </p:par>
                            </p:childTnLst>
                          </p:cTn>
                        </p:par>
                        <p:par>
                          <p:cTn id="17" fill="hold" nodeType="afterGroup">
                            <p:stCondLst>
                              <p:cond delay="1000"/>
                            </p:stCondLst>
                            <p:childTnLst>
                              <p:par>
                                <p:cTn id="18" presetID="22" presetClass="entr" presetSubtype="1" fill="hold" grpId="0" nodeType="after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wipe(up)">
                                      <p:cBhvr>
                                        <p:cTn id="20"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47" grpId="0"/>
      <p:bldP spid="148" grpId="0"/>
      <p:bldP spid="151" grpId="0"/>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grpSp>
        <p:nvGrpSpPr>
          <p:cNvPr id="241" name="Group 240"/>
          <p:cNvGrpSpPr/>
          <p:nvPr/>
        </p:nvGrpSpPr>
        <p:grpSpPr>
          <a:xfrm>
            <a:off x="4120968" y="0"/>
            <a:ext cx="6827044" cy="3850649"/>
            <a:chOff x="12701" y="-4763"/>
            <a:chExt cx="12187239" cy="6873953"/>
          </a:xfrm>
          <a:solidFill>
            <a:schemeClr val="bg1">
              <a:alpha val="34000"/>
            </a:schemeClr>
          </a:solidFill>
        </p:grpSpPr>
        <p:sp>
          <p:nvSpPr>
            <p:cNvPr id="242" name="Freeform 241"/>
            <p:cNvSpPr>
              <a:spLocks/>
            </p:cNvSpPr>
            <p:nvPr/>
          </p:nvSpPr>
          <p:spPr bwMode="auto">
            <a:xfrm flipV="1">
              <a:off x="9080502" y="6096069"/>
              <a:ext cx="125413" cy="84138"/>
            </a:xfrm>
            <a:custGeom>
              <a:avLst/>
              <a:gdLst>
                <a:gd name="T0" fmla="*/ 17 w 17"/>
                <a:gd name="T1" fmla="*/ 7 h 14"/>
                <a:gd name="T2" fmla="*/ 9 w 17"/>
                <a:gd name="T3" fmla="*/ 0 h 14"/>
                <a:gd name="T4" fmla="*/ 0 w 17"/>
                <a:gd name="T5" fmla="*/ 7 h 14"/>
                <a:gd name="T6" fmla="*/ 9 w 17"/>
                <a:gd name="T7" fmla="*/ 14 h 14"/>
                <a:gd name="T8" fmla="*/ 17 w 17"/>
                <a:gd name="T9" fmla="*/ 7 h 14"/>
              </a:gdLst>
              <a:ahLst/>
              <a:cxnLst>
                <a:cxn ang="0">
                  <a:pos x="T0" y="T1"/>
                </a:cxn>
                <a:cxn ang="0">
                  <a:pos x="T2" y="T3"/>
                </a:cxn>
                <a:cxn ang="0">
                  <a:pos x="T4" y="T5"/>
                </a:cxn>
                <a:cxn ang="0">
                  <a:pos x="T6" y="T7"/>
                </a:cxn>
                <a:cxn ang="0">
                  <a:pos x="T8" y="T9"/>
                </a:cxn>
              </a:cxnLst>
              <a:rect l="0" t="0" r="r" b="b"/>
              <a:pathLst>
                <a:path w="17" h="14">
                  <a:moveTo>
                    <a:pt x="17" y="7"/>
                  </a:moveTo>
                  <a:cubicBezTo>
                    <a:pt x="13" y="7"/>
                    <a:pt x="9" y="4"/>
                    <a:pt x="9" y="0"/>
                  </a:cubicBezTo>
                  <a:cubicBezTo>
                    <a:pt x="9" y="4"/>
                    <a:pt x="5" y="7"/>
                    <a:pt x="0" y="7"/>
                  </a:cubicBezTo>
                  <a:cubicBezTo>
                    <a:pt x="5" y="7"/>
                    <a:pt x="9" y="10"/>
                    <a:pt x="9" y="14"/>
                  </a:cubicBezTo>
                  <a:cubicBezTo>
                    <a:pt x="9" y="10"/>
                    <a:pt x="13" y="7"/>
                    <a:pt x="17"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id-ID">
                <a:latin typeface="+mn-lt"/>
              </a:endParaRPr>
            </a:p>
          </p:txBody>
        </p:sp>
        <p:sp>
          <p:nvSpPr>
            <p:cNvPr id="243" name="Freeform 242"/>
            <p:cNvSpPr>
              <a:spLocks/>
            </p:cNvSpPr>
            <p:nvPr/>
          </p:nvSpPr>
          <p:spPr bwMode="auto">
            <a:xfrm flipV="1">
              <a:off x="10290177" y="4013245"/>
              <a:ext cx="161925" cy="134939"/>
            </a:xfrm>
            <a:custGeom>
              <a:avLst/>
              <a:gdLst>
                <a:gd name="T0" fmla="*/ 22 w 22"/>
                <a:gd name="T1" fmla="*/ 11 h 22"/>
                <a:gd name="T2" fmla="*/ 11 w 22"/>
                <a:gd name="T3" fmla="*/ 0 h 22"/>
                <a:gd name="T4" fmla="*/ 0 w 22"/>
                <a:gd name="T5" fmla="*/ 11 h 22"/>
                <a:gd name="T6" fmla="*/ 11 w 22"/>
                <a:gd name="T7" fmla="*/ 22 h 22"/>
                <a:gd name="T8" fmla="*/ 22 w 22"/>
                <a:gd name="T9" fmla="*/ 11 h 22"/>
              </a:gdLst>
              <a:ahLst/>
              <a:cxnLst>
                <a:cxn ang="0">
                  <a:pos x="T0" y="T1"/>
                </a:cxn>
                <a:cxn ang="0">
                  <a:pos x="T2" y="T3"/>
                </a:cxn>
                <a:cxn ang="0">
                  <a:pos x="T4" y="T5"/>
                </a:cxn>
                <a:cxn ang="0">
                  <a:pos x="T6" y="T7"/>
                </a:cxn>
                <a:cxn ang="0">
                  <a:pos x="T8" y="T9"/>
                </a:cxn>
              </a:cxnLst>
              <a:rect l="0" t="0" r="r" b="b"/>
              <a:pathLst>
                <a:path w="22" h="22">
                  <a:moveTo>
                    <a:pt x="22" y="11"/>
                  </a:moveTo>
                  <a:cubicBezTo>
                    <a:pt x="16" y="11"/>
                    <a:pt x="11" y="6"/>
                    <a:pt x="11" y="0"/>
                  </a:cubicBezTo>
                  <a:cubicBezTo>
                    <a:pt x="11" y="6"/>
                    <a:pt x="6" y="11"/>
                    <a:pt x="0" y="11"/>
                  </a:cubicBezTo>
                  <a:cubicBezTo>
                    <a:pt x="6" y="11"/>
                    <a:pt x="11" y="16"/>
                    <a:pt x="11" y="22"/>
                  </a:cubicBezTo>
                  <a:cubicBezTo>
                    <a:pt x="11" y="16"/>
                    <a:pt x="16" y="11"/>
                    <a:pt x="2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id-ID">
                <a:latin typeface="+mn-lt"/>
              </a:endParaRPr>
            </a:p>
          </p:txBody>
        </p:sp>
        <p:sp>
          <p:nvSpPr>
            <p:cNvPr id="244" name="Freeform 243"/>
            <p:cNvSpPr>
              <a:spLocks/>
            </p:cNvSpPr>
            <p:nvPr/>
          </p:nvSpPr>
          <p:spPr bwMode="auto">
            <a:xfrm flipV="1">
              <a:off x="4841876" y="3849730"/>
              <a:ext cx="212725" cy="182565"/>
            </a:xfrm>
            <a:custGeom>
              <a:avLst/>
              <a:gdLst>
                <a:gd name="T0" fmla="*/ 29 w 29"/>
                <a:gd name="T1" fmla="*/ 15 h 30"/>
                <a:gd name="T2" fmla="*/ 14 w 29"/>
                <a:gd name="T3" fmla="*/ 0 h 30"/>
                <a:gd name="T4" fmla="*/ 0 w 29"/>
                <a:gd name="T5" fmla="*/ 15 h 30"/>
                <a:gd name="T6" fmla="*/ 14 w 29"/>
                <a:gd name="T7" fmla="*/ 30 h 30"/>
                <a:gd name="T8" fmla="*/ 29 w 29"/>
                <a:gd name="T9" fmla="*/ 15 h 30"/>
              </a:gdLst>
              <a:ahLst/>
              <a:cxnLst>
                <a:cxn ang="0">
                  <a:pos x="T0" y="T1"/>
                </a:cxn>
                <a:cxn ang="0">
                  <a:pos x="T2" y="T3"/>
                </a:cxn>
                <a:cxn ang="0">
                  <a:pos x="T4" y="T5"/>
                </a:cxn>
                <a:cxn ang="0">
                  <a:pos x="T6" y="T7"/>
                </a:cxn>
                <a:cxn ang="0">
                  <a:pos x="T8" y="T9"/>
                </a:cxn>
              </a:cxnLst>
              <a:rect l="0" t="0" r="r" b="b"/>
              <a:pathLst>
                <a:path w="29" h="30">
                  <a:moveTo>
                    <a:pt x="29" y="15"/>
                  </a:moveTo>
                  <a:cubicBezTo>
                    <a:pt x="21" y="15"/>
                    <a:pt x="14" y="8"/>
                    <a:pt x="14" y="0"/>
                  </a:cubicBezTo>
                  <a:cubicBezTo>
                    <a:pt x="14" y="8"/>
                    <a:pt x="8" y="15"/>
                    <a:pt x="0" y="15"/>
                  </a:cubicBezTo>
                  <a:cubicBezTo>
                    <a:pt x="8" y="15"/>
                    <a:pt x="14" y="21"/>
                    <a:pt x="14" y="30"/>
                  </a:cubicBezTo>
                  <a:cubicBezTo>
                    <a:pt x="14" y="21"/>
                    <a:pt x="21" y="15"/>
                    <a:pt x="29"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id-ID">
                <a:latin typeface="+mn-lt"/>
              </a:endParaRPr>
            </a:p>
          </p:txBody>
        </p:sp>
        <p:sp>
          <p:nvSpPr>
            <p:cNvPr id="245" name="Freeform 244"/>
            <p:cNvSpPr>
              <a:spLocks/>
            </p:cNvSpPr>
            <p:nvPr/>
          </p:nvSpPr>
          <p:spPr bwMode="auto">
            <a:xfrm flipV="1">
              <a:off x="3529014" y="5286434"/>
              <a:ext cx="133350" cy="109539"/>
            </a:xfrm>
            <a:custGeom>
              <a:avLst/>
              <a:gdLst>
                <a:gd name="T0" fmla="*/ 18 w 18"/>
                <a:gd name="T1" fmla="*/ 9 h 18"/>
                <a:gd name="T2" fmla="*/ 9 w 18"/>
                <a:gd name="T3" fmla="*/ 0 h 18"/>
                <a:gd name="T4" fmla="*/ 0 w 18"/>
                <a:gd name="T5" fmla="*/ 9 h 18"/>
                <a:gd name="T6" fmla="*/ 9 w 18"/>
                <a:gd name="T7" fmla="*/ 18 h 18"/>
                <a:gd name="T8" fmla="*/ 18 w 18"/>
                <a:gd name="T9" fmla="*/ 9 h 18"/>
              </a:gdLst>
              <a:ahLst/>
              <a:cxnLst>
                <a:cxn ang="0">
                  <a:pos x="T0" y="T1"/>
                </a:cxn>
                <a:cxn ang="0">
                  <a:pos x="T2" y="T3"/>
                </a:cxn>
                <a:cxn ang="0">
                  <a:pos x="T4" y="T5"/>
                </a:cxn>
                <a:cxn ang="0">
                  <a:pos x="T6" y="T7"/>
                </a:cxn>
                <a:cxn ang="0">
                  <a:pos x="T8" y="T9"/>
                </a:cxn>
              </a:cxnLst>
              <a:rect l="0" t="0" r="r" b="b"/>
              <a:pathLst>
                <a:path w="18" h="18">
                  <a:moveTo>
                    <a:pt x="18" y="9"/>
                  </a:moveTo>
                  <a:cubicBezTo>
                    <a:pt x="13" y="9"/>
                    <a:pt x="9" y="5"/>
                    <a:pt x="9" y="0"/>
                  </a:cubicBezTo>
                  <a:cubicBezTo>
                    <a:pt x="9" y="5"/>
                    <a:pt x="5" y="9"/>
                    <a:pt x="0" y="9"/>
                  </a:cubicBezTo>
                  <a:cubicBezTo>
                    <a:pt x="5" y="9"/>
                    <a:pt x="9" y="13"/>
                    <a:pt x="9" y="18"/>
                  </a:cubicBezTo>
                  <a:cubicBezTo>
                    <a:pt x="9" y="13"/>
                    <a:pt x="13" y="9"/>
                    <a:pt x="18"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id-ID">
                <a:latin typeface="+mn-lt"/>
              </a:endParaRPr>
            </a:p>
          </p:txBody>
        </p:sp>
        <p:sp>
          <p:nvSpPr>
            <p:cNvPr id="246" name="Freeform 245"/>
            <p:cNvSpPr>
              <a:spLocks/>
            </p:cNvSpPr>
            <p:nvPr/>
          </p:nvSpPr>
          <p:spPr bwMode="auto">
            <a:xfrm flipV="1">
              <a:off x="5291139" y="6046856"/>
              <a:ext cx="220663" cy="176214"/>
            </a:xfrm>
            <a:custGeom>
              <a:avLst/>
              <a:gdLst>
                <a:gd name="T0" fmla="*/ 30 w 30"/>
                <a:gd name="T1" fmla="*/ 15 h 29"/>
                <a:gd name="T2" fmla="*/ 15 w 30"/>
                <a:gd name="T3" fmla="*/ 0 h 29"/>
                <a:gd name="T4" fmla="*/ 0 w 30"/>
                <a:gd name="T5" fmla="*/ 15 h 29"/>
                <a:gd name="T6" fmla="*/ 15 w 30"/>
                <a:gd name="T7" fmla="*/ 29 h 29"/>
                <a:gd name="T8" fmla="*/ 30 w 30"/>
                <a:gd name="T9" fmla="*/ 15 h 29"/>
              </a:gdLst>
              <a:ahLst/>
              <a:cxnLst>
                <a:cxn ang="0">
                  <a:pos x="T0" y="T1"/>
                </a:cxn>
                <a:cxn ang="0">
                  <a:pos x="T2" y="T3"/>
                </a:cxn>
                <a:cxn ang="0">
                  <a:pos x="T4" y="T5"/>
                </a:cxn>
                <a:cxn ang="0">
                  <a:pos x="T6" y="T7"/>
                </a:cxn>
                <a:cxn ang="0">
                  <a:pos x="T8" y="T9"/>
                </a:cxn>
              </a:cxnLst>
              <a:rect l="0" t="0" r="r" b="b"/>
              <a:pathLst>
                <a:path w="30" h="29">
                  <a:moveTo>
                    <a:pt x="30" y="15"/>
                  </a:moveTo>
                  <a:cubicBezTo>
                    <a:pt x="22" y="15"/>
                    <a:pt x="15" y="8"/>
                    <a:pt x="15" y="0"/>
                  </a:cubicBezTo>
                  <a:cubicBezTo>
                    <a:pt x="15" y="8"/>
                    <a:pt x="8" y="15"/>
                    <a:pt x="0" y="15"/>
                  </a:cubicBezTo>
                  <a:cubicBezTo>
                    <a:pt x="8" y="15"/>
                    <a:pt x="15" y="21"/>
                    <a:pt x="15" y="29"/>
                  </a:cubicBezTo>
                  <a:cubicBezTo>
                    <a:pt x="15" y="21"/>
                    <a:pt x="22" y="15"/>
                    <a:pt x="30"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id-ID">
                <a:latin typeface="+mn-lt"/>
              </a:endParaRPr>
            </a:p>
          </p:txBody>
        </p:sp>
        <p:sp>
          <p:nvSpPr>
            <p:cNvPr id="247" name="Freeform 246"/>
            <p:cNvSpPr>
              <a:spLocks/>
            </p:cNvSpPr>
            <p:nvPr/>
          </p:nvSpPr>
          <p:spPr bwMode="auto">
            <a:xfrm flipV="1">
              <a:off x="11985627" y="6023043"/>
              <a:ext cx="214313" cy="176214"/>
            </a:xfrm>
            <a:custGeom>
              <a:avLst/>
              <a:gdLst>
                <a:gd name="T0" fmla="*/ 29 w 29"/>
                <a:gd name="T1" fmla="*/ 15 h 29"/>
                <a:gd name="T2" fmla="*/ 15 w 29"/>
                <a:gd name="T3" fmla="*/ 0 h 29"/>
                <a:gd name="T4" fmla="*/ 0 w 29"/>
                <a:gd name="T5" fmla="*/ 15 h 29"/>
                <a:gd name="T6" fmla="*/ 15 w 29"/>
                <a:gd name="T7" fmla="*/ 29 h 29"/>
                <a:gd name="T8" fmla="*/ 29 w 29"/>
                <a:gd name="T9" fmla="*/ 15 h 29"/>
              </a:gdLst>
              <a:ahLst/>
              <a:cxnLst>
                <a:cxn ang="0">
                  <a:pos x="T0" y="T1"/>
                </a:cxn>
                <a:cxn ang="0">
                  <a:pos x="T2" y="T3"/>
                </a:cxn>
                <a:cxn ang="0">
                  <a:pos x="T4" y="T5"/>
                </a:cxn>
                <a:cxn ang="0">
                  <a:pos x="T6" y="T7"/>
                </a:cxn>
                <a:cxn ang="0">
                  <a:pos x="T8" y="T9"/>
                </a:cxn>
              </a:cxnLst>
              <a:rect l="0" t="0" r="r" b="b"/>
              <a:pathLst>
                <a:path w="29" h="29">
                  <a:moveTo>
                    <a:pt x="29" y="15"/>
                  </a:moveTo>
                  <a:cubicBezTo>
                    <a:pt x="21" y="15"/>
                    <a:pt x="15" y="8"/>
                    <a:pt x="15" y="0"/>
                  </a:cubicBezTo>
                  <a:cubicBezTo>
                    <a:pt x="15" y="8"/>
                    <a:pt x="8" y="15"/>
                    <a:pt x="0" y="15"/>
                  </a:cubicBezTo>
                  <a:cubicBezTo>
                    <a:pt x="8" y="15"/>
                    <a:pt x="15" y="21"/>
                    <a:pt x="15" y="29"/>
                  </a:cubicBezTo>
                  <a:cubicBezTo>
                    <a:pt x="15" y="21"/>
                    <a:pt x="21" y="15"/>
                    <a:pt x="29"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id-ID">
                <a:latin typeface="+mn-lt"/>
              </a:endParaRPr>
            </a:p>
          </p:txBody>
        </p:sp>
        <p:sp>
          <p:nvSpPr>
            <p:cNvPr id="248" name="Oval 247"/>
            <p:cNvSpPr>
              <a:spLocks noChangeArrowheads="1"/>
            </p:cNvSpPr>
            <p:nvPr/>
          </p:nvSpPr>
          <p:spPr bwMode="auto">
            <a:xfrm flipV="1">
              <a:off x="8712202" y="5329298"/>
              <a:ext cx="50800" cy="412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id-ID">
                <a:latin typeface="+mn-lt"/>
              </a:endParaRPr>
            </a:p>
          </p:txBody>
        </p:sp>
        <p:sp>
          <p:nvSpPr>
            <p:cNvPr id="249" name="Oval 248"/>
            <p:cNvSpPr>
              <a:spLocks noChangeArrowheads="1"/>
            </p:cNvSpPr>
            <p:nvPr/>
          </p:nvSpPr>
          <p:spPr bwMode="auto">
            <a:xfrm flipV="1">
              <a:off x="4848226" y="5346760"/>
              <a:ext cx="52388" cy="428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id-ID">
                <a:latin typeface="+mn-lt"/>
              </a:endParaRPr>
            </a:p>
          </p:txBody>
        </p:sp>
        <p:sp>
          <p:nvSpPr>
            <p:cNvPr id="250" name="Oval 249"/>
            <p:cNvSpPr>
              <a:spLocks noChangeArrowheads="1"/>
            </p:cNvSpPr>
            <p:nvPr/>
          </p:nvSpPr>
          <p:spPr bwMode="auto">
            <a:xfrm flipV="1">
              <a:off x="11041065" y="6826327"/>
              <a:ext cx="52388" cy="428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id-ID">
                <a:latin typeface="+mn-lt"/>
              </a:endParaRPr>
            </a:p>
          </p:txBody>
        </p:sp>
        <p:sp>
          <p:nvSpPr>
            <p:cNvPr id="251" name="Oval 250"/>
            <p:cNvSpPr>
              <a:spLocks noChangeArrowheads="1"/>
            </p:cNvSpPr>
            <p:nvPr/>
          </p:nvSpPr>
          <p:spPr bwMode="auto">
            <a:xfrm flipV="1">
              <a:off x="9426577" y="6813627"/>
              <a:ext cx="38100" cy="254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id-ID">
                <a:latin typeface="+mn-lt"/>
              </a:endParaRPr>
            </a:p>
          </p:txBody>
        </p:sp>
        <p:sp>
          <p:nvSpPr>
            <p:cNvPr id="252" name="Oval 251"/>
            <p:cNvSpPr>
              <a:spLocks noChangeArrowheads="1"/>
            </p:cNvSpPr>
            <p:nvPr/>
          </p:nvSpPr>
          <p:spPr bwMode="auto">
            <a:xfrm flipV="1">
              <a:off x="992188" y="5662677"/>
              <a:ext cx="30163" cy="254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id-ID">
                <a:latin typeface="+mn-lt"/>
              </a:endParaRPr>
            </a:p>
          </p:txBody>
        </p:sp>
        <p:sp>
          <p:nvSpPr>
            <p:cNvPr id="253" name="Oval 252"/>
            <p:cNvSpPr>
              <a:spLocks noChangeArrowheads="1"/>
            </p:cNvSpPr>
            <p:nvPr/>
          </p:nvSpPr>
          <p:spPr bwMode="auto">
            <a:xfrm flipV="1">
              <a:off x="7974014" y="4549826"/>
              <a:ext cx="30163" cy="30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id-ID">
                <a:latin typeface="+mn-lt"/>
              </a:endParaRPr>
            </a:p>
          </p:txBody>
        </p:sp>
        <p:sp>
          <p:nvSpPr>
            <p:cNvPr id="254" name="Oval 253"/>
            <p:cNvSpPr>
              <a:spLocks noChangeArrowheads="1"/>
            </p:cNvSpPr>
            <p:nvPr/>
          </p:nvSpPr>
          <p:spPr bwMode="auto">
            <a:xfrm flipV="1">
              <a:off x="11941177" y="3952919"/>
              <a:ext cx="36513" cy="30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id-ID">
                <a:latin typeface="+mn-lt"/>
              </a:endParaRPr>
            </a:p>
          </p:txBody>
        </p:sp>
        <p:sp>
          <p:nvSpPr>
            <p:cNvPr id="255" name="Oval 254"/>
            <p:cNvSpPr>
              <a:spLocks noChangeArrowheads="1"/>
            </p:cNvSpPr>
            <p:nvPr/>
          </p:nvSpPr>
          <p:spPr bwMode="auto">
            <a:xfrm flipV="1">
              <a:off x="10725152" y="1450991"/>
              <a:ext cx="36513" cy="238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id-ID">
                <a:latin typeface="+mn-lt"/>
              </a:endParaRPr>
            </a:p>
          </p:txBody>
        </p:sp>
        <p:sp>
          <p:nvSpPr>
            <p:cNvPr id="256" name="Oval 255"/>
            <p:cNvSpPr>
              <a:spLocks noChangeArrowheads="1"/>
            </p:cNvSpPr>
            <p:nvPr/>
          </p:nvSpPr>
          <p:spPr bwMode="auto">
            <a:xfrm flipV="1">
              <a:off x="6434139" y="5907154"/>
              <a:ext cx="28575" cy="238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id-ID">
                <a:latin typeface="+mn-lt"/>
              </a:endParaRPr>
            </a:p>
          </p:txBody>
        </p:sp>
        <p:sp>
          <p:nvSpPr>
            <p:cNvPr id="257" name="Oval 256"/>
            <p:cNvSpPr>
              <a:spLocks noChangeArrowheads="1"/>
            </p:cNvSpPr>
            <p:nvPr/>
          </p:nvSpPr>
          <p:spPr bwMode="auto">
            <a:xfrm flipV="1">
              <a:off x="7458077" y="6515174"/>
              <a:ext cx="30163" cy="254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id-ID">
                <a:latin typeface="+mn-lt"/>
              </a:endParaRPr>
            </a:p>
          </p:txBody>
        </p:sp>
        <p:sp>
          <p:nvSpPr>
            <p:cNvPr id="258" name="Oval 257"/>
            <p:cNvSpPr>
              <a:spLocks noChangeArrowheads="1"/>
            </p:cNvSpPr>
            <p:nvPr/>
          </p:nvSpPr>
          <p:spPr bwMode="auto">
            <a:xfrm flipV="1">
              <a:off x="12701" y="5511862"/>
              <a:ext cx="28575" cy="238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id-ID">
                <a:latin typeface="+mn-lt"/>
              </a:endParaRPr>
            </a:p>
          </p:txBody>
        </p:sp>
        <p:sp>
          <p:nvSpPr>
            <p:cNvPr id="259" name="Oval 258"/>
            <p:cNvSpPr>
              <a:spLocks noChangeArrowheads="1"/>
            </p:cNvSpPr>
            <p:nvPr/>
          </p:nvSpPr>
          <p:spPr bwMode="auto">
            <a:xfrm flipV="1">
              <a:off x="3624264" y="3940219"/>
              <a:ext cx="30163" cy="238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id-ID">
                <a:latin typeface="+mn-lt"/>
              </a:endParaRPr>
            </a:p>
          </p:txBody>
        </p:sp>
        <p:sp>
          <p:nvSpPr>
            <p:cNvPr id="260" name="Oval 259"/>
            <p:cNvSpPr>
              <a:spLocks noChangeArrowheads="1"/>
            </p:cNvSpPr>
            <p:nvPr/>
          </p:nvSpPr>
          <p:spPr bwMode="auto">
            <a:xfrm flipV="1">
              <a:off x="763588" y="3446501"/>
              <a:ext cx="30163" cy="254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id-ID">
                <a:latin typeface="+mn-lt"/>
              </a:endParaRPr>
            </a:p>
          </p:txBody>
        </p:sp>
        <p:sp>
          <p:nvSpPr>
            <p:cNvPr id="261" name="Oval 260"/>
            <p:cNvSpPr>
              <a:spLocks noChangeArrowheads="1"/>
            </p:cNvSpPr>
            <p:nvPr/>
          </p:nvSpPr>
          <p:spPr bwMode="auto">
            <a:xfrm flipV="1">
              <a:off x="10437815" y="-4763"/>
              <a:ext cx="28575" cy="238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id-ID">
                <a:latin typeface="+mn-lt"/>
              </a:endParaRPr>
            </a:p>
          </p:txBody>
        </p:sp>
        <p:sp>
          <p:nvSpPr>
            <p:cNvPr id="262" name="Oval 261"/>
            <p:cNvSpPr>
              <a:spLocks noChangeArrowheads="1"/>
            </p:cNvSpPr>
            <p:nvPr/>
          </p:nvSpPr>
          <p:spPr bwMode="auto">
            <a:xfrm flipV="1">
              <a:off x="5837239" y="1163651"/>
              <a:ext cx="28575" cy="254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id-ID">
                <a:latin typeface="+mn-lt"/>
              </a:endParaRPr>
            </a:p>
          </p:txBody>
        </p:sp>
        <p:sp>
          <p:nvSpPr>
            <p:cNvPr id="263" name="Oval 262"/>
            <p:cNvSpPr>
              <a:spLocks noChangeArrowheads="1"/>
            </p:cNvSpPr>
            <p:nvPr/>
          </p:nvSpPr>
          <p:spPr bwMode="auto">
            <a:xfrm flipV="1">
              <a:off x="196851" y="860434"/>
              <a:ext cx="28575" cy="238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id-ID">
                <a:latin typeface="+mn-lt"/>
              </a:endParaRPr>
            </a:p>
          </p:txBody>
        </p:sp>
        <p:sp>
          <p:nvSpPr>
            <p:cNvPr id="264" name="Oval 263"/>
            <p:cNvSpPr>
              <a:spLocks noChangeArrowheads="1"/>
            </p:cNvSpPr>
            <p:nvPr/>
          </p:nvSpPr>
          <p:spPr bwMode="auto">
            <a:xfrm flipV="1">
              <a:off x="4560889" y="3319499"/>
              <a:ext cx="36513" cy="238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id-ID">
                <a:latin typeface="+mn-lt"/>
              </a:endParaRPr>
            </a:p>
          </p:txBody>
        </p:sp>
        <p:sp>
          <p:nvSpPr>
            <p:cNvPr id="265" name="Oval 264"/>
            <p:cNvSpPr>
              <a:spLocks noChangeArrowheads="1"/>
            </p:cNvSpPr>
            <p:nvPr/>
          </p:nvSpPr>
          <p:spPr bwMode="auto">
            <a:xfrm flipV="1">
              <a:off x="2533651" y="6034156"/>
              <a:ext cx="30163" cy="254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id-ID">
                <a:latin typeface="+mn-lt"/>
              </a:endParaRPr>
            </a:p>
          </p:txBody>
        </p:sp>
        <p:sp>
          <p:nvSpPr>
            <p:cNvPr id="266" name="Oval 265"/>
            <p:cNvSpPr>
              <a:spLocks noChangeArrowheads="1"/>
            </p:cNvSpPr>
            <p:nvPr/>
          </p:nvSpPr>
          <p:spPr bwMode="auto">
            <a:xfrm flipV="1">
              <a:off x="8202614" y="6802514"/>
              <a:ext cx="38100" cy="238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id-ID">
                <a:latin typeface="+mn-lt"/>
              </a:endParaRPr>
            </a:p>
          </p:txBody>
        </p:sp>
        <p:sp>
          <p:nvSpPr>
            <p:cNvPr id="267" name="Oval 266"/>
            <p:cNvSpPr>
              <a:spLocks noChangeArrowheads="1"/>
            </p:cNvSpPr>
            <p:nvPr/>
          </p:nvSpPr>
          <p:spPr bwMode="auto">
            <a:xfrm flipV="1">
              <a:off x="9663115" y="5207058"/>
              <a:ext cx="36513" cy="238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id-ID">
                <a:latin typeface="+mn-lt"/>
              </a:endParaRPr>
            </a:p>
          </p:txBody>
        </p:sp>
        <p:sp>
          <p:nvSpPr>
            <p:cNvPr id="268" name="Oval 31"/>
            <p:cNvSpPr>
              <a:spLocks noChangeArrowheads="1"/>
            </p:cNvSpPr>
            <p:nvPr/>
          </p:nvSpPr>
          <p:spPr bwMode="auto">
            <a:xfrm flipV="1">
              <a:off x="3905251" y="6813627"/>
              <a:ext cx="28575" cy="254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id-ID">
                <a:latin typeface="+mn-lt"/>
              </a:endParaRPr>
            </a:p>
          </p:txBody>
        </p:sp>
        <p:sp>
          <p:nvSpPr>
            <p:cNvPr id="269" name="Oval 32"/>
            <p:cNvSpPr>
              <a:spLocks noChangeArrowheads="1"/>
            </p:cNvSpPr>
            <p:nvPr/>
          </p:nvSpPr>
          <p:spPr bwMode="auto">
            <a:xfrm flipV="1">
              <a:off x="11963402" y="5303897"/>
              <a:ext cx="50800" cy="428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id-ID">
                <a:latin typeface="+mn-lt"/>
              </a:endParaRPr>
            </a:p>
          </p:txBody>
        </p:sp>
        <p:sp>
          <p:nvSpPr>
            <p:cNvPr id="270" name="Oval 33"/>
            <p:cNvSpPr>
              <a:spLocks noChangeArrowheads="1"/>
            </p:cNvSpPr>
            <p:nvPr/>
          </p:nvSpPr>
          <p:spPr bwMode="auto">
            <a:xfrm flipV="1">
              <a:off x="10267952" y="6192907"/>
              <a:ext cx="50800" cy="428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id-ID">
                <a:latin typeface="+mn-lt"/>
              </a:endParaRPr>
            </a:p>
          </p:txBody>
        </p:sp>
        <p:sp>
          <p:nvSpPr>
            <p:cNvPr id="271" name="Oval 34"/>
            <p:cNvSpPr>
              <a:spLocks noChangeArrowheads="1"/>
            </p:cNvSpPr>
            <p:nvPr/>
          </p:nvSpPr>
          <p:spPr bwMode="auto">
            <a:xfrm flipV="1">
              <a:off x="9398002" y="4835579"/>
              <a:ext cx="44450" cy="428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id-ID">
                <a:latin typeface="+mn-lt"/>
              </a:endParaRPr>
            </a:p>
          </p:txBody>
        </p:sp>
        <p:sp>
          <p:nvSpPr>
            <p:cNvPr id="272" name="Oval 35"/>
            <p:cNvSpPr>
              <a:spLocks noChangeArrowheads="1"/>
            </p:cNvSpPr>
            <p:nvPr/>
          </p:nvSpPr>
          <p:spPr bwMode="auto">
            <a:xfrm flipV="1">
              <a:off x="9058277" y="2855944"/>
              <a:ext cx="52388" cy="428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id-ID">
                <a:latin typeface="+mn-lt"/>
              </a:endParaRPr>
            </a:p>
          </p:txBody>
        </p:sp>
        <p:sp>
          <p:nvSpPr>
            <p:cNvPr id="273" name="Oval 36"/>
            <p:cNvSpPr>
              <a:spLocks noChangeArrowheads="1"/>
            </p:cNvSpPr>
            <p:nvPr/>
          </p:nvSpPr>
          <p:spPr bwMode="auto">
            <a:xfrm flipV="1">
              <a:off x="6891339" y="4853042"/>
              <a:ext cx="50800" cy="428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id-ID">
                <a:latin typeface="+mn-lt"/>
              </a:endParaRPr>
            </a:p>
          </p:txBody>
        </p:sp>
      </p:grpSp>
      <p:grpSp>
        <p:nvGrpSpPr>
          <p:cNvPr id="22" name="Group 21"/>
          <p:cNvGrpSpPr/>
          <p:nvPr/>
        </p:nvGrpSpPr>
        <p:grpSpPr>
          <a:xfrm rot="4415478">
            <a:off x="2061982" y="2654377"/>
            <a:ext cx="533005" cy="1430346"/>
            <a:chOff x="2681146" y="1621287"/>
            <a:chExt cx="393376" cy="1055646"/>
          </a:xfrm>
          <a:solidFill>
            <a:srgbClr val="55CBC5"/>
          </a:solidFill>
          <a:effectLst>
            <a:outerShdw blurRad="50800" dist="38100" dir="2700000" algn="tl" rotWithShape="0">
              <a:prstClr val="black">
                <a:alpha val="11000"/>
              </a:prstClr>
            </a:outerShdw>
          </a:effectLst>
        </p:grpSpPr>
        <p:sp>
          <p:nvSpPr>
            <p:cNvPr id="23" name="Freeform 140"/>
            <p:cNvSpPr>
              <a:spLocks/>
            </p:cNvSpPr>
            <p:nvPr/>
          </p:nvSpPr>
          <p:spPr bwMode="auto">
            <a:xfrm>
              <a:off x="2969953" y="2276916"/>
              <a:ext cx="104569" cy="263912"/>
            </a:xfrm>
            <a:custGeom>
              <a:avLst/>
              <a:gdLst>
                <a:gd name="T0" fmla="*/ 66 w 190"/>
                <a:gd name="T1" fmla="*/ 13 h 475"/>
                <a:gd name="T2" fmla="*/ 66 w 190"/>
                <a:gd name="T3" fmla="*/ 13 h 475"/>
                <a:gd name="T4" fmla="*/ 63 w 190"/>
                <a:gd name="T5" fmla="*/ 34 h 475"/>
                <a:gd name="T6" fmla="*/ 61 w 190"/>
                <a:gd name="T7" fmla="*/ 57 h 475"/>
                <a:gd name="T8" fmla="*/ 53 w 190"/>
                <a:gd name="T9" fmla="*/ 110 h 475"/>
                <a:gd name="T10" fmla="*/ 42 w 190"/>
                <a:gd name="T11" fmla="*/ 167 h 475"/>
                <a:gd name="T12" fmla="*/ 31 w 190"/>
                <a:gd name="T13" fmla="*/ 223 h 475"/>
                <a:gd name="T14" fmla="*/ 8 w 190"/>
                <a:gd name="T15" fmla="*/ 317 h 475"/>
                <a:gd name="T16" fmla="*/ 0 w 190"/>
                <a:gd name="T17" fmla="*/ 356 h 475"/>
                <a:gd name="T18" fmla="*/ 0 w 190"/>
                <a:gd name="T19" fmla="*/ 356 h 475"/>
                <a:gd name="T20" fmla="*/ 10 w 190"/>
                <a:gd name="T21" fmla="*/ 348 h 475"/>
                <a:gd name="T22" fmla="*/ 20 w 190"/>
                <a:gd name="T23" fmla="*/ 343 h 475"/>
                <a:gd name="T24" fmla="*/ 28 w 190"/>
                <a:gd name="T25" fmla="*/ 339 h 475"/>
                <a:gd name="T26" fmla="*/ 37 w 190"/>
                <a:gd name="T27" fmla="*/ 337 h 475"/>
                <a:gd name="T28" fmla="*/ 46 w 190"/>
                <a:gd name="T29" fmla="*/ 336 h 475"/>
                <a:gd name="T30" fmla="*/ 53 w 190"/>
                <a:gd name="T31" fmla="*/ 336 h 475"/>
                <a:gd name="T32" fmla="*/ 59 w 190"/>
                <a:gd name="T33" fmla="*/ 337 h 475"/>
                <a:gd name="T34" fmla="*/ 66 w 190"/>
                <a:gd name="T35" fmla="*/ 338 h 475"/>
                <a:gd name="T36" fmla="*/ 72 w 190"/>
                <a:gd name="T37" fmla="*/ 342 h 475"/>
                <a:gd name="T38" fmla="*/ 78 w 190"/>
                <a:gd name="T39" fmla="*/ 346 h 475"/>
                <a:gd name="T40" fmla="*/ 83 w 190"/>
                <a:gd name="T41" fmla="*/ 351 h 475"/>
                <a:gd name="T42" fmla="*/ 87 w 190"/>
                <a:gd name="T43" fmla="*/ 357 h 475"/>
                <a:gd name="T44" fmla="*/ 95 w 190"/>
                <a:gd name="T45" fmla="*/ 369 h 475"/>
                <a:gd name="T46" fmla="*/ 102 w 190"/>
                <a:gd name="T47" fmla="*/ 384 h 475"/>
                <a:gd name="T48" fmla="*/ 107 w 190"/>
                <a:gd name="T49" fmla="*/ 399 h 475"/>
                <a:gd name="T50" fmla="*/ 112 w 190"/>
                <a:gd name="T51" fmla="*/ 415 h 475"/>
                <a:gd name="T52" fmla="*/ 114 w 190"/>
                <a:gd name="T53" fmla="*/ 430 h 475"/>
                <a:gd name="T54" fmla="*/ 117 w 190"/>
                <a:gd name="T55" fmla="*/ 444 h 475"/>
                <a:gd name="T56" fmla="*/ 118 w 190"/>
                <a:gd name="T57" fmla="*/ 466 h 475"/>
                <a:gd name="T58" fmla="*/ 119 w 190"/>
                <a:gd name="T59" fmla="*/ 475 h 475"/>
                <a:gd name="T60" fmla="*/ 119 w 190"/>
                <a:gd name="T61" fmla="*/ 475 h 475"/>
                <a:gd name="T62" fmla="*/ 135 w 190"/>
                <a:gd name="T63" fmla="*/ 421 h 475"/>
                <a:gd name="T64" fmla="*/ 149 w 190"/>
                <a:gd name="T65" fmla="*/ 372 h 475"/>
                <a:gd name="T66" fmla="*/ 161 w 190"/>
                <a:gd name="T67" fmla="*/ 327 h 475"/>
                <a:gd name="T68" fmla="*/ 170 w 190"/>
                <a:gd name="T69" fmla="*/ 286 h 475"/>
                <a:gd name="T70" fmla="*/ 177 w 190"/>
                <a:gd name="T71" fmla="*/ 248 h 475"/>
                <a:gd name="T72" fmla="*/ 184 w 190"/>
                <a:gd name="T73" fmla="*/ 213 h 475"/>
                <a:gd name="T74" fmla="*/ 187 w 190"/>
                <a:gd name="T75" fmla="*/ 182 h 475"/>
                <a:gd name="T76" fmla="*/ 190 w 190"/>
                <a:gd name="T77" fmla="*/ 153 h 475"/>
                <a:gd name="T78" fmla="*/ 190 w 190"/>
                <a:gd name="T79" fmla="*/ 128 h 475"/>
                <a:gd name="T80" fmla="*/ 189 w 190"/>
                <a:gd name="T81" fmla="*/ 106 h 475"/>
                <a:gd name="T82" fmla="*/ 187 w 190"/>
                <a:gd name="T83" fmla="*/ 86 h 475"/>
                <a:gd name="T84" fmla="*/ 184 w 190"/>
                <a:gd name="T85" fmla="*/ 70 h 475"/>
                <a:gd name="T86" fmla="*/ 180 w 190"/>
                <a:gd name="T87" fmla="*/ 55 h 475"/>
                <a:gd name="T88" fmla="*/ 175 w 190"/>
                <a:gd name="T89" fmla="*/ 41 h 475"/>
                <a:gd name="T90" fmla="*/ 169 w 190"/>
                <a:gd name="T91" fmla="*/ 31 h 475"/>
                <a:gd name="T92" fmla="*/ 163 w 190"/>
                <a:gd name="T93" fmla="*/ 23 h 475"/>
                <a:gd name="T94" fmla="*/ 155 w 190"/>
                <a:gd name="T95" fmla="*/ 15 h 475"/>
                <a:gd name="T96" fmla="*/ 148 w 190"/>
                <a:gd name="T97" fmla="*/ 10 h 475"/>
                <a:gd name="T98" fmla="*/ 139 w 190"/>
                <a:gd name="T99" fmla="*/ 5 h 475"/>
                <a:gd name="T100" fmla="*/ 131 w 190"/>
                <a:gd name="T101" fmla="*/ 3 h 475"/>
                <a:gd name="T102" fmla="*/ 123 w 190"/>
                <a:gd name="T103" fmla="*/ 2 h 475"/>
                <a:gd name="T104" fmla="*/ 115 w 190"/>
                <a:gd name="T105" fmla="*/ 0 h 475"/>
                <a:gd name="T106" fmla="*/ 100 w 190"/>
                <a:gd name="T107" fmla="*/ 2 h 475"/>
                <a:gd name="T108" fmla="*/ 86 w 190"/>
                <a:gd name="T109" fmla="*/ 4 h 475"/>
                <a:gd name="T110" fmla="*/ 76 w 190"/>
                <a:gd name="T111" fmla="*/ 8 h 475"/>
                <a:gd name="T112" fmla="*/ 66 w 190"/>
                <a:gd name="T113" fmla="*/ 13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0" h="475">
                  <a:moveTo>
                    <a:pt x="66" y="13"/>
                  </a:moveTo>
                  <a:lnTo>
                    <a:pt x="66" y="13"/>
                  </a:lnTo>
                  <a:lnTo>
                    <a:pt x="63" y="34"/>
                  </a:lnTo>
                  <a:lnTo>
                    <a:pt x="61" y="57"/>
                  </a:lnTo>
                  <a:lnTo>
                    <a:pt x="53" y="110"/>
                  </a:lnTo>
                  <a:lnTo>
                    <a:pt x="42" y="167"/>
                  </a:lnTo>
                  <a:lnTo>
                    <a:pt x="31" y="223"/>
                  </a:lnTo>
                  <a:lnTo>
                    <a:pt x="8" y="317"/>
                  </a:lnTo>
                  <a:lnTo>
                    <a:pt x="0" y="356"/>
                  </a:lnTo>
                  <a:lnTo>
                    <a:pt x="0" y="356"/>
                  </a:lnTo>
                  <a:lnTo>
                    <a:pt x="10" y="348"/>
                  </a:lnTo>
                  <a:lnTo>
                    <a:pt x="20" y="343"/>
                  </a:lnTo>
                  <a:lnTo>
                    <a:pt x="28" y="339"/>
                  </a:lnTo>
                  <a:lnTo>
                    <a:pt x="37" y="337"/>
                  </a:lnTo>
                  <a:lnTo>
                    <a:pt x="46" y="336"/>
                  </a:lnTo>
                  <a:lnTo>
                    <a:pt x="53" y="336"/>
                  </a:lnTo>
                  <a:lnTo>
                    <a:pt x="59" y="337"/>
                  </a:lnTo>
                  <a:lnTo>
                    <a:pt x="66" y="338"/>
                  </a:lnTo>
                  <a:lnTo>
                    <a:pt x="72" y="342"/>
                  </a:lnTo>
                  <a:lnTo>
                    <a:pt x="78" y="346"/>
                  </a:lnTo>
                  <a:lnTo>
                    <a:pt x="83" y="351"/>
                  </a:lnTo>
                  <a:lnTo>
                    <a:pt x="87" y="357"/>
                  </a:lnTo>
                  <a:lnTo>
                    <a:pt x="95" y="369"/>
                  </a:lnTo>
                  <a:lnTo>
                    <a:pt x="102" y="384"/>
                  </a:lnTo>
                  <a:lnTo>
                    <a:pt x="107" y="399"/>
                  </a:lnTo>
                  <a:lnTo>
                    <a:pt x="112" y="415"/>
                  </a:lnTo>
                  <a:lnTo>
                    <a:pt x="114" y="430"/>
                  </a:lnTo>
                  <a:lnTo>
                    <a:pt x="117" y="444"/>
                  </a:lnTo>
                  <a:lnTo>
                    <a:pt x="118" y="466"/>
                  </a:lnTo>
                  <a:lnTo>
                    <a:pt x="119" y="475"/>
                  </a:lnTo>
                  <a:lnTo>
                    <a:pt x="119" y="475"/>
                  </a:lnTo>
                  <a:lnTo>
                    <a:pt x="135" y="421"/>
                  </a:lnTo>
                  <a:lnTo>
                    <a:pt x="149" y="372"/>
                  </a:lnTo>
                  <a:lnTo>
                    <a:pt x="161" y="327"/>
                  </a:lnTo>
                  <a:lnTo>
                    <a:pt x="170" y="286"/>
                  </a:lnTo>
                  <a:lnTo>
                    <a:pt x="177" y="248"/>
                  </a:lnTo>
                  <a:lnTo>
                    <a:pt x="184" y="213"/>
                  </a:lnTo>
                  <a:lnTo>
                    <a:pt x="187" y="182"/>
                  </a:lnTo>
                  <a:lnTo>
                    <a:pt x="190" y="153"/>
                  </a:lnTo>
                  <a:lnTo>
                    <a:pt x="190" y="128"/>
                  </a:lnTo>
                  <a:lnTo>
                    <a:pt x="189" y="106"/>
                  </a:lnTo>
                  <a:lnTo>
                    <a:pt x="187" y="86"/>
                  </a:lnTo>
                  <a:lnTo>
                    <a:pt x="184" y="70"/>
                  </a:lnTo>
                  <a:lnTo>
                    <a:pt x="180" y="55"/>
                  </a:lnTo>
                  <a:lnTo>
                    <a:pt x="175" y="41"/>
                  </a:lnTo>
                  <a:lnTo>
                    <a:pt x="169" y="31"/>
                  </a:lnTo>
                  <a:lnTo>
                    <a:pt x="163" y="23"/>
                  </a:lnTo>
                  <a:lnTo>
                    <a:pt x="155" y="15"/>
                  </a:lnTo>
                  <a:lnTo>
                    <a:pt x="148" y="10"/>
                  </a:lnTo>
                  <a:lnTo>
                    <a:pt x="139" y="5"/>
                  </a:lnTo>
                  <a:lnTo>
                    <a:pt x="131" y="3"/>
                  </a:lnTo>
                  <a:lnTo>
                    <a:pt x="123" y="2"/>
                  </a:lnTo>
                  <a:lnTo>
                    <a:pt x="115" y="0"/>
                  </a:lnTo>
                  <a:lnTo>
                    <a:pt x="100" y="2"/>
                  </a:lnTo>
                  <a:lnTo>
                    <a:pt x="86" y="4"/>
                  </a:lnTo>
                  <a:lnTo>
                    <a:pt x="76" y="8"/>
                  </a:lnTo>
                  <a:lnTo>
                    <a:pt x="66" y="13"/>
                  </a:lnTo>
                  <a:close/>
                </a:path>
              </a:pathLst>
            </a:custGeom>
            <a:solidFill>
              <a:srgbClr val="55CBC5"/>
            </a:solidFill>
            <a:ln>
              <a:noFill/>
            </a:ln>
            <a:effectLst>
              <a:outerShdw blurRad="50800" dist="38100" dir="18900000" algn="bl"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5" name="Freeform 142"/>
            <p:cNvSpPr>
              <a:spLocks/>
            </p:cNvSpPr>
            <p:nvPr/>
          </p:nvSpPr>
          <p:spPr bwMode="auto">
            <a:xfrm>
              <a:off x="2681146" y="2276917"/>
              <a:ext cx="104569" cy="263912"/>
            </a:xfrm>
            <a:custGeom>
              <a:avLst/>
              <a:gdLst>
                <a:gd name="T0" fmla="*/ 71 w 191"/>
                <a:gd name="T1" fmla="*/ 475 h 475"/>
                <a:gd name="T2" fmla="*/ 71 w 191"/>
                <a:gd name="T3" fmla="*/ 475 h 475"/>
                <a:gd name="T4" fmla="*/ 72 w 191"/>
                <a:gd name="T5" fmla="*/ 466 h 475"/>
                <a:gd name="T6" fmla="*/ 73 w 191"/>
                <a:gd name="T7" fmla="*/ 444 h 475"/>
                <a:gd name="T8" fmla="*/ 76 w 191"/>
                <a:gd name="T9" fmla="*/ 430 h 475"/>
                <a:gd name="T10" fmla="*/ 79 w 191"/>
                <a:gd name="T11" fmla="*/ 415 h 475"/>
                <a:gd name="T12" fmla="*/ 83 w 191"/>
                <a:gd name="T13" fmla="*/ 399 h 475"/>
                <a:gd name="T14" fmla="*/ 88 w 191"/>
                <a:gd name="T15" fmla="*/ 384 h 475"/>
                <a:gd name="T16" fmla="*/ 94 w 191"/>
                <a:gd name="T17" fmla="*/ 369 h 475"/>
                <a:gd name="T18" fmla="*/ 103 w 191"/>
                <a:gd name="T19" fmla="*/ 357 h 475"/>
                <a:gd name="T20" fmla="*/ 107 w 191"/>
                <a:gd name="T21" fmla="*/ 351 h 475"/>
                <a:gd name="T22" fmla="*/ 113 w 191"/>
                <a:gd name="T23" fmla="*/ 346 h 475"/>
                <a:gd name="T24" fmla="*/ 118 w 191"/>
                <a:gd name="T25" fmla="*/ 342 h 475"/>
                <a:gd name="T26" fmla="*/ 124 w 191"/>
                <a:gd name="T27" fmla="*/ 338 h 475"/>
                <a:gd name="T28" fmla="*/ 130 w 191"/>
                <a:gd name="T29" fmla="*/ 337 h 475"/>
                <a:gd name="T30" fmla="*/ 138 w 191"/>
                <a:gd name="T31" fmla="*/ 336 h 475"/>
                <a:gd name="T32" fmla="*/ 145 w 191"/>
                <a:gd name="T33" fmla="*/ 336 h 475"/>
                <a:gd name="T34" fmla="*/ 153 w 191"/>
                <a:gd name="T35" fmla="*/ 337 h 475"/>
                <a:gd name="T36" fmla="*/ 161 w 191"/>
                <a:gd name="T37" fmla="*/ 339 h 475"/>
                <a:gd name="T38" fmla="*/ 170 w 191"/>
                <a:gd name="T39" fmla="*/ 343 h 475"/>
                <a:gd name="T40" fmla="*/ 180 w 191"/>
                <a:gd name="T41" fmla="*/ 348 h 475"/>
                <a:gd name="T42" fmla="*/ 191 w 191"/>
                <a:gd name="T43" fmla="*/ 356 h 475"/>
                <a:gd name="T44" fmla="*/ 191 w 191"/>
                <a:gd name="T45" fmla="*/ 356 h 475"/>
                <a:gd name="T46" fmla="*/ 181 w 191"/>
                <a:gd name="T47" fmla="*/ 317 h 475"/>
                <a:gd name="T48" fmla="*/ 159 w 191"/>
                <a:gd name="T49" fmla="*/ 223 h 475"/>
                <a:gd name="T50" fmla="*/ 148 w 191"/>
                <a:gd name="T51" fmla="*/ 167 h 475"/>
                <a:gd name="T52" fmla="*/ 137 w 191"/>
                <a:gd name="T53" fmla="*/ 110 h 475"/>
                <a:gd name="T54" fmla="*/ 129 w 191"/>
                <a:gd name="T55" fmla="*/ 57 h 475"/>
                <a:gd name="T56" fmla="*/ 127 w 191"/>
                <a:gd name="T57" fmla="*/ 34 h 475"/>
                <a:gd name="T58" fmla="*/ 125 w 191"/>
                <a:gd name="T59" fmla="*/ 13 h 475"/>
                <a:gd name="T60" fmla="*/ 125 w 191"/>
                <a:gd name="T61" fmla="*/ 13 h 475"/>
                <a:gd name="T62" fmla="*/ 115 w 191"/>
                <a:gd name="T63" fmla="*/ 8 h 475"/>
                <a:gd name="T64" fmla="*/ 104 w 191"/>
                <a:gd name="T65" fmla="*/ 4 h 475"/>
                <a:gd name="T66" fmla="*/ 91 w 191"/>
                <a:gd name="T67" fmla="*/ 2 h 475"/>
                <a:gd name="T68" fmla="*/ 74 w 191"/>
                <a:gd name="T69" fmla="*/ 0 h 475"/>
                <a:gd name="T70" fmla="*/ 67 w 191"/>
                <a:gd name="T71" fmla="*/ 2 h 475"/>
                <a:gd name="T72" fmla="*/ 58 w 191"/>
                <a:gd name="T73" fmla="*/ 3 h 475"/>
                <a:gd name="T74" fmla="*/ 51 w 191"/>
                <a:gd name="T75" fmla="*/ 5 h 475"/>
                <a:gd name="T76" fmla="*/ 42 w 191"/>
                <a:gd name="T77" fmla="*/ 10 h 475"/>
                <a:gd name="T78" fmla="*/ 35 w 191"/>
                <a:gd name="T79" fmla="*/ 15 h 475"/>
                <a:gd name="T80" fmla="*/ 28 w 191"/>
                <a:gd name="T81" fmla="*/ 23 h 475"/>
                <a:gd name="T82" fmla="*/ 21 w 191"/>
                <a:gd name="T83" fmla="*/ 31 h 475"/>
                <a:gd name="T84" fmla="*/ 16 w 191"/>
                <a:gd name="T85" fmla="*/ 41 h 475"/>
                <a:gd name="T86" fmla="*/ 10 w 191"/>
                <a:gd name="T87" fmla="*/ 55 h 475"/>
                <a:gd name="T88" fmla="*/ 6 w 191"/>
                <a:gd name="T89" fmla="*/ 70 h 475"/>
                <a:gd name="T90" fmla="*/ 2 w 191"/>
                <a:gd name="T91" fmla="*/ 86 h 475"/>
                <a:gd name="T92" fmla="*/ 1 w 191"/>
                <a:gd name="T93" fmla="*/ 106 h 475"/>
                <a:gd name="T94" fmla="*/ 0 w 191"/>
                <a:gd name="T95" fmla="*/ 128 h 475"/>
                <a:gd name="T96" fmla="*/ 1 w 191"/>
                <a:gd name="T97" fmla="*/ 153 h 475"/>
                <a:gd name="T98" fmla="*/ 2 w 191"/>
                <a:gd name="T99" fmla="*/ 182 h 475"/>
                <a:gd name="T100" fmla="*/ 7 w 191"/>
                <a:gd name="T101" fmla="*/ 213 h 475"/>
                <a:gd name="T102" fmla="*/ 12 w 191"/>
                <a:gd name="T103" fmla="*/ 248 h 475"/>
                <a:gd name="T104" fmla="*/ 20 w 191"/>
                <a:gd name="T105" fmla="*/ 286 h 475"/>
                <a:gd name="T106" fmla="*/ 30 w 191"/>
                <a:gd name="T107" fmla="*/ 327 h 475"/>
                <a:gd name="T108" fmla="*/ 41 w 191"/>
                <a:gd name="T109" fmla="*/ 372 h 475"/>
                <a:gd name="T110" fmla="*/ 55 w 191"/>
                <a:gd name="T111" fmla="*/ 421 h 475"/>
                <a:gd name="T112" fmla="*/ 71 w 191"/>
                <a:gd name="T113" fmla="*/ 475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1" h="475">
                  <a:moveTo>
                    <a:pt x="71" y="475"/>
                  </a:moveTo>
                  <a:lnTo>
                    <a:pt x="71" y="475"/>
                  </a:lnTo>
                  <a:lnTo>
                    <a:pt x="72" y="466"/>
                  </a:lnTo>
                  <a:lnTo>
                    <a:pt x="73" y="444"/>
                  </a:lnTo>
                  <a:lnTo>
                    <a:pt x="76" y="430"/>
                  </a:lnTo>
                  <a:lnTo>
                    <a:pt x="79" y="415"/>
                  </a:lnTo>
                  <a:lnTo>
                    <a:pt x="83" y="399"/>
                  </a:lnTo>
                  <a:lnTo>
                    <a:pt x="88" y="384"/>
                  </a:lnTo>
                  <a:lnTo>
                    <a:pt x="94" y="369"/>
                  </a:lnTo>
                  <a:lnTo>
                    <a:pt x="103" y="357"/>
                  </a:lnTo>
                  <a:lnTo>
                    <a:pt x="107" y="351"/>
                  </a:lnTo>
                  <a:lnTo>
                    <a:pt x="113" y="346"/>
                  </a:lnTo>
                  <a:lnTo>
                    <a:pt x="118" y="342"/>
                  </a:lnTo>
                  <a:lnTo>
                    <a:pt x="124" y="338"/>
                  </a:lnTo>
                  <a:lnTo>
                    <a:pt x="130" y="337"/>
                  </a:lnTo>
                  <a:lnTo>
                    <a:pt x="138" y="336"/>
                  </a:lnTo>
                  <a:lnTo>
                    <a:pt x="145" y="336"/>
                  </a:lnTo>
                  <a:lnTo>
                    <a:pt x="153" y="337"/>
                  </a:lnTo>
                  <a:lnTo>
                    <a:pt x="161" y="339"/>
                  </a:lnTo>
                  <a:lnTo>
                    <a:pt x="170" y="343"/>
                  </a:lnTo>
                  <a:lnTo>
                    <a:pt x="180" y="348"/>
                  </a:lnTo>
                  <a:lnTo>
                    <a:pt x="191" y="356"/>
                  </a:lnTo>
                  <a:lnTo>
                    <a:pt x="191" y="356"/>
                  </a:lnTo>
                  <a:lnTo>
                    <a:pt x="181" y="317"/>
                  </a:lnTo>
                  <a:lnTo>
                    <a:pt x="159" y="223"/>
                  </a:lnTo>
                  <a:lnTo>
                    <a:pt x="148" y="167"/>
                  </a:lnTo>
                  <a:lnTo>
                    <a:pt x="137" y="110"/>
                  </a:lnTo>
                  <a:lnTo>
                    <a:pt x="129" y="57"/>
                  </a:lnTo>
                  <a:lnTo>
                    <a:pt x="127" y="34"/>
                  </a:lnTo>
                  <a:lnTo>
                    <a:pt x="125" y="13"/>
                  </a:lnTo>
                  <a:lnTo>
                    <a:pt x="125" y="13"/>
                  </a:lnTo>
                  <a:lnTo>
                    <a:pt x="115" y="8"/>
                  </a:lnTo>
                  <a:lnTo>
                    <a:pt x="104" y="4"/>
                  </a:lnTo>
                  <a:lnTo>
                    <a:pt x="91" y="2"/>
                  </a:lnTo>
                  <a:lnTo>
                    <a:pt x="74" y="0"/>
                  </a:lnTo>
                  <a:lnTo>
                    <a:pt x="67" y="2"/>
                  </a:lnTo>
                  <a:lnTo>
                    <a:pt x="58" y="3"/>
                  </a:lnTo>
                  <a:lnTo>
                    <a:pt x="51" y="5"/>
                  </a:lnTo>
                  <a:lnTo>
                    <a:pt x="42" y="10"/>
                  </a:lnTo>
                  <a:lnTo>
                    <a:pt x="35" y="15"/>
                  </a:lnTo>
                  <a:lnTo>
                    <a:pt x="28" y="23"/>
                  </a:lnTo>
                  <a:lnTo>
                    <a:pt x="21" y="31"/>
                  </a:lnTo>
                  <a:lnTo>
                    <a:pt x="16" y="41"/>
                  </a:lnTo>
                  <a:lnTo>
                    <a:pt x="10" y="55"/>
                  </a:lnTo>
                  <a:lnTo>
                    <a:pt x="6" y="70"/>
                  </a:lnTo>
                  <a:lnTo>
                    <a:pt x="2" y="86"/>
                  </a:lnTo>
                  <a:lnTo>
                    <a:pt x="1" y="106"/>
                  </a:lnTo>
                  <a:lnTo>
                    <a:pt x="0" y="128"/>
                  </a:lnTo>
                  <a:lnTo>
                    <a:pt x="1" y="153"/>
                  </a:lnTo>
                  <a:lnTo>
                    <a:pt x="2" y="182"/>
                  </a:lnTo>
                  <a:lnTo>
                    <a:pt x="7" y="213"/>
                  </a:lnTo>
                  <a:lnTo>
                    <a:pt x="12" y="248"/>
                  </a:lnTo>
                  <a:lnTo>
                    <a:pt x="20" y="286"/>
                  </a:lnTo>
                  <a:lnTo>
                    <a:pt x="30" y="327"/>
                  </a:lnTo>
                  <a:lnTo>
                    <a:pt x="41" y="372"/>
                  </a:lnTo>
                  <a:lnTo>
                    <a:pt x="55" y="421"/>
                  </a:lnTo>
                  <a:lnTo>
                    <a:pt x="71" y="475"/>
                  </a:lnTo>
                  <a:close/>
                </a:path>
              </a:pathLst>
            </a:custGeom>
            <a:solidFill>
              <a:srgbClr val="55CBC5"/>
            </a:solidFill>
            <a:ln>
              <a:noFill/>
            </a:ln>
            <a:effectLst>
              <a:outerShdw blurRad="50800" dist="38100" dir="18900000" algn="bl"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7" name="Freeform 144"/>
            <p:cNvSpPr>
              <a:spLocks noEditPoints="1"/>
            </p:cNvSpPr>
            <p:nvPr/>
          </p:nvSpPr>
          <p:spPr bwMode="auto">
            <a:xfrm>
              <a:off x="2750855" y="1621287"/>
              <a:ext cx="253952" cy="846508"/>
            </a:xfrm>
            <a:custGeom>
              <a:avLst/>
              <a:gdLst>
                <a:gd name="T0" fmla="*/ 355 w 458"/>
                <a:gd name="T1" fmla="*/ 470 h 1530"/>
                <a:gd name="T2" fmla="*/ 351 w 458"/>
                <a:gd name="T3" fmla="*/ 465 h 1530"/>
                <a:gd name="T4" fmla="*/ 295 w 458"/>
                <a:gd name="T5" fmla="*/ 344 h 1530"/>
                <a:gd name="T6" fmla="*/ 256 w 458"/>
                <a:gd name="T7" fmla="*/ 220 h 1530"/>
                <a:gd name="T8" fmla="*/ 231 w 458"/>
                <a:gd name="T9" fmla="*/ 71 h 1530"/>
                <a:gd name="T10" fmla="*/ 239 w 458"/>
                <a:gd name="T11" fmla="*/ 26 h 1530"/>
                <a:gd name="T12" fmla="*/ 243 w 458"/>
                <a:gd name="T13" fmla="*/ 10 h 1530"/>
                <a:gd name="T14" fmla="*/ 228 w 458"/>
                <a:gd name="T15" fmla="*/ 0 h 1530"/>
                <a:gd name="T16" fmla="*/ 213 w 458"/>
                <a:gd name="T17" fmla="*/ 15 h 1530"/>
                <a:gd name="T18" fmla="*/ 222 w 458"/>
                <a:gd name="T19" fmla="*/ 30 h 1530"/>
                <a:gd name="T20" fmla="*/ 223 w 458"/>
                <a:gd name="T21" fmla="*/ 109 h 1530"/>
                <a:gd name="T22" fmla="*/ 193 w 458"/>
                <a:gd name="T23" fmla="*/ 253 h 1530"/>
                <a:gd name="T24" fmla="*/ 152 w 458"/>
                <a:gd name="T25" fmla="*/ 369 h 1530"/>
                <a:gd name="T26" fmla="*/ 107 w 458"/>
                <a:gd name="T27" fmla="*/ 465 h 1530"/>
                <a:gd name="T28" fmla="*/ 103 w 458"/>
                <a:gd name="T29" fmla="*/ 471 h 1530"/>
                <a:gd name="T30" fmla="*/ 66 w 458"/>
                <a:gd name="T31" fmla="*/ 528 h 1530"/>
                <a:gd name="T32" fmla="*/ 29 w 458"/>
                <a:gd name="T33" fmla="*/ 626 h 1530"/>
                <a:gd name="T34" fmla="*/ 3 w 458"/>
                <a:gd name="T35" fmla="*/ 785 h 1530"/>
                <a:gd name="T36" fmla="*/ 0 w 458"/>
                <a:gd name="T37" fmla="*/ 952 h 1530"/>
                <a:gd name="T38" fmla="*/ 20 w 458"/>
                <a:gd name="T39" fmla="*/ 1183 h 1530"/>
                <a:gd name="T40" fmla="*/ 59 w 458"/>
                <a:gd name="T41" fmla="*/ 1414 h 1530"/>
                <a:gd name="T42" fmla="*/ 372 w 458"/>
                <a:gd name="T43" fmla="*/ 1530 h 1530"/>
                <a:gd name="T44" fmla="*/ 416 w 458"/>
                <a:gd name="T45" fmla="*/ 1332 h 1530"/>
                <a:gd name="T46" fmla="*/ 444 w 458"/>
                <a:gd name="T47" fmla="*/ 1127 h 1530"/>
                <a:gd name="T48" fmla="*/ 458 w 458"/>
                <a:gd name="T49" fmla="*/ 891 h 1530"/>
                <a:gd name="T50" fmla="*/ 449 w 458"/>
                <a:gd name="T51" fmla="*/ 739 h 1530"/>
                <a:gd name="T52" fmla="*/ 420 w 458"/>
                <a:gd name="T53" fmla="*/ 596 h 1530"/>
                <a:gd name="T54" fmla="*/ 384 w 458"/>
                <a:gd name="T55" fmla="*/ 512 h 1530"/>
                <a:gd name="T56" fmla="*/ 228 w 458"/>
                <a:gd name="T57" fmla="*/ 607 h 1530"/>
                <a:gd name="T58" fmla="*/ 258 w 458"/>
                <a:gd name="T59" fmla="*/ 614 h 1530"/>
                <a:gd name="T60" fmla="*/ 298 w 458"/>
                <a:gd name="T61" fmla="*/ 652 h 1530"/>
                <a:gd name="T62" fmla="*/ 303 w 458"/>
                <a:gd name="T63" fmla="*/ 682 h 1530"/>
                <a:gd name="T64" fmla="*/ 290 w 458"/>
                <a:gd name="T65" fmla="*/ 723 h 1530"/>
                <a:gd name="T66" fmla="*/ 243 w 458"/>
                <a:gd name="T67" fmla="*/ 754 h 1530"/>
                <a:gd name="T68" fmla="*/ 221 w 458"/>
                <a:gd name="T69" fmla="*/ 755 h 1530"/>
                <a:gd name="T70" fmla="*/ 176 w 458"/>
                <a:gd name="T71" fmla="*/ 734 h 1530"/>
                <a:gd name="T72" fmla="*/ 155 w 458"/>
                <a:gd name="T73" fmla="*/ 689 h 1530"/>
                <a:gd name="T74" fmla="*/ 156 w 458"/>
                <a:gd name="T75" fmla="*/ 667 h 1530"/>
                <a:gd name="T76" fmla="*/ 187 w 458"/>
                <a:gd name="T77" fmla="*/ 620 h 1530"/>
                <a:gd name="T78" fmla="*/ 228 w 458"/>
                <a:gd name="T79" fmla="*/ 607 h 1530"/>
                <a:gd name="T80" fmla="*/ 244 w 458"/>
                <a:gd name="T81" fmla="*/ 873 h 1530"/>
                <a:gd name="T82" fmla="*/ 290 w 458"/>
                <a:gd name="T83" fmla="*/ 906 h 1530"/>
                <a:gd name="T84" fmla="*/ 303 w 458"/>
                <a:gd name="T85" fmla="*/ 947 h 1530"/>
                <a:gd name="T86" fmla="*/ 298 w 458"/>
                <a:gd name="T87" fmla="*/ 975 h 1530"/>
                <a:gd name="T88" fmla="*/ 258 w 458"/>
                <a:gd name="T89" fmla="*/ 1015 h 1530"/>
                <a:gd name="T90" fmla="*/ 230 w 458"/>
                <a:gd name="T91" fmla="*/ 1021 h 1530"/>
                <a:gd name="T92" fmla="*/ 187 w 458"/>
                <a:gd name="T93" fmla="*/ 1009 h 1530"/>
                <a:gd name="T94" fmla="*/ 156 w 458"/>
                <a:gd name="T95" fmla="*/ 962 h 1530"/>
                <a:gd name="T96" fmla="*/ 155 w 458"/>
                <a:gd name="T97" fmla="*/ 939 h 1530"/>
                <a:gd name="T98" fmla="*/ 176 w 458"/>
                <a:gd name="T99" fmla="*/ 894 h 1530"/>
                <a:gd name="T100" fmla="*/ 221 w 458"/>
                <a:gd name="T101" fmla="*/ 873 h 1530"/>
                <a:gd name="T102" fmla="*/ 221 w 458"/>
                <a:gd name="T103" fmla="*/ 1286 h 1530"/>
                <a:gd name="T104" fmla="*/ 176 w 458"/>
                <a:gd name="T105" fmla="*/ 1265 h 1530"/>
                <a:gd name="T106" fmla="*/ 155 w 458"/>
                <a:gd name="T107" fmla="*/ 1219 h 1530"/>
                <a:gd name="T108" fmla="*/ 156 w 458"/>
                <a:gd name="T109" fmla="*/ 1196 h 1530"/>
                <a:gd name="T110" fmla="*/ 187 w 458"/>
                <a:gd name="T111" fmla="*/ 1150 h 1530"/>
                <a:gd name="T112" fmla="*/ 230 w 458"/>
                <a:gd name="T113" fmla="*/ 1138 h 1530"/>
                <a:gd name="T114" fmla="*/ 258 w 458"/>
                <a:gd name="T115" fmla="*/ 1143 h 1530"/>
                <a:gd name="T116" fmla="*/ 298 w 458"/>
                <a:gd name="T117" fmla="*/ 1183 h 1530"/>
                <a:gd name="T118" fmla="*/ 303 w 458"/>
                <a:gd name="T119" fmla="*/ 1211 h 1530"/>
                <a:gd name="T120" fmla="*/ 290 w 458"/>
                <a:gd name="T121" fmla="*/ 1253 h 1530"/>
                <a:gd name="T122" fmla="*/ 244 w 458"/>
                <a:gd name="T123" fmla="*/ 1284 h 1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8" h="1530">
                  <a:moveTo>
                    <a:pt x="355" y="471"/>
                  </a:moveTo>
                  <a:lnTo>
                    <a:pt x="355" y="471"/>
                  </a:lnTo>
                  <a:lnTo>
                    <a:pt x="355" y="471"/>
                  </a:lnTo>
                  <a:lnTo>
                    <a:pt x="355" y="470"/>
                  </a:lnTo>
                  <a:lnTo>
                    <a:pt x="355" y="470"/>
                  </a:lnTo>
                  <a:lnTo>
                    <a:pt x="354" y="467"/>
                  </a:lnTo>
                  <a:lnTo>
                    <a:pt x="351" y="465"/>
                  </a:lnTo>
                  <a:lnTo>
                    <a:pt x="351" y="465"/>
                  </a:lnTo>
                  <a:lnTo>
                    <a:pt x="341" y="446"/>
                  </a:lnTo>
                  <a:lnTo>
                    <a:pt x="325" y="414"/>
                  </a:lnTo>
                  <a:lnTo>
                    <a:pt x="305" y="369"/>
                  </a:lnTo>
                  <a:lnTo>
                    <a:pt x="295" y="344"/>
                  </a:lnTo>
                  <a:lnTo>
                    <a:pt x="284" y="316"/>
                  </a:lnTo>
                  <a:lnTo>
                    <a:pt x="274" y="286"/>
                  </a:lnTo>
                  <a:lnTo>
                    <a:pt x="264" y="253"/>
                  </a:lnTo>
                  <a:lnTo>
                    <a:pt x="256" y="220"/>
                  </a:lnTo>
                  <a:lnTo>
                    <a:pt x="247" y="185"/>
                  </a:lnTo>
                  <a:lnTo>
                    <a:pt x="241" y="148"/>
                  </a:lnTo>
                  <a:lnTo>
                    <a:pt x="234" y="109"/>
                  </a:lnTo>
                  <a:lnTo>
                    <a:pt x="231" y="71"/>
                  </a:lnTo>
                  <a:lnTo>
                    <a:pt x="230" y="31"/>
                  </a:lnTo>
                  <a:lnTo>
                    <a:pt x="230" y="31"/>
                  </a:lnTo>
                  <a:lnTo>
                    <a:pt x="234" y="30"/>
                  </a:lnTo>
                  <a:lnTo>
                    <a:pt x="239" y="26"/>
                  </a:lnTo>
                  <a:lnTo>
                    <a:pt x="243" y="21"/>
                  </a:lnTo>
                  <a:lnTo>
                    <a:pt x="244" y="15"/>
                  </a:lnTo>
                  <a:lnTo>
                    <a:pt x="244" y="15"/>
                  </a:lnTo>
                  <a:lnTo>
                    <a:pt x="243" y="10"/>
                  </a:lnTo>
                  <a:lnTo>
                    <a:pt x="239" y="5"/>
                  </a:lnTo>
                  <a:lnTo>
                    <a:pt x="234" y="1"/>
                  </a:lnTo>
                  <a:lnTo>
                    <a:pt x="228" y="0"/>
                  </a:lnTo>
                  <a:lnTo>
                    <a:pt x="228" y="0"/>
                  </a:lnTo>
                  <a:lnTo>
                    <a:pt x="223" y="1"/>
                  </a:lnTo>
                  <a:lnTo>
                    <a:pt x="218" y="5"/>
                  </a:lnTo>
                  <a:lnTo>
                    <a:pt x="215" y="10"/>
                  </a:lnTo>
                  <a:lnTo>
                    <a:pt x="213" y="15"/>
                  </a:lnTo>
                  <a:lnTo>
                    <a:pt x="213" y="15"/>
                  </a:lnTo>
                  <a:lnTo>
                    <a:pt x="215" y="21"/>
                  </a:lnTo>
                  <a:lnTo>
                    <a:pt x="218" y="26"/>
                  </a:lnTo>
                  <a:lnTo>
                    <a:pt x="222" y="30"/>
                  </a:lnTo>
                  <a:lnTo>
                    <a:pt x="228" y="31"/>
                  </a:lnTo>
                  <a:lnTo>
                    <a:pt x="228" y="31"/>
                  </a:lnTo>
                  <a:lnTo>
                    <a:pt x="227" y="71"/>
                  </a:lnTo>
                  <a:lnTo>
                    <a:pt x="223" y="109"/>
                  </a:lnTo>
                  <a:lnTo>
                    <a:pt x="217" y="148"/>
                  </a:lnTo>
                  <a:lnTo>
                    <a:pt x="210" y="185"/>
                  </a:lnTo>
                  <a:lnTo>
                    <a:pt x="202" y="220"/>
                  </a:lnTo>
                  <a:lnTo>
                    <a:pt x="193" y="253"/>
                  </a:lnTo>
                  <a:lnTo>
                    <a:pt x="184" y="286"/>
                  </a:lnTo>
                  <a:lnTo>
                    <a:pt x="172" y="316"/>
                  </a:lnTo>
                  <a:lnTo>
                    <a:pt x="162" y="344"/>
                  </a:lnTo>
                  <a:lnTo>
                    <a:pt x="152" y="369"/>
                  </a:lnTo>
                  <a:lnTo>
                    <a:pt x="133" y="412"/>
                  </a:lnTo>
                  <a:lnTo>
                    <a:pt x="116" y="445"/>
                  </a:lnTo>
                  <a:lnTo>
                    <a:pt x="107" y="465"/>
                  </a:lnTo>
                  <a:lnTo>
                    <a:pt x="107" y="465"/>
                  </a:lnTo>
                  <a:lnTo>
                    <a:pt x="104" y="467"/>
                  </a:lnTo>
                  <a:lnTo>
                    <a:pt x="103" y="470"/>
                  </a:lnTo>
                  <a:lnTo>
                    <a:pt x="103" y="471"/>
                  </a:lnTo>
                  <a:lnTo>
                    <a:pt x="103" y="471"/>
                  </a:lnTo>
                  <a:lnTo>
                    <a:pt x="95" y="480"/>
                  </a:lnTo>
                  <a:lnTo>
                    <a:pt x="82" y="498"/>
                  </a:lnTo>
                  <a:lnTo>
                    <a:pt x="74" y="512"/>
                  </a:lnTo>
                  <a:lnTo>
                    <a:pt x="66" y="528"/>
                  </a:lnTo>
                  <a:lnTo>
                    <a:pt x="56" y="548"/>
                  </a:lnTo>
                  <a:lnTo>
                    <a:pt x="47" y="570"/>
                  </a:lnTo>
                  <a:lnTo>
                    <a:pt x="38" y="596"/>
                  </a:lnTo>
                  <a:lnTo>
                    <a:pt x="29" y="626"/>
                  </a:lnTo>
                  <a:lnTo>
                    <a:pt x="21" y="660"/>
                  </a:lnTo>
                  <a:lnTo>
                    <a:pt x="13" y="698"/>
                  </a:lnTo>
                  <a:lnTo>
                    <a:pt x="8" y="739"/>
                  </a:lnTo>
                  <a:lnTo>
                    <a:pt x="3" y="785"/>
                  </a:lnTo>
                  <a:lnTo>
                    <a:pt x="0" y="836"/>
                  </a:lnTo>
                  <a:lnTo>
                    <a:pt x="0" y="891"/>
                  </a:lnTo>
                  <a:lnTo>
                    <a:pt x="0" y="891"/>
                  </a:lnTo>
                  <a:lnTo>
                    <a:pt x="0" y="952"/>
                  </a:lnTo>
                  <a:lnTo>
                    <a:pt x="3" y="1011"/>
                  </a:lnTo>
                  <a:lnTo>
                    <a:pt x="7" y="1070"/>
                  </a:lnTo>
                  <a:lnTo>
                    <a:pt x="13" y="1127"/>
                  </a:lnTo>
                  <a:lnTo>
                    <a:pt x="20" y="1183"/>
                  </a:lnTo>
                  <a:lnTo>
                    <a:pt x="27" y="1236"/>
                  </a:lnTo>
                  <a:lnTo>
                    <a:pt x="34" y="1286"/>
                  </a:lnTo>
                  <a:lnTo>
                    <a:pt x="43" y="1332"/>
                  </a:lnTo>
                  <a:lnTo>
                    <a:pt x="59" y="1414"/>
                  </a:lnTo>
                  <a:lnTo>
                    <a:pt x="73" y="1476"/>
                  </a:lnTo>
                  <a:lnTo>
                    <a:pt x="87" y="1530"/>
                  </a:lnTo>
                  <a:lnTo>
                    <a:pt x="230" y="1530"/>
                  </a:lnTo>
                  <a:lnTo>
                    <a:pt x="372" y="1530"/>
                  </a:lnTo>
                  <a:lnTo>
                    <a:pt x="372" y="1530"/>
                  </a:lnTo>
                  <a:lnTo>
                    <a:pt x="386" y="1476"/>
                  </a:lnTo>
                  <a:lnTo>
                    <a:pt x="400" y="1414"/>
                  </a:lnTo>
                  <a:lnTo>
                    <a:pt x="416" y="1332"/>
                  </a:lnTo>
                  <a:lnTo>
                    <a:pt x="423" y="1286"/>
                  </a:lnTo>
                  <a:lnTo>
                    <a:pt x="431" y="1235"/>
                  </a:lnTo>
                  <a:lnTo>
                    <a:pt x="438" y="1183"/>
                  </a:lnTo>
                  <a:lnTo>
                    <a:pt x="444" y="1127"/>
                  </a:lnTo>
                  <a:lnTo>
                    <a:pt x="451" y="1070"/>
                  </a:lnTo>
                  <a:lnTo>
                    <a:pt x="454" y="1011"/>
                  </a:lnTo>
                  <a:lnTo>
                    <a:pt x="458" y="952"/>
                  </a:lnTo>
                  <a:lnTo>
                    <a:pt x="458" y="891"/>
                  </a:lnTo>
                  <a:lnTo>
                    <a:pt x="458" y="891"/>
                  </a:lnTo>
                  <a:lnTo>
                    <a:pt x="457" y="836"/>
                  </a:lnTo>
                  <a:lnTo>
                    <a:pt x="454" y="785"/>
                  </a:lnTo>
                  <a:lnTo>
                    <a:pt x="449" y="739"/>
                  </a:lnTo>
                  <a:lnTo>
                    <a:pt x="443" y="698"/>
                  </a:lnTo>
                  <a:lnTo>
                    <a:pt x="437" y="661"/>
                  </a:lnTo>
                  <a:lnTo>
                    <a:pt x="428" y="627"/>
                  </a:lnTo>
                  <a:lnTo>
                    <a:pt x="420" y="596"/>
                  </a:lnTo>
                  <a:lnTo>
                    <a:pt x="411" y="570"/>
                  </a:lnTo>
                  <a:lnTo>
                    <a:pt x="401" y="548"/>
                  </a:lnTo>
                  <a:lnTo>
                    <a:pt x="392" y="528"/>
                  </a:lnTo>
                  <a:lnTo>
                    <a:pt x="384" y="512"/>
                  </a:lnTo>
                  <a:lnTo>
                    <a:pt x="376" y="498"/>
                  </a:lnTo>
                  <a:lnTo>
                    <a:pt x="362" y="480"/>
                  </a:lnTo>
                  <a:lnTo>
                    <a:pt x="355" y="471"/>
                  </a:lnTo>
                  <a:close/>
                  <a:moveTo>
                    <a:pt x="228" y="607"/>
                  </a:moveTo>
                  <a:lnTo>
                    <a:pt x="228" y="607"/>
                  </a:lnTo>
                  <a:lnTo>
                    <a:pt x="236" y="607"/>
                  </a:lnTo>
                  <a:lnTo>
                    <a:pt x="243" y="609"/>
                  </a:lnTo>
                  <a:lnTo>
                    <a:pt x="258" y="614"/>
                  </a:lnTo>
                  <a:lnTo>
                    <a:pt x="271" y="620"/>
                  </a:lnTo>
                  <a:lnTo>
                    <a:pt x="282" y="629"/>
                  </a:lnTo>
                  <a:lnTo>
                    <a:pt x="290" y="640"/>
                  </a:lnTo>
                  <a:lnTo>
                    <a:pt x="298" y="652"/>
                  </a:lnTo>
                  <a:lnTo>
                    <a:pt x="302" y="667"/>
                  </a:lnTo>
                  <a:lnTo>
                    <a:pt x="303" y="675"/>
                  </a:lnTo>
                  <a:lnTo>
                    <a:pt x="303" y="682"/>
                  </a:lnTo>
                  <a:lnTo>
                    <a:pt x="303" y="682"/>
                  </a:lnTo>
                  <a:lnTo>
                    <a:pt x="303" y="689"/>
                  </a:lnTo>
                  <a:lnTo>
                    <a:pt x="302" y="697"/>
                  </a:lnTo>
                  <a:lnTo>
                    <a:pt x="298" y="711"/>
                  </a:lnTo>
                  <a:lnTo>
                    <a:pt x="290" y="723"/>
                  </a:lnTo>
                  <a:lnTo>
                    <a:pt x="282" y="734"/>
                  </a:lnTo>
                  <a:lnTo>
                    <a:pt x="271" y="743"/>
                  </a:lnTo>
                  <a:lnTo>
                    <a:pt x="258" y="750"/>
                  </a:lnTo>
                  <a:lnTo>
                    <a:pt x="243" y="754"/>
                  </a:lnTo>
                  <a:lnTo>
                    <a:pt x="237" y="755"/>
                  </a:lnTo>
                  <a:lnTo>
                    <a:pt x="228" y="757"/>
                  </a:lnTo>
                  <a:lnTo>
                    <a:pt x="228" y="757"/>
                  </a:lnTo>
                  <a:lnTo>
                    <a:pt x="221" y="755"/>
                  </a:lnTo>
                  <a:lnTo>
                    <a:pt x="213" y="754"/>
                  </a:lnTo>
                  <a:lnTo>
                    <a:pt x="200" y="750"/>
                  </a:lnTo>
                  <a:lnTo>
                    <a:pt x="187" y="743"/>
                  </a:lnTo>
                  <a:lnTo>
                    <a:pt x="176" y="734"/>
                  </a:lnTo>
                  <a:lnTo>
                    <a:pt x="167" y="723"/>
                  </a:lnTo>
                  <a:lnTo>
                    <a:pt x="160" y="711"/>
                  </a:lnTo>
                  <a:lnTo>
                    <a:pt x="156" y="697"/>
                  </a:lnTo>
                  <a:lnTo>
                    <a:pt x="155" y="689"/>
                  </a:lnTo>
                  <a:lnTo>
                    <a:pt x="155" y="682"/>
                  </a:lnTo>
                  <a:lnTo>
                    <a:pt x="155" y="682"/>
                  </a:lnTo>
                  <a:lnTo>
                    <a:pt x="155" y="675"/>
                  </a:lnTo>
                  <a:lnTo>
                    <a:pt x="156" y="667"/>
                  </a:lnTo>
                  <a:lnTo>
                    <a:pt x="160" y="653"/>
                  </a:lnTo>
                  <a:lnTo>
                    <a:pt x="167" y="640"/>
                  </a:lnTo>
                  <a:lnTo>
                    <a:pt x="176" y="630"/>
                  </a:lnTo>
                  <a:lnTo>
                    <a:pt x="187" y="620"/>
                  </a:lnTo>
                  <a:lnTo>
                    <a:pt x="200" y="614"/>
                  </a:lnTo>
                  <a:lnTo>
                    <a:pt x="213" y="609"/>
                  </a:lnTo>
                  <a:lnTo>
                    <a:pt x="221" y="607"/>
                  </a:lnTo>
                  <a:lnTo>
                    <a:pt x="228" y="607"/>
                  </a:lnTo>
                  <a:close/>
                  <a:moveTo>
                    <a:pt x="228" y="872"/>
                  </a:moveTo>
                  <a:lnTo>
                    <a:pt x="228" y="872"/>
                  </a:lnTo>
                  <a:lnTo>
                    <a:pt x="237" y="873"/>
                  </a:lnTo>
                  <a:lnTo>
                    <a:pt x="244" y="873"/>
                  </a:lnTo>
                  <a:lnTo>
                    <a:pt x="258" y="878"/>
                  </a:lnTo>
                  <a:lnTo>
                    <a:pt x="271" y="884"/>
                  </a:lnTo>
                  <a:lnTo>
                    <a:pt x="282" y="894"/>
                  </a:lnTo>
                  <a:lnTo>
                    <a:pt x="290" y="906"/>
                  </a:lnTo>
                  <a:lnTo>
                    <a:pt x="298" y="918"/>
                  </a:lnTo>
                  <a:lnTo>
                    <a:pt x="302" y="932"/>
                  </a:lnTo>
                  <a:lnTo>
                    <a:pt x="303" y="939"/>
                  </a:lnTo>
                  <a:lnTo>
                    <a:pt x="303" y="947"/>
                  </a:lnTo>
                  <a:lnTo>
                    <a:pt x="303" y="947"/>
                  </a:lnTo>
                  <a:lnTo>
                    <a:pt x="303" y="954"/>
                  </a:lnTo>
                  <a:lnTo>
                    <a:pt x="302" y="962"/>
                  </a:lnTo>
                  <a:lnTo>
                    <a:pt x="298" y="975"/>
                  </a:lnTo>
                  <a:lnTo>
                    <a:pt x="290" y="988"/>
                  </a:lnTo>
                  <a:lnTo>
                    <a:pt x="282" y="999"/>
                  </a:lnTo>
                  <a:lnTo>
                    <a:pt x="271" y="1009"/>
                  </a:lnTo>
                  <a:lnTo>
                    <a:pt x="258" y="1015"/>
                  </a:lnTo>
                  <a:lnTo>
                    <a:pt x="244" y="1020"/>
                  </a:lnTo>
                  <a:lnTo>
                    <a:pt x="237" y="1021"/>
                  </a:lnTo>
                  <a:lnTo>
                    <a:pt x="230" y="1021"/>
                  </a:lnTo>
                  <a:lnTo>
                    <a:pt x="230" y="1021"/>
                  </a:lnTo>
                  <a:lnTo>
                    <a:pt x="221" y="1021"/>
                  </a:lnTo>
                  <a:lnTo>
                    <a:pt x="213" y="1020"/>
                  </a:lnTo>
                  <a:lnTo>
                    <a:pt x="200" y="1015"/>
                  </a:lnTo>
                  <a:lnTo>
                    <a:pt x="187" y="1009"/>
                  </a:lnTo>
                  <a:lnTo>
                    <a:pt x="176" y="999"/>
                  </a:lnTo>
                  <a:lnTo>
                    <a:pt x="167" y="989"/>
                  </a:lnTo>
                  <a:lnTo>
                    <a:pt x="160" y="975"/>
                  </a:lnTo>
                  <a:lnTo>
                    <a:pt x="156" y="962"/>
                  </a:lnTo>
                  <a:lnTo>
                    <a:pt x="155" y="954"/>
                  </a:lnTo>
                  <a:lnTo>
                    <a:pt x="155" y="947"/>
                  </a:lnTo>
                  <a:lnTo>
                    <a:pt x="155" y="947"/>
                  </a:lnTo>
                  <a:lnTo>
                    <a:pt x="155" y="939"/>
                  </a:lnTo>
                  <a:lnTo>
                    <a:pt x="156" y="932"/>
                  </a:lnTo>
                  <a:lnTo>
                    <a:pt x="160" y="918"/>
                  </a:lnTo>
                  <a:lnTo>
                    <a:pt x="167" y="906"/>
                  </a:lnTo>
                  <a:lnTo>
                    <a:pt x="176" y="894"/>
                  </a:lnTo>
                  <a:lnTo>
                    <a:pt x="187" y="884"/>
                  </a:lnTo>
                  <a:lnTo>
                    <a:pt x="200" y="878"/>
                  </a:lnTo>
                  <a:lnTo>
                    <a:pt x="213" y="873"/>
                  </a:lnTo>
                  <a:lnTo>
                    <a:pt x="221" y="873"/>
                  </a:lnTo>
                  <a:lnTo>
                    <a:pt x="228" y="872"/>
                  </a:lnTo>
                  <a:close/>
                  <a:moveTo>
                    <a:pt x="230" y="1286"/>
                  </a:moveTo>
                  <a:lnTo>
                    <a:pt x="230" y="1286"/>
                  </a:lnTo>
                  <a:lnTo>
                    <a:pt x="221" y="1286"/>
                  </a:lnTo>
                  <a:lnTo>
                    <a:pt x="215" y="1284"/>
                  </a:lnTo>
                  <a:lnTo>
                    <a:pt x="200" y="1280"/>
                  </a:lnTo>
                  <a:lnTo>
                    <a:pt x="187" y="1273"/>
                  </a:lnTo>
                  <a:lnTo>
                    <a:pt x="176" y="1265"/>
                  </a:lnTo>
                  <a:lnTo>
                    <a:pt x="167" y="1253"/>
                  </a:lnTo>
                  <a:lnTo>
                    <a:pt x="160" y="1241"/>
                  </a:lnTo>
                  <a:lnTo>
                    <a:pt x="156" y="1226"/>
                  </a:lnTo>
                  <a:lnTo>
                    <a:pt x="155" y="1219"/>
                  </a:lnTo>
                  <a:lnTo>
                    <a:pt x="155" y="1211"/>
                  </a:lnTo>
                  <a:lnTo>
                    <a:pt x="155" y="1211"/>
                  </a:lnTo>
                  <a:lnTo>
                    <a:pt x="155" y="1204"/>
                  </a:lnTo>
                  <a:lnTo>
                    <a:pt x="156" y="1196"/>
                  </a:lnTo>
                  <a:lnTo>
                    <a:pt x="160" y="1183"/>
                  </a:lnTo>
                  <a:lnTo>
                    <a:pt x="167" y="1170"/>
                  </a:lnTo>
                  <a:lnTo>
                    <a:pt x="176" y="1159"/>
                  </a:lnTo>
                  <a:lnTo>
                    <a:pt x="187" y="1150"/>
                  </a:lnTo>
                  <a:lnTo>
                    <a:pt x="200" y="1143"/>
                  </a:lnTo>
                  <a:lnTo>
                    <a:pt x="215" y="1139"/>
                  </a:lnTo>
                  <a:lnTo>
                    <a:pt x="221" y="1138"/>
                  </a:lnTo>
                  <a:lnTo>
                    <a:pt x="230" y="1138"/>
                  </a:lnTo>
                  <a:lnTo>
                    <a:pt x="230" y="1138"/>
                  </a:lnTo>
                  <a:lnTo>
                    <a:pt x="237" y="1138"/>
                  </a:lnTo>
                  <a:lnTo>
                    <a:pt x="244" y="1139"/>
                  </a:lnTo>
                  <a:lnTo>
                    <a:pt x="258" y="1143"/>
                  </a:lnTo>
                  <a:lnTo>
                    <a:pt x="271" y="1150"/>
                  </a:lnTo>
                  <a:lnTo>
                    <a:pt x="282" y="1159"/>
                  </a:lnTo>
                  <a:lnTo>
                    <a:pt x="290" y="1170"/>
                  </a:lnTo>
                  <a:lnTo>
                    <a:pt x="298" y="1183"/>
                  </a:lnTo>
                  <a:lnTo>
                    <a:pt x="302" y="1196"/>
                  </a:lnTo>
                  <a:lnTo>
                    <a:pt x="303" y="1204"/>
                  </a:lnTo>
                  <a:lnTo>
                    <a:pt x="303" y="1211"/>
                  </a:lnTo>
                  <a:lnTo>
                    <a:pt x="303" y="1211"/>
                  </a:lnTo>
                  <a:lnTo>
                    <a:pt x="303" y="1219"/>
                  </a:lnTo>
                  <a:lnTo>
                    <a:pt x="302" y="1226"/>
                  </a:lnTo>
                  <a:lnTo>
                    <a:pt x="298" y="1241"/>
                  </a:lnTo>
                  <a:lnTo>
                    <a:pt x="290" y="1253"/>
                  </a:lnTo>
                  <a:lnTo>
                    <a:pt x="282" y="1265"/>
                  </a:lnTo>
                  <a:lnTo>
                    <a:pt x="271" y="1273"/>
                  </a:lnTo>
                  <a:lnTo>
                    <a:pt x="258" y="1280"/>
                  </a:lnTo>
                  <a:lnTo>
                    <a:pt x="244" y="1284"/>
                  </a:lnTo>
                  <a:lnTo>
                    <a:pt x="237" y="1286"/>
                  </a:lnTo>
                  <a:lnTo>
                    <a:pt x="230" y="1286"/>
                  </a:lnTo>
                  <a:close/>
                </a:path>
              </a:pathLst>
            </a:custGeom>
            <a:solidFill>
              <a:srgbClr val="51C3F9"/>
            </a:solidFill>
            <a:ln>
              <a:noFill/>
            </a:ln>
            <a:effectLst>
              <a:outerShdw blurRad="50800" dist="38100" dir="18900000" algn="bl"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9" name="Freeform 149"/>
            <p:cNvSpPr>
              <a:spLocks/>
            </p:cNvSpPr>
            <p:nvPr/>
          </p:nvSpPr>
          <p:spPr bwMode="auto">
            <a:xfrm>
              <a:off x="2802319" y="2491033"/>
              <a:ext cx="149384" cy="185900"/>
            </a:xfrm>
            <a:custGeom>
              <a:avLst/>
              <a:gdLst>
                <a:gd name="T0" fmla="*/ 221 w 270"/>
                <a:gd name="T1" fmla="*/ 10 h 336"/>
                <a:gd name="T2" fmla="*/ 226 w 270"/>
                <a:gd name="T3" fmla="*/ 52 h 336"/>
                <a:gd name="T4" fmla="*/ 220 w 270"/>
                <a:gd name="T5" fmla="*/ 92 h 336"/>
                <a:gd name="T6" fmla="*/ 213 w 270"/>
                <a:gd name="T7" fmla="*/ 113 h 336"/>
                <a:gd name="T8" fmla="*/ 211 w 270"/>
                <a:gd name="T9" fmla="*/ 97 h 336"/>
                <a:gd name="T10" fmla="*/ 206 w 270"/>
                <a:gd name="T11" fmla="*/ 89 h 336"/>
                <a:gd name="T12" fmla="*/ 199 w 270"/>
                <a:gd name="T13" fmla="*/ 85 h 336"/>
                <a:gd name="T14" fmla="*/ 193 w 270"/>
                <a:gd name="T15" fmla="*/ 90 h 336"/>
                <a:gd name="T16" fmla="*/ 179 w 270"/>
                <a:gd name="T17" fmla="*/ 150 h 336"/>
                <a:gd name="T18" fmla="*/ 164 w 270"/>
                <a:gd name="T19" fmla="*/ 187 h 336"/>
                <a:gd name="T20" fmla="*/ 136 w 270"/>
                <a:gd name="T21" fmla="*/ 227 h 336"/>
                <a:gd name="T22" fmla="*/ 114 w 270"/>
                <a:gd name="T23" fmla="*/ 201 h 336"/>
                <a:gd name="T24" fmla="*/ 95 w 270"/>
                <a:gd name="T25" fmla="*/ 162 h 336"/>
                <a:gd name="T26" fmla="*/ 80 w 270"/>
                <a:gd name="T27" fmla="*/ 95 h 336"/>
                <a:gd name="T28" fmla="*/ 73 w 270"/>
                <a:gd name="T29" fmla="*/ 85 h 336"/>
                <a:gd name="T30" fmla="*/ 65 w 270"/>
                <a:gd name="T31" fmla="*/ 89 h 336"/>
                <a:gd name="T32" fmla="*/ 60 w 270"/>
                <a:gd name="T33" fmla="*/ 97 h 336"/>
                <a:gd name="T34" fmla="*/ 58 w 270"/>
                <a:gd name="T35" fmla="*/ 113 h 336"/>
                <a:gd name="T36" fmla="*/ 50 w 270"/>
                <a:gd name="T37" fmla="*/ 92 h 336"/>
                <a:gd name="T38" fmla="*/ 44 w 270"/>
                <a:gd name="T39" fmla="*/ 53 h 336"/>
                <a:gd name="T40" fmla="*/ 49 w 270"/>
                <a:gd name="T41" fmla="*/ 10 h 336"/>
                <a:gd name="T42" fmla="*/ 11 w 270"/>
                <a:gd name="T43" fmla="*/ 0 h 336"/>
                <a:gd name="T44" fmla="*/ 1 w 270"/>
                <a:gd name="T45" fmla="*/ 52 h 336"/>
                <a:gd name="T46" fmla="*/ 3 w 270"/>
                <a:gd name="T47" fmla="*/ 107 h 336"/>
                <a:gd name="T48" fmla="*/ 14 w 270"/>
                <a:gd name="T49" fmla="*/ 152 h 336"/>
                <a:gd name="T50" fmla="*/ 20 w 270"/>
                <a:gd name="T51" fmla="*/ 164 h 336"/>
                <a:gd name="T52" fmla="*/ 22 w 270"/>
                <a:gd name="T53" fmla="*/ 143 h 336"/>
                <a:gd name="T54" fmla="*/ 30 w 270"/>
                <a:gd name="T55" fmla="*/ 133 h 336"/>
                <a:gd name="T56" fmla="*/ 40 w 270"/>
                <a:gd name="T57" fmla="*/ 128 h 336"/>
                <a:gd name="T58" fmla="*/ 50 w 270"/>
                <a:gd name="T59" fmla="*/ 135 h 336"/>
                <a:gd name="T60" fmla="*/ 61 w 270"/>
                <a:gd name="T61" fmla="*/ 190 h 336"/>
                <a:gd name="T62" fmla="*/ 76 w 270"/>
                <a:gd name="T63" fmla="*/ 241 h 336"/>
                <a:gd name="T64" fmla="*/ 104 w 270"/>
                <a:gd name="T65" fmla="*/ 297 h 336"/>
                <a:gd name="T66" fmla="*/ 136 w 270"/>
                <a:gd name="T67" fmla="*/ 336 h 336"/>
                <a:gd name="T68" fmla="*/ 178 w 270"/>
                <a:gd name="T69" fmla="*/ 278 h 336"/>
                <a:gd name="T70" fmla="*/ 201 w 270"/>
                <a:gd name="T71" fmla="*/ 222 h 336"/>
                <a:gd name="T72" fmla="*/ 214 w 270"/>
                <a:gd name="T73" fmla="*/ 162 h 336"/>
                <a:gd name="T74" fmla="*/ 222 w 270"/>
                <a:gd name="T75" fmla="*/ 130 h 336"/>
                <a:gd name="T76" fmla="*/ 230 w 270"/>
                <a:gd name="T77" fmla="*/ 128 h 336"/>
                <a:gd name="T78" fmla="*/ 240 w 270"/>
                <a:gd name="T79" fmla="*/ 133 h 336"/>
                <a:gd name="T80" fmla="*/ 250 w 270"/>
                <a:gd name="T81" fmla="*/ 149 h 336"/>
                <a:gd name="T82" fmla="*/ 250 w 270"/>
                <a:gd name="T83" fmla="*/ 169 h 336"/>
                <a:gd name="T84" fmla="*/ 261 w 270"/>
                <a:gd name="T85" fmla="*/ 136 h 336"/>
                <a:gd name="T86" fmla="*/ 270 w 270"/>
                <a:gd name="T87" fmla="*/ 92 h 336"/>
                <a:gd name="T88" fmla="*/ 267 w 270"/>
                <a:gd name="T89" fmla="*/ 31 h 336"/>
                <a:gd name="T90" fmla="*/ 219 w 270"/>
                <a:gd name="T91"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0" h="336">
                  <a:moveTo>
                    <a:pt x="219" y="0"/>
                  </a:moveTo>
                  <a:lnTo>
                    <a:pt x="219" y="0"/>
                  </a:lnTo>
                  <a:lnTo>
                    <a:pt x="221" y="10"/>
                  </a:lnTo>
                  <a:lnTo>
                    <a:pt x="224" y="21"/>
                  </a:lnTo>
                  <a:lnTo>
                    <a:pt x="226" y="36"/>
                  </a:lnTo>
                  <a:lnTo>
                    <a:pt x="226" y="52"/>
                  </a:lnTo>
                  <a:lnTo>
                    <a:pt x="225" y="72"/>
                  </a:lnTo>
                  <a:lnTo>
                    <a:pt x="222" y="82"/>
                  </a:lnTo>
                  <a:lnTo>
                    <a:pt x="220" y="92"/>
                  </a:lnTo>
                  <a:lnTo>
                    <a:pt x="216" y="103"/>
                  </a:lnTo>
                  <a:lnTo>
                    <a:pt x="213" y="113"/>
                  </a:lnTo>
                  <a:lnTo>
                    <a:pt x="213" y="113"/>
                  </a:lnTo>
                  <a:lnTo>
                    <a:pt x="213" y="110"/>
                  </a:lnTo>
                  <a:lnTo>
                    <a:pt x="213" y="104"/>
                  </a:lnTo>
                  <a:lnTo>
                    <a:pt x="211" y="97"/>
                  </a:lnTo>
                  <a:lnTo>
                    <a:pt x="209" y="93"/>
                  </a:lnTo>
                  <a:lnTo>
                    <a:pt x="206" y="89"/>
                  </a:lnTo>
                  <a:lnTo>
                    <a:pt x="206" y="89"/>
                  </a:lnTo>
                  <a:lnTo>
                    <a:pt x="203" y="87"/>
                  </a:lnTo>
                  <a:lnTo>
                    <a:pt x="199" y="85"/>
                  </a:lnTo>
                  <a:lnTo>
                    <a:pt x="199" y="85"/>
                  </a:lnTo>
                  <a:lnTo>
                    <a:pt x="196" y="85"/>
                  </a:lnTo>
                  <a:lnTo>
                    <a:pt x="194" y="88"/>
                  </a:lnTo>
                  <a:lnTo>
                    <a:pt x="193" y="90"/>
                  </a:lnTo>
                  <a:lnTo>
                    <a:pt x="191" y="95"/>
                  </a:lnTo>
                  <a:lnTo>
                    <a:pt x="185" y="128"/>
                  </a:lnTo>
                  <a:lnTo>
                    <a:pt x="179" y="150"/>
                  </a:lnTo>
                  <a:lnTo>
                    <a:pt x="175" y="162"/>
                  </a:lnTo>
                  <a:lnTo>
                    <a:pt x="170" y="175"/>
                  </a:lnTo>
                  <a:lnTo>
                    <a:pt x="164" y="187"/>
                  </a:lnTo>
                  <a:lnTo>
                    <a:pt x="157" y="200"/>
                  </a:lnTo>
                  <a:lnTo>
                    <a:pt x="147" y="213"/>
                  </a:lnTo>
                  <a:lnTo>
                    <a:pt x="136" y="227"/>
                  </a:lnTo>
                  <a:lnTo>
                    <a:pt x="136" y="227"/>
                  </a:lnTo>
                  <a:lnTo>
                    <a:pt x="124" y="213"/>
                  </a:lnTo>
                  <a:lnTo>
                    <a:pt x="114" y="201"/>
                  </a:lnTo>
                  <a:lnTo>
                    <a:pt x="107" y="187"/>
                  </a:lnTo>
                  <a:lnTo>
                    <a:pt x="101" y="175"/>
                  </a:lnTo>
                  <a:lnTo>
                    <a:pt x="95" y="162"/>
                  </a:lnTo>
                  <a:lnTo>
                    <a:pt x="91" y="150"/>
                  </a:lnTo>
                  <a:lnTo>
                    <a:pt x="86" y="128"/>
                  </a:lnTo>
                  <a:lnTo>
                    <a:pt x="80" y="95"/>
                  </a:lnTo>
                  <a:lnTo>
                    <a:pt x="78" y="90"/>
                  </a:lnTo>
                  <a:lnTo>
                    <a:pt x="76" y="88"/>
                  </a:lnTo>
                  <a:lnTo>
                    <a:pt x="73" y="85"/>
                  </a:lnTo>
                  <a:lnTo>
                    <a:pt x="71" y="85"/>
                  </a:lnTo>
                  <a:lnTo>
                    <a:pt x="71" y="85"/>
                  </a:lnTo>
                  <a:lnTo>
                    <a:pt x="65" y="89"/>
                  </a:lnTo>
                  <a:lnTo>
                    <a:pt x="65" y="89"/>
                  </a:lnTo>
                  <a:lnTo>
                    <a:pt x="61" y="93"/>
                  </a:lnTo>
                  <a:lnTo>
                    <a:pt x="60" y="97"/>
                  </a:lnTo>
                  <a:lnTo>
                    <a:pt x="57" y="104"/>
                  </a:lnTo>
                  <a:lnTo>
                    <a:pt x="57" y="110"/>
                  </a:lnTo>
                  <a:lnTo>
                    <a:pt x="58" y="113"/>
                  </a:lnTo>
                  <a:lnTo>
                    <a:pt x="58" y="113"/>
                  </a:lnTo>
                  <a:lnTo>
                    <a:pt x="54" y="103"/>
                  </a:lnTo>
                  <a:lnTo>
                    <a:pt x="50" y="92"/>
                  </a:lnTo>
                  <a:lnTo>
                    <a:pt x="47" y="82"/>
                  </a:lnTo>
                  <a:lnTo>
                    <a:pt x="46" y="72"/>
                  </a:lnTo>
                  <a:lnTo>
                    <a:pt x="44" y="53"/>
                  </a:lnTo>
                  <a:lnTo>
                    <a:pt x="45" y="36"/>
                  </a:lnTo>
                  <a:lnTo>
                    <a:pt x="46" y="21"/>
                  </a:lnTo>
                  <a:lnTo>
                    <a:pt x="49" y="10"/>
                  </a:lnTo>
                  <a:lnTo>
                    <a:pt x="52" y="0"/>
                  </a:lnTo>
                  <a:lnTo>
                    <a:pt x="11" y="0"/>
                  </a:lnTo>
                  <a:lnTo>
                    <a:pt x="11" y="0"/>
                  </a:lnTo>
                  <a:lnTo>
                    <a:pt x="8" y="15"/>
                  </a:lnTo>
                  <a:lnTo>
                    <a:pt x="4" y="31"/>
                  </a:lnTo>
                  <a:lnTo>
                    <a:pt x="1" y="52"/>
                  </a:lnTo>
                  <a:lnTo>
                    <a:pt x="0" y="78"/>
                  </a:lnTo>
                  <a:lnTo>
                    <a:pt x="1" y="92"/>
                  </a:lnTo>
                  <a:lnTo>
                    <a:pt x="3" y="107"/>
                  </a:lnTo>
                  <a:lnTo>
                    <a:pt x="5" y="121"/>
                  </a:lnTo>
                  <a:lnTo>
                    <a:pt x="9" y="136"/>
                  </a:lnTo>
                  <a:lnTo>
                    <a:pt x="14" y="152"/>
                  </a:lnTo>
                  <a:lnTo>
                    <a:pt x="21" y="169"/>
                  </a:lnTo>
                  <a:lnTo>
                    <a:pt x="21" y="169"/>
                  </a:lnTo>
                  <a:lnTo>
                    <a:pt x="20" y="164"/>
                  </a:lnTo>
                  <a:lnTo>
                    <a:pt x="20" y="155"/>
                  </a:lnTo>
                  <a:lnTo>
                    <a:pt x="21" y="149"/>
                  </a:lnTo>
                  <a:lnTo>
                    <a:pt x="22" y="143"/>
                  </a:lnTo>
                  <a:lnTo>
                    <a:pt x="26" y="138"/>
                  </a:lnTo>
                  <a:lnTo>
                    <a:pt x="30" y="133"/>
                  </a:lnTo>
                  <a:lnTo>
                    <a:pt x="30" y="133"/>
                  </a:lnTo>
                  <a:lnTo>
                    <a:pt x="35" y="129"/>
                  </a:lnTo>
                  <a:lnTo>
                    <a:pt x="40" y="128"/>
                  </a:lnTo>
                  <a:lnTo>
                    <a:pt x="40" y="128"/>
                  </a:lnTo>
                  <a:lnTo>
                    <a:pt x="45" y="128"/>
                  </a:lnTo>
                  <a:lnTo>
                    <a:pt x="47" y="130"/>
                  </a:lnTo>
                  <a:lnTo>
                    <a:pt x="50" y="135"/>
                  </a:lnTo>
                  <a:lnTo>
                    <a:pt x="52" y="143"/>
                  </a:lnTo>
                  <a:lnTo>
                    <a:pt x="56" y="162"/>
                  </a:lnTo>
                  <a:lnTo>
                    <a:pt x="61" y="190"/>
                  </a:lnTo>
                  <a:lnTo>
                    <a:pt x="65" y="206"/>
                  </a:lnTo>
                  <a:lnTo>
                    <a:pt x="70" y="222"/>
                  </a:lnTo>
                  <a:lnTo>
                    <a:pt x="76" y="241"/>
                  </a:lnTo>
                  <a:lnTo>
                    <a:pt x="83" y="258"/>
                  </a:lnTo>
                  <a:lnTo>
                    <a:pt x="93" y="278"/>
                  </a:lnTo>
                  <a:lnTo>
                    <a:pt x="104" y="297"/>
                  </a:lnTo>
                  <a:lnTo>
                    <a:pt x="118" y="316"/>
                  </a:lnTo>
                  <a:lnTo>
                    <a:pt x="136" y="336"/>
                  </a:lnTo>
                  <a:lnTo>
                    <a:pt x="136" y="336"/>
                  </a:lnTo>
                  <a:lnTo>
                    <a:pt x="152" y="316"/>
                  </a:lnTo>
                  <a:lnTo>
                    <a:pt x="167" y="297"/>
                  </a:lnTo>
                  <a:lnTo>
                    <a:pt x="178" y="278"/>
                  </a:lnTo>
                  <a:lnTo>
                    <a:pt x="188" y="258"/>
                  </a:lnTo>
                  <a:lnTo>
                    <a:pt x="195" y="241"/>
                  </a:lnTo>
                  <a:lnTo>
                    <a:pt x="201" y="222"/>
                  </a:lnTo>
                  <a:lnTo>
                    <a:pt x="206" y="206"/>
                  </a:lnTo>
                  <a:lnTo>
                    <a:pt x="209" y="190"/>
                  </a:lnTo>
                  <a:lnTo>
                    <a:pt x="214" y="162"/>
                  </a:lnTo>
                  <a:lnTo>
                    <a:pt x="218" y="143"/>
                  </a:lnTo>
                  <a:lnTo>
                    <a:pt x="220" y="135"/>
                  </a:lnTo>
                  <a:lnTo>
                    <a:pt x="222" y="130"/>
                  </a:lnTo>
                  <a:lnTo>
                    <a:pt x="226" y="128"/>
                  </a:lnTo>
                  <a:lnTo>
                    <a:pt x="230" y="128"/>
                  </a:lnTo>
                  <a:lnTo>
                    <a:pt x="230" y="128"/>
                  </a:lnTo>
                  <a:lnTo>
                    <a:pt x="236" y="129"/>
                  </a:lnTo>
                  <a:lnTo>
                    <a:pt x="240" y="133"/>
                  </a:lnTo>
                  <a:lnTo>
                    <a:pt x="240" y="133"/>
                  </a:lnTo>
                  <a:lnTo>
                    <a:pt x="245" y="138"/>
                  </a:lnTo>
                  <a:lnTo>
                    <a:pt x="247" y="143"/>
                  </a:lnTo>
                  <a:lnTo>
                    <a:pt x="250" y="149"/>
                  </a:lnTo>
                  <a:lnTo>
                    <a:pt x="250" y="155"/>
                  </a:lnTo>
                  <a:lnTo>
                    <a:pt x="250" y="164"/>
                  </a:lnTo>
                  <a:lnTo>
                    <a:pt x="250" y="169"/>
                  </a:lnTo>
                  <a:lnTo>
                    <a:pt x="250" y="169"/>
                  </a:lnTo>
                  <a:lnTo>
                    <a:pt x="256" y="152"/>
                  </a:lnTo>
                  <a:lnTo>
                    <a:pt x="261" y="136"/>
                  </a:lnTo>
                  <a:lnTo>
                    <a:pt x="266" y="121"/>
                  </a:lnTo>
                  <a:lnTo>
                    <a:pt x="268" y="107"/>
                  </a:lnTo>
                  <a:lnTo>
                    <a:pt x="270" y="92"/>
                  </a:lnTo>
                  <a:lnTo>
                    <a:pt x="270" y="78"/>
                  </a:lnTo>
                  <a:lnTo>
                    <a:pt x="270" y="52"/>
                  </a:lnTo>
                  <a:lnTo>
                    <a:pt x="267" y="31"/>
                  </a:lnTo>
                  <a:lnTo>
                    <a:pt x="263" y="15"/>
                  </a:lnTo>
                  <a:lnTo>
                    <a:pt x="259" y="0"/>
                  </a:lnTo>
                  <a:lnTo>
                    <a:pt x="219" y="0"/>
                  </a:lnTo>
                  <a:close/>
                </a:path>
              </a:pathLst>
            </a:custGeom>
            <a:solidFill>
              <a:srgbClr val="55CBC5"/>
            </a:solidFill>
            <a:ln>
              <a:noFill/>
            </a:ln>
            <a:effectLst>
              <a:outerShdw blurRad="50800" dist="38100" dir="18900000" algn="bl"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sp>
        <p:nvSpPr>
          <p:cNvPr id="24" name="Oval 23"/>
          <p:cNvSpPr/>
          <p:nvPr/>
        </p:nvSpPr>
        <p:spPr>
          <a:xfrm>
            <a:off x="1298575" y="2425700"/>
            <a:ext cx="1843088" cy="1841500"/>
          </a:xfrm>
          <a:prstGeom prst="ellipse">
            <a:avLst/>
          </a:prstGeom>
          <a:solidFill>
            <a:srgbClr val="222A3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10" name="Rectangle 209"/>
          <p:cNvSpPr/>
          <p:nvPr/>
        </p:nvSpPr>
        <p:spPr>
          <a:xfrm>
            <a:off x="0" y="4071938"/>
            <a:ext cx="12192000" cy="278606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nvGrpSpPr>
          <p:cNvPr id="18" name="Group 17"/>
          <p:cNvGrpSpPr/>
          <p:nvPr/>
        </p:nvGrpSpPr>
        <p:grpSpPr>
          <a:xfrm rot="410516">
            <a:off x="-72525" y="1675323"/>
            <a:ext cx="4050192" cy="2630563"/>
            <a:chOff x="188916" y="1693150"/>
            <a:chExt cx="3778618" cy="2454178"/>
          </a:xfrm>
          <a:effectLst>
            <a:outerShdw blurRad="50800" dist="38100" dir="18900000" algn="bl" rotWithShape="0">
              <a:prstClr val="black">
                <a:alpha val="40000"/>
              </a:prstClr>
            </a:outerShdw>
          </a:effectLst>
        </p:grpSpPr>
        <p:sp>
          <p:nvSpPr>
            <p:cNvPr id="238" name="Freeform 237"/>
            <p:cNvSpPr>
              <a:spLocks/>
            </p:cNvSpPr>
            <p:nvPr/>
          </p:nvSpPr>
          <p:spPr bwMode="auto">
            <a:xfrm rot="762300">
              <a:off x="188916" y="1801441"/>
              <a:ext cx="2528315" cy="2173324"/>
            </a:xfrm>
            <a:custGeom>
              <a:avLst/>
              <a:gdLst>
                <a:gd name="connsiteX0" fmla="*/ 1380277 w 2528315"/>
                <a:gd name="connsiteY0" fmla="*/ 6127 h 2173324"/>
                <a:gd name="connsiteX1" fmla="*/ 1394033 w 2528315"/>
                <a:gd name="connsiteY1" fmla="*/ 3581 h 2173324"/>
                <a:gd name="connsiteX2" fmla="*/ 1408343 w 2528315"/>
                <a:gd name="connsiteY2" fmla="*/ 1652 h 2173324"/>
                <a:gd name="connsiteX3" fmla="*/ 1422485 w 2528315"/>
                <a:gd name="connsiteY3" fmla="*/ 654 h 2173324"/>
                <a:gd name="connsiteX4" fmla="*/ 1436491 w 2528315"/>
                <a:gd name="connsiteY4" fmla="*/ 0 h 2173324"/>
                <a:gd name="connsiteX5" fmla="*/ 1450330 w 2528315"/>
                <a:gd name="connsiteY5" fmla="*/ 276 h 2173324"/>
                <a:gd name="connsiteX6" fmla="*/ 1464377 w 2528315"/>
                <a:gd name="connsiteY6" fmla="*/ 1033 h 2173324"/>
                <a:gd name="connsiteX7" fmla="*/ 1478152 w 2528315"/>
                <a:gd name="connsiteY7" fmla="*/ 2479 h 2173324"/>
                <a:gd name="connsiteX8" fmla="*/ 1491519 w 2528315"/>
                <a:gd name="connsiteY8" fmla="*/ 4961 h 2173324"/>
                <a:gd name="connsiteX9" fmla="*/ 1505231 w 2528315"/>
                <a:gd name="connsiteY9" fmla="*/ 7578 h 2173324"/>
                <a:gd name="connsiteX10" fmla="*/ 1518535 w 2528315"/>
                <a:gd name="connsiteY10" fmla="*/ 11229 h 2173324"/>
                <a:gd name="connsiteX11" fmla="*/ 1531703 w 2528315"/>
                <a:gd name="connsiteY11" fmla="*/ 15226 h 2173324"/>
                <a:gd name="connsiteX12" fmla="*/ 1544704 w 2528315"/>
                <a:gd name="connsiteY12" fmla="*/ 20152 h 2173324"/>
                <a:gd name="connsiteX13" fmla="*/ 1557568 w 2528315"/>
                <a:gd name="connsiteY13" fmla="*/ 25424 h 2173324"/>
                <a:gd name="connsiteX14" fmla="*/ 1569815 w 2528315"/>
                <a:gd name="connsiteY14" fmla="*/ 31249 h 2173324"/>
                <a:gd name="connsiteX15" fmla="*/ 1581895 w 2528315"/>
                <a:gd name="connsiteY15" fmla="*/ 38004 h 2173324"/>
                <a:gd name="connsiteX16" fmla="*/ 1593839 w 2528315"/>
                <a:gd name="connsiteY16" fmla="*/ 45104 h 2173324"/>
                <a:gd name="connsiteX17" fmla="*/ 1605166 w 2528315"/>
                <a:gd name="connsiteY17" fmla="*/ 52758 h 2173324"/>
                <a:gd name="connsiteX18" fmla="*/ 1616461 w 2528315"/>
                <a:gd name="connsiteY18" fmla="*/ 60997 h 2173324"/>
                <a:gd name="connsiteX19" fmla="*/ 1627244 w 2528315"/>
                <a:gd name="connsiteY19" fmla="*/ 70031 h 2173324"/>
                <a:gd name="connsiteX20" fmla="*/ 1637546 w 2528315"/>
                <a:gd name="connsiteY20" fmla="*/ 79273 h 2173324"/>
                <a:gd name="connsiteX21" fmla="*/ 1647576 w 2528315"/>
                <a:gd name="connsiteY21" fmla="*/ 89204 h 2173324"/>
                <a:gd name="connsiteX22" fmla="*/ 1656988 w 2528315"/>
                <a:gd name="connsiteY22" fmla="*/ 99690 h 2173324"/>
                <a:gd name="connsiteX23" fmla="*/ 1665785 w 2528315"/>
                <a:gd name="connsiteY23" fmla="*/ 110729 h 2173324"/>
                <a:gd name="connsiteX24" fmla="*/ 1674340 w 2528315"/>
                <a:gd name="connsiteY24" fmla="*/ 121873 h 2173324"/>
                <a:gd name="connsiteX25" fmla="*/ 1682383 w 2528315"/>
                <a:gd name="connsiteY25" fmla="*/ 133811 h 2173324"/>
                <a:gd name="connsiteX26" fmla="*/ 1688132 w 2528315"/>
                <a:gd name="connsiteY26" fmla="*/ 143481 h 2173324"/>
                <a:gd name="connsiteX27" fmla="*/ 1694059 w 2528315"/>
                <a:gd name="connsiteY27" fmla="*/ 138425 h 2173324"/>
                <a:gd name="connsiteX28" fmla="*/ 1701201 w 2528315"/>
                <a:gd name="connsiteY28" fmla="*/ 132871 h 2173324"/>
                <a:gd name="connsiteX29" fmla="*/ 1708740 w 2528315"/>
                <a:gd name="connsiteY29" fmla="*/ 127713 h 2173324"/>
                <a:gd name="connsiteX30" fmla="*/ 1716081 w 2528315"/>
                <a:gd name="connsiteY30" fmla="*/ 122556 h 2173324"/>
                <a:gd name="connsiteX31" fmla="*/ 1724017 w 2528315"/>
                <a:gd name="connsiteY31" fmla="*/ 117993 h 2173324"/>
                <a:gd name="connsiteX32" fmla="*/ 1731952 w 2528315"/>
                <a:gd name="connsiteY32" fmla="*/ 113629 h 2173324"/>
                <a:gd name="connsiteX33" fmla="*/ 1740285 w 2528315"/>
                <a:gd name="connsiteY33" fmla="*/ 109662 h 2173324"/>
                <a:gd name="connsiteX34" fmla="*/ 1748617 w 2528315"/>
                <a:gd name="connsiteY34" fmla="*/ 106091 h 2173324"/>
                <a:gd name="connsiteX35" fmla="*/ 1757148 w 2528315"/>
                <a:gd name="connsiteY35" fmla="*/ 102719 h 2173324"/>
                <a:gd name="connsiteX36" fmla="*/ 1765878 w 2528315"/>
                <a:gd name="connsiteY36" fmla="*/ 99744 h 2173324"/>
                <a:gd name="connsiteX37" fmla="*/ 1774805 w 2528315"/>
                <a:gd name="connsiteY37" fmla="*/ 97165 h 2173324"/>
                <a:gd name="connsiteX38" fmla="*/ 1783733 w 2528315"/>
                <a:gd name="connsiteY38" fmla="*/ 94983 h 2173324"/>
                <a:gd name="connsiteX39" fmla="*/ 1793058 w 2528315"/>
                <a:gd name="connsiteY39" fmla="*/ 93197 h 2173324"/>
                <a:gd name="connsiteX40" fmla="*/ 1802382 w 2528315"/>
                <a:gd name="connsiteY40" fmla="*/ 91809 h 2173324"/>
                <a:gd name="connsiteX41" fmla="*/ 1811905 w 2528315"/>
                <a:gd name="connsiteY41" fmla="*/ 90619 h 2173324"/>
                <a:gd name="connsiteX42" fmla="*/ 1821428 w 2528315"/>
                <a:gd name="connsiteY42" fmla="*/ 90024 h 2173324"/>
                <a:gd name="connsiteX43" fmla="*/ 1831149 w 2528315"/>
                <a:gd name="connsiteY43" fmla="*/ 89627 h 2173324"/>
                <a:gd name="connsiteX44" fmla="*/ 1842458 w 2528315"/>
                <a:gd name="connsiteY44" fmla="*/ 90024 h 2173324"/>
                <a:gd name="connsiteX45" fmla="*/ 1853369 w 2528315"/>
                <a:gd name="connsiteY45" fmla="*/ 90817 h 2173324"/>
                <a:gd name="connsiteX46" fmla="*/ 1864281 w 2528315"/>
                <a:gd name="connsiteY46" fmla="*/ 92404 h 2173324"/>
                <a:gd name="connsiteX47" fmla="*/ 1874994 w 2528315"/>
                <a:gd name="connsiteY47" fmla="*/ 94189 h 2173324"/>
                <a:gd name="connsiteX48" fmla="*/ 1885311 w 2528315"/>
                <a:gd name="connsiteY48" fmla="*/ 96570 h 2173324"/>
                <a:gd name="connsiteX49" fmla="*/ 1895826 w 2528315"/>
                <a:gd name="connsiteY49" fmla="*/ 99545 h 2173324"/>
                <a:gd name="connsiteX50" fmla="*/ 1905944 w 2528315"/>
                <a:gd name="connsiteY50" fmla="*/ 103116 h 2173324"/>
                <a:gd name="connsiteX51" fmla="*/ 1915863 w 2528315"/>
                <a:gd name="connsiteY51" fmla="*/ 106885 h 2173324"/>
                <a:gd name="connsiteX52" fmla="*/ 1925386 w 2528315"/>
                <a:gd name="connsiteY52" fmla="*/ 111249 h 2173324"/>
                <a:gd name="connsiteX53" fmla="*/ 1934909 w 2528315"/>
                <a:gd name="connsiteY53" fmla="*/ 116010 h 2173324"/>
                <a:gd name="connsiteX54" fmla="*/ 1944035 w 2528315"/>
                <a:gd name="connsiteY54" fmla="*/ 121167 h 2173324"/>
                <a:gd name="connsiteX55" fmla="*/ 1952566 w 2528315"/>
                <a:gd name="connsiteY55" fmla="*/ 126920 h 2173324"/>
                <a:gd name="connsiteX56" fmla="*/ 1961296 w 2528315"/>
                <a:gd name="connsiteY56" fmla="*/ 132871 h 2173324"/>
                <a:gd name="connsiteX57" fmla="*/ 1969430 w 2528315"/>
                <a:gd name="connsiteY57" fmla="*/ 139417 h 2173324"/>
                <a:gd name="connsiteX58" fmla="*/ 1977366 w 2528315"/>
                <a:gd name="connsiteY58" fmla="*/ 146161 h 2173324"/>
                <a:gd name="connsiteX59" fmla="*/ 1984905 w 2528315"/>
                <a:gd name="connsiteY59" fmla="*/ 153501 h 2173324"/>
                <a:gd name="connsiteX60" fmla="*/ 1992245 w 2528315"/>
                <a:gd name="connsiteY60" fmla="*/ 161039 h 2173324"/>
                <a:gd name="connsiteX61" fmla="*/ 1998990 w 2528315"/>
                <a:gd name="connsiteY61" fmla="*/ 168775 h 2173324"/>
                <a:gd name="connsiteX62" fmla="*/ 2005339 w 2528315"/>
                <a:gd name="connsiteY62" fmla="*/ 177107 h 2173324"/>
                <a:gd name="connsiteX63" fmla="*/ 2011489 w 2528315"/>
                <a:gd name="connsiteY63" fmla="*/ 185636 h 2173324"/>
                <a:gd name="connsiteX64" fmla="*/ 2017044 w 2528315"/>
                <a:gd name="connsiteY64" fmla="*/ 194364 h 2173324"/>
                <a:gd name="connsiteX65" fmla="*/ 2022401 w 2528315"/>
                <a:gd name="connsiteY65" fmla="*/ 203489 h 2173324"/>
                <a:gd name="connsiteX66" fmla="*/ 2027162 w 2528315"/>
                <a:gd name="connsiteY66" fmla="*/ 213011 h 2173324"/>
                <a:gd name="connsiteX67" fmla="*/ 2031527 w 2528315"/>
                <a:gd name="connsiteY67" fmla="*/ 222533 h 2173324"/>
                <a:gd name="connsiteX68" fmla="*/ 2035495 w 2528315"/>
                <a:gd name="connsiteY68" fmla="*/ 232451 h 2173324"/>
                <a:gd name="connsiteX69" fmla="*/ 2038868 w 2528315"/>
                <a:gd name="connsiteY69" fmla="*/ 242568 h 2173324"/>
                <a:gd name="connsiteX70" fmla="*/ 2041645 w 2528315"/>
                <a:gd name="connsiteY70" fmla="*/ 252883 h 2173324"/>
                <a:gd name="connsiteX71" fmla="*/ 2044224 w 2528315"/>
                <a:gd name="connsiteY71" fmla="*/ 263198 h 2173324"/>
                <a:gd name="connsiteX72" fmla="*/ 2046208 w 2528315"/>
                <a:gd name="connsiteY72" fmla="*/ 273909 h 2173324"/>
                <a:gd name="connsiteX73" fmla="*/ 2047597 w 2528315"/>
                <a:gd name="connsiteY73" fmla="*/ 284820 h 2173324"/>
                <a:gd name="connsiteX74" fmla="*/ 2048391 w 2528315"/>
                <a:gd name="connsiteY74" fmla="*/ 295928 h 2173324"/>
                <a:gd name="connsiteX75" fmla="*/ 2048589 w 2528315"/>
                <a:gd name="connsiteY75" fmla="*/ 307037 h 2173324"/>
                <a:gd name="connsiteX76" fmla="*/ 2048589 w 2528315"/>
                <a:gd name="connsiteY76" fmla="*/ 311202 h 2173324"/>
                <a:gd name="connsiteX77" fmla="*/ 2048589 w 2528315"/>
                <a:gd name="connsiteY77" fmla="*/ 314971 h 2173324"/>
                <a:gd name="connsiteX78" fmla="*/ 2048391 w 2528315"/>
                <a:gd name="connsiteY78" fmla="*/ 318740 h 2173324"/>
                <a:gd name="connsiteX79" fmla="*/ 2048192 w 2528315"/>
                <a:gd name="connsiteY79" fmla="*/ 322708 h 2173324"/>
                <a:gd name="connsiteX80" fmla="*/ 2047795 w 2528315"/>
                <a:gd name="connsiteY80" fmla="*/ 326477 h 2173324"/>
                <a:gd name="connsiteX81" fmla="*/ 2047399 w 2528315"/>
                <a:gd name="connsiteY81" fmla="*/ 330246 h 2173324"/>
                <a:gd name="connsiteX82" fmla="*/ 2047002 w 2528315"/>
                <a:gd name="connsiteY82" fmla="*/ 334015 h 2173324"/>
                <a:gd name="connsiteX83" fmla="*/ 2046605 w 2528315"/>
                <a:gd name="connsiteY83" fmla="*/ 337784 h 2173324"/>
                <a:gd name="connsiteX84" fmla="*/ 2054342 w 2528315"/>
                <a:gd name="connsiteY84" fmla="*/ 338577 h 2173324"/>
                <a:gd name="connsiteX85" fmla="*/ 2062080 w 2528315"/>
                <a:gd name="connsiteY85" fmla="*/ 339569 h 2173324"/>
                <a:gd name="connsiteX86" fmla="*/ 2069817 w 2528315"/>
                <a:gd name="connsiteY86" fmla="*/ 341156 h 2173324"/>
                <a:gd name="connsiteX87" fmla="*/ 2077356 w 2528315"/>
                <a:gd name="connsiteY87" fmla="*/ 342941 h 2173324"/>
                <a:gd name="connsiteX88" fmla="*/ 2084697 w 2528315"/>
                <a:gd name="connsiteY88" fmla="*/ 345321 h 2173324"/>
                <a:gd name="connsiteX89" fmla="*/ 2091839 w 2528315"/>
                <a:gd name="connsiteY89" fmla="*/ 347702 h 2173324"/>
                <a:gd name="connsiteX90" fmla="*/ 2098783 w 2528315"/>
                <a:gd name="connsiteY90" fmla="*/ 350479 h 2173324"/>
                <a:gd name="connsiteX91" fmla="*/ 2105925 w 2528315"/>
                <a:gd name="connsiteY91" fmla="*/ 353653 h 2173324"/>
                <a:gd name="connsiteX92" fmla="*/ 2112670 w 2528315"/>
                <a:gd name="connsiteY92" fmla="*/ 357223 h 2173324"/>
                <a:gd name="connsiteX93" fmla="*/ 2119019 w 2528315"/>
                <a:gd name="connsiteY93" fmla="*/ 360992 h 2173324"/>
                <a:gd name="connsiteX94" fmla="*/ 2125566 w 2528315"/>
                <a:gd name="connsiteY94" fmla="*/ 364960 h 2173324"/>
                <a:gd name="connsiteX95" fmla="*/ 2131518 w 2528315"/>
                <a:gd name="connsiteY95" fmla="*/ 369324 h 2173324"/>
                <a:gd name="connsiteX96" fmla="*/ 2137469 w 2528315"/>
                <a:gd name="connsiteY96" fmla="*/ 373886 h 2173324"/>
                <a:gd name="connsiteX97" fmla="*/ 2143223 w 2528315"/>
                <a:gd name="connsiteY97" fmla="*/ 378647 h 2173324"/>
                <a:gd name="connsiteX98" fmla="*/ 2148778 w 2528315"/>
                <a:gd name="connsiteY98" fmla="*/ 384003 h 2173324"/>
                <a:gd name="connsiteX99" fmla="*/ 2153936 w 2528315"/>
                <a:gd name="connsiteY99" fmla="*/ 389161 h 2173324"/>
                <a:gd name="connsiteX100" fmla="*/ 2158896 w 2528315"/>
                <a:gd name="connsiteY100" fmla="*/ 394913 h 2173324"/>
                <a:gd name="connsiteX101" fmla="*/ 2163657 w 2528315"/>
                <a:gd name="connsiteY101" fmla="*/ 400666 h 2173324"/>
                <a:gd name="connsiteX102" fmla="*/ 2168220 w 2528315"/>
                <a:gd name="connsiteY102" fmla="*/ 406815 h 2173324"/>
                <a:gd name="connsiteX103" fmla="*/ 2172387 w 2528315"/>
                <a:gd name="connsiteY103" fmla="*/ 412766 h 2173324"/>
                <a:gd name="connsiteX104" fmla="*/ 2176156 w 2528315"/>
                <a:gd name="connsiteY104" fmla="*/ 419312 h 2173324"/>
                <a:gd name="connsiteX105" fmla="*/ 2179926 w 2528315"/>
                <a:gd name="connsiteY105" fmla="*/ 426057 h 2173324"/>
                <a:gd name="connsiteX106" fmla="*/ 2183100 w 2528315"/>
                <a:gd name="connsiteY106" fmla="*/ 432801 h 2173324"/>
                <a:gd name="connsiteX107" fmla="*/ 2186076 w 2528315"/>
                <a:gd name="connsiteY107" fmla="*/ 439744 h 2173324"/>
                <a:gd name="connsiteX108" fmla="*/ 2188655 w 2528315"/>
                <a:gd name="connsiteY108" fmla="*/ 446885 h 2173324"/>
                <a:gd name="connsiteX109" fmla="*/ 2191234 w 2528315"/>
                <a:gd name="connsiteY109" fmla="*/ 454225 h 2173324"/>
                <a:gd name="connsiteX110" fmla="*/ 2193073 w 2528315"/>
                <a:gd name="connsiteY110" fmla="*/ 461211 h 2173324"/>
                <a:gd name="connsiteX111" fmla="*/ 2194815 w 2528315"/>
                <a:gd name="connsiteY111" fmla="*/ 461464 h 2173324"/>
                <a:gd name="connsiteX112" fmla="*/ 2205528 w 2528315"/>
                <a:gd name="connsiteY112" fmla="*/ 463250 h 2173324"/>
                <a:gd name="connsiteX113" fmla="*/ 2215845 w 2528315"/>
                <a:gd name="connsiteY113" fmla="*/ 465630 h 2173324"/>
                <a:gd name="connsiteX114" fmla="*/ 2226360 w 2528315"/>
                <a:gd name="connsiteY114" fmla="*/ 468605 h 2173324"/>
                <a:gd name="connsiteX115" fmla="*/ 2236478 w 2528315"/>
                <a:gd name="connsiteY115" fmla="*/ 472176 h 2173324"/>
                <a:gd name="connsiteX116" fmla="*/ 2246398 w 2528315"/>
                <a:gd name="connsiteY116" fmla="*/ 475945 h 2173324"/>
                <a:gd name="connsiteX117" fmla="*/ 2255920 w 2528315"/>
                <a:gd name="connsiteY117" fmla="*/ 480309 h 2173324"/>
                <a:gd name="connsiteX118" fmla="*/ 2265443 w 2528315"/>
                <a:gd name="connsiteY118" fmla="*/ 485070 h 2173324"/>
                <a:gd name="connsiteX119" fmla="*/ 2274569 w 2528315"/>
                <a:gd name="connsiteY119" fmla="*/ 490227 h 2173324"/>
                <a:gd name="connsiteX120" fmla="*/ 2283100 w 2528315"/>
                <a:gd name="connsiteY120" fmla="*/ 495980 h 2173324"/>
                <a:gd name="connsiteX121" fmla="*/ 2291830 w 2528315"/>
                <a:gd name="connsiteY121" fmla="*/ 501931 h 2173324"/>
                <a:gd name="connsiteX122" fmla="*/ 2299964 w 2528315"/>
                <a:gd name="connsiteY122" fmla="*/ 508477 h 2173324"/>
                <a:gd name="connsiteX123" fmla="*/ 2307900 w 2528315"/>
                <a:gd name="connsiteY123" fmla="*/ 515222 h 2173324"/>
                <a:gd name="connsiteX124" fmla="*/ 2315439 w 2528315"/>
                <a:gd name="connsiteY124" fmla="*/ 522561 h 2173324"/>
                <a:gd name="connsiteX125" fmla="*/ 2322779 w 2528315"/>
                <a:gd name="connsiteY125" fmla="*/ 530099 h 2173324"/>
                <a:gd name="connsiteX126" fmla="*/ 2329525 w 2528315"/>
                <a:gd name="connsiteY126" fmla="*/ 537835 h 2173324"/>
                <a:gd name="connsiteX127" fmla="*/ 2335873 w 2528315"/>
                <a:gd name="connsiteY127" fmla="*/ 546167 h 2173324"/>
                <a:gd name="connsiteX128" fmla="*/ 2342023 w 2528315"/>
                <a:gd name="connsiteY128" fmla="*/ 554697 h 2173324"/>
                <a:gd name="connsiteX129" fmla="*/ 2347578 w 2528315"/>
                <a:gd name="connsiteY129" fmla="*/ 563425 h 2173324"/>
                <a:gd name="connsiteX130" fmla="*/ 2352935 w 2528315"/>
                <a:gd name="connsiteY130" fmla="*/ 572550 h 2173324"/>
                <a:gd name="connsiteX131" fmla="*/ 2357696 w 2528315"/>
                <a:gd name="connsiteY131" fmla="*/ 582071 h 2173324"/>
                <a:gd name="connsiteX132" fmla="*/ 2362061 w 2528315"/>
                <a:gd name="connsiteY132" fmla="*/ 591593 h 2173324"/>
                <a:gd name="connsiteX133" fmla="*/ 2366029 w 2528315"/>
                <a:gd name="connsiteY133" fmla="*/ 601511 h 2173324"/>
                <a:gd name="connsiteX134" fmla="*/ 2369402 w 2528315"/>
                <a:gd name="connsiteY134" fmla="*/ 611628 h 2173324"/>
                <a:gd name="connsiteX135" fmla="*/ 2372179 w 2528315"/>
                <a:gd name="connsiteY135" fmla="*/ 621943 h 2173324"/>
                <a:gd name="connsiteX136" fmla="*/ 2374758 w 2528315"/>
                <a:gd name="connsiteY136" fmla="*/ 632258 h 2173324"/>
                <a:gd name="connsiteX137" fmla="*/ 2376742 w 2528315"/>
                <a:gd name="connsiteY137" fmla="*/ 642970 h 2173324"/>
                <a:gd name="connsiteX138" fmla="*/ 2378131 w 2528315"/>
                <a:gd name="connsiteY138" fmla="*/ 653880 h 2173324"/>
                <a:gd name="connsiteX139" fmla="*/ 2378925 w 2528315"/>
                <a:gd name="connsiteY139" fmla="*/ 664988 h 2173324"/>
                <a:gd name="connsiteX140" fmla="*/ 2379123 w 2528315"/>
                <a:gd name="connsiteY140" fmla="*/ 676097 h 2173324"/>
                <a:gd name="connsiteX141" fmla="*/ 2379123 w 2528315"/>
                <a:gd name="connsiteY141" fmla="*/ 680263 h 2173324"/>
                <a:gd name="connsiteX142" fmla="*/ 2379123 w 2528315"/>
                <a:gd name="connsiteY142" fmla="*/ 684032 h 2173324"/>
                <a:gd name="connsiteX143" fmla="*/ 2378925 w 2528315"/>
                <a:gd name="connsiteY143" fmla="*/ 687801 h 2173324"/>
                <a:gd name="connsiteX144" fmla="*/ 2378726 w 2528315"/>
                <a:gd name="connsiteY144" fmla="*/ 691768 h 2173324"/>
                <a:gd name="connsiteX145" fmla="*/ 2378329 w 2528315"/>
                <a:gd name="connsiteY145" fmla="*/ 695537 h 2173324"/>
                <a:gd name="connsiteX146" fmla="*/ 2377933 w 2528315"/>
                <a:gd name="connsiteY146" fmla="*/ 699306 h 2173324"/>
                <a:gd name="connsiteX147" fmla="*/ 2377536 w 2528315"/>
                <a:gd name="connsiteY147" fmla="*/ 703075 h 2173324"/>
                <a:gd name="connsiteX148" fmla="*/ 2377139 w 2528315"/>
                <a:gd name="connsiteY148" fmla="*/ 706844 h 2173324"/>
                <a:gd name="connsiteX149" fmla="*/ 2384876 w 2528315"/>
                <a:gd name="connsiteY149" fmla="*/ 707637 h 2173324"/>
                <a:gd name="connsiteX150" fmla="*/ 2392614 w 2528315"/>
                <a:gd name="connsiteY150" fmla="*/ 708629 h 2173324"/>
                <a:gd name="connsiteX151" fmla="*/ 2400351 w 2528315"/>
                <a:gd name="connsiteY151" fmla="*/ 710216 h 2173324"/>
                <a:gd name="connsiteX152" fmla="*/ 2407890 w 2528315"/>
                <a:gd name="connsiteY152" fmla="*/ 712001 h 2173324"/>
                <a:gd name="connsiteX153" fmla="*/ 2415231 w 2528315"/>
                <a:gd name="connsiteY153" fmla="*/ 714382 h 2173324"/>
                <a:gd name="connsiteX154" fmla="*/ 2422373 w 2528315"/>
                <a:gd name="connsiteY154" fmla="*/ 716762 h 2173324"/>
                <a:gd name="connsiteX155" fmla="*/ 2429317 w 2528315"/>
                <a:gd name="connsiteY155" fmla="*/ 719539 h 2173324"/>
                <a:gd name="connsiteX156" fmla="*/ 2436459 w 2528315"/>
                <a:gd name="connsiteY156" fmla="*/ 722713 h 2173324"/>
                <a:gd name="connsiteX157" fmla="*/ 2443204 w 2528315"/>
                <a:gd name="connsiteY157" fmla="*/ 726284 h 2173324"/>
                <a:gd name="connsiteX158" fmla="*/ 2449553 w 2528315"/>
                <a:gd name="connsiteY158" fmla="*/ 730053 h 2173324"/>
                <a:gd name="connsiteX159" fmla="*/ 2456100 w 2528315"/>
                <a:gd name="connsiteY159" fmla="*/ 734020 h 2173324"/>
                <a:gd name="connsiteX160" fmla="*/ 2462052 w 2528315"/>
                <a:gd name="connsiteY160" fmla="*/ 738384 h 2173324"/>
                <a:gd name="connsiteX161" fmla="*/ 2468003 w 2528315"/>
                <a:gd name="connsiteY161" fmla="*/ 742947 h 2173324"/>
                <a:gd name="connsiteX162" fmla="*/ 2473757 w 2528315"/>
                <a:gd name="connsiteY162" fmla="*/ 747707 h 2173324"/>
                <a:gd name="connsiteX163" fmla="*/ 2479312 w 2528315"/>
                <a:gd name="connsiteY163" fmla="*/ 753063 h 2173324"/>
                <a:gd name="connsiteX164" fmla="*/ 2484470 w 2528315"/>
                <a:gd name="connsiteY164" fmla="*/ 758221 h 2173324"/>
                <a:gd name="connsiteX165" fmla="*/ 2489430 w 2528315"/>
                <a:gd name="connsiteY165" fmla="*/ 763973 h 2173324"/>
                <a:gd name="connsiteX166" fmla="*/ 2494191 w 2528315"/>
                <a:gd name="connsiteY166" fmla="*/ 769726 h 2173324"/>
                <a:gd name="connsiteX167" fmla="*/ 2498754 w 2528315"/>
                <a:gd name="connsiteY167" fmla="*/ 775875 h 2173324"/>
                <a:gd name="connsiteX168" fmla="*/ 2502921 w 2528315"/>
                <a:gd name="connsiteY168" fmla="*/ 781826 h 2173324"/>
                <a:gd name="connsiteX169" fmla="*/ 2506690 w 2528315"/>
                <a:gd name="connsiteY169" fmla="*/ 788373 h 2173324"/>
                <a:gd name="connsiteX170" fmla="*/ 2510460 w 2528315"/>
                <a:gd name="connsiteY170" fmla="*/ 795117 h 2173324"/>
                <a:gd name="connsiteX171" fmla="*/ 2513634 w 2528315"/>
                <a:gd name="connsiteY171" fmla="*/ 801861 h 2173324"/>
                <a:gd name="connsiteX172" fmla="*/ 2516610 w 2528315"/>
                <a:gd name="connsiteY172" fmla="*/ 808804 h 2173324"/>
                <a:gd name="connsiteX173" fmla="*/ 2519189 w 2528315"/>
                <a:gd name="connsiteY173" fmla="*/ 815945 h 2173324"/>
                <a:gd name="connsiteX174" fmla="*/ 2521768 w 2528315"/>
                <a:gd name="connsiteY174" fmla="*/ 823285 h 2173324"/>
                <a:gd name="connsiteX175" fmla="*/ 2523752 w 2528315"/>
                <a:gd name="connsiteY175" fmla="*/ 830823 h 2173324"/>
                <a:gd name="connsiteX176" fmla="*/ 2525339 w 2528315"/>
                <a:gd name="connsiteY176" fmla="*/ 838163 h 2173324"/>
                <a:gd name="connsiteX177" fmla="*/ 2526728 w 2528315"/>
                <a:gd name="connsiteY177" fmla="*/ 846097 h 2173324"/>
                <a:gd name="connsiteX178" fmla="*/ 2527522 w 2528315"/>
                <a:gd name="connsiteY178" fmla="*/ 853834 h 2173324"/>
                <a:gd name="connsiteX179" fmla="*/ 2528117 w 2528315"/>
                <a:gd name="connsiteY179" fmla="*/ 861768 h 2173324"/>
                <a:gd name="connsiteX180" fmla="*/ 2528315 w 2528315"/>
                <a:gd name="connsiteY180" fmla="*/ 869703 h 2173324"/>
                <a:gd name="connsiteX181" fmla="*/ 2528315 w 2528315"/>
                <a:gd name="connsiteY181" fmla="*/ 875654 h 2173324"/>
                <a:gd name="connsiteX182" fmla="*/ 2527918 w 2528315"/>
                <a:gd name="connsiteY182" fmla="*/ 881406 h 2173324"/>
                <a:gd name="connsiteX183" fmla="*/ 2527522 w 2528315"/>
                <a:gd name="connsiteY183" fmla="*/ 887159 h 2173324"/>
                <a:gd name="connsiteX184" fmla="*/ 2526728 w 2528315"/>
                <a:gd name="connsiteY184" fmla="*/ 892912 h 2173324"/>
                <a:gd name="connsiteX185" fmla="*/ 2525934 w 2528315"/>
                <a:gd name="connsiteY185" fmla="*/ 898268 h 2173324"/>
                <a:gd name="connsiteX186" fmla="*/ 2524744 w 2528315"/>
                <a:gd name="connsiteY186" fmla="*/ 904020 h 2173324"/>
                <a:gd name="connsiteX187" fmla="*/ 2523554 w 2528315"/>
                <a:gd name="connsiteY187" fmla="*/ 909376 h 2173324"/>
                <a:gd name="connsiteX188" fmla="*/ 2522165 w 2528315"/>
                <a:gd name="connsiteY188" fmla="*/ 914930 h 2173324"/>
                <a:gd name="connsiteX189" fmla="*/ 2520578 w 2528315"/>
                <a:gd name="connsiteY189" fmla="*/ 920088 h 2173324"/>
                <a:gd name="connsiteX190" fmla="*/ 2518594 w 2528315"/>
                <a:gd name="connsiteY190" fmla="*/ 925444 h 2173324"/>
                <a:gd name="connsiteX191" fmla="*/ 2516610 w 2528315"/>
                <a:gd name="connsiteY191" fmla="*/ 930601 h 2173324"/>
                <a:gd name="connsiteX192" fmla="*/ 2514626 w 2528315"/>
                <a:gd name="connsiteY192" fmla="*/ 935759 h 2173324"/>
                <a:gd name="connsiteX193" fmla="*/ 2512245 w 2528315"/>
                <a:gd name="connsiteY193" fmla="*/ 940718 h 2173324"/>
                <a:gd name="connsiteX194" fmla="*/ 2509865 w 2528315"/>
                <a:gd name="connsiteY194" fmla="*/ 945677 h 2173324"/>
                <a:gd name="connsiteX195" fmla="*/ 2507087 w 2528315"/>
                <a:gd name="connsiteY195" fmla="*/ 950438 h 2173324"/>
                <a:gd name="connsiteX196" fmla="*/ 2504310 w 2528315"/>
                <a:gd name="connsiteY196" fmla="*/ 955001 h 2173324"/>
                <a:gd name="connsiteX197" fmla="*/ 2501334 w 2528315"/>
                <a:gd name="connsiteY197" fmla="*/ 959761 h 2173324"/>
                <a:gd name="connsiteX198" fmla="*/ 2498358 w 2528315"/>
                <a:gd name="connsiteY198" fmla="*/ 964125 h 2173324"/>
                <a:gd name="connsiteX199" fmla="*/ 2494985 w 2528315"/>
                <a:gd name="connsiteY199" fmla="*/ 968688 h 2173324"/>
                <a:gd name="connsiteX200" fmla="*/ 2491811 w 2528315"/>
                <a:gd name="connsiteY200" fmla="*/ 972854 h 2173324"/>
                <a:gd name="connsiteX201" fmla="*/ 2488240 w 2528315"/>
                <a:gd name="connsiteY201" fmla="*/ 977019 h 2173324"/>
                <a:gd name="connsiteX202" fmla="*/ 2484470 w 2528315"/>
                <a:gd name="connsiteY202" fmla="*/ 981185 h 2173324"/>
                <a:gd name="connsiteX203" fmla="*/ 2480701 w 2528315"/>
                <a:gd name="connsiteY203" fmla="*/ 984954 h 2173324"/>
                <a:gd name="connsiteX204" fmla="*/ 2476931 w 2528315"/>
                <a:gd name="connsiteY204" fmla="*/ 988723 h 2173324"/>
                <a:gd name="connsiteX205" fmla="*/ 2472765 w 2528315"/>
                <a:gd name="connsiteY205" fmla="*/ 992492 h 2173324"/>
                <a:gd name="connsiteX206" fmla="*/ 2468797 w 2528315"/>
                <a:gd name="connsiteY206" fmla="*/ 996062 h 2173324"/>
                <a:gd name="connsiteX207" fmla="*/ 2464631 w 2528315"/>
                <a:gd name="connsiteY207" fmla="*/ 999435 h 2173324"/>
                <a:gd name="connsiteX208" fmla="*/ 2460068 w 2528315"/>
                <a:gd name="connsiteY208" fmla="*/ 1002807 h 2173324"/>
                <a:gd name="connsiteX209" fmla="*/ 2455703 w 2528315"/>
                <a:gd name="connsiteY209" fmla="*/ 1005782 h 2173324"/>
                <a:gd name="connsiteX210" fmla="*/ 2450942 w 2528315"/>
                <a:gd name="connsiteY210" fmla="*/ 1008758 h 2173324"/>
                <a:gd name="connsiteX211" fmla="*/ 2446379 w 2528315"/>
                <a:gd name="connsiteY211" fmla="*/ 1011535 h 2173324"/>
                <a:gd name="connsiteX212" fmla="*/ 2441419 w 2528315"/>
                <a:gd name="connsiteY212" fmla="*/ 1014312 h 2173324"/>
                <a:gd name="connsiteX213" fmla="*/ 2288259 w 2528315"/>
                <a:gd name="connsiteY213" fmla="*/ 1014312 h 2173324"/>
                <a:gd name="connsiteX214" fmla="*/ 1844020 w 2528315"/>
                <a:gd name="connsiteY214" fmla="*/ 1014312 h 2173324"/>
                <a:gd name="connsiteX215" fmla="*/ 1843709 w 2528315"/>
                <a:gd name="connsiteY215" fmla="*/ 1018810 h 2173324"/>
                <a:gd name="connsiteX216" fmla="*/ 1843313 w 2528315"/>
                <a:gd name="connsiteY216" fmla="*/ 1024563 h 2173324"/>
                <a:gd name="connsiteX217" fmla="*/ 1842519 w 2528315"/>
                <a:gd name="connsiteY217" fmla="*/ 1030316 h 2173324"/>
                <a:gd name="connsiteX218" fmla="*/ 1841725 w 2528315"/>
                <a:gd name="connsiteY218" fmla="*/ 1035672 h 2173324"/>
                <a:gd name="connsiteX219" fmla="*/ 1840535 w 2528315"/>
                <a:gd name="connsiteY219" fmla="*/ 1041424 h 2173324"/>
                <a:gd name="connsiteX220" fmla="*/ 1839345 w 2528315"/>
                <a:gd name="connsiteY220" fmla="*/ 1046780 h 2173324"/>
                <a:gd name="connsiteX221" fmla="*/ 1837956 w 2528315"/>
                <a:gd name="connsiteY221" fmla="*/ 1052334 h 2173324"/>
                <a:gd name="connsiteX222" fmla="*/ 1836369 w 2528315"/>
                <a:gd name="connsiteY222" fmla="*/ 1057492 h 2173324"/>
                <a:gd name="connsiteX223" fmla="*/ 1834385 w 2528315"/>
                <a:gd name="connsiteY223" fmla="*/ 1062848 h 2173324"/>
                <a:gd name="connsiteX224" fmla="*/ 1832401 w 2528315"/>
                <a:gd name="connsiteY224" fmla="*/ 1068005 h 2173324"/>
                <a:gd name="connsiteX225" fmla="*/ 1830417 w 2528315"/>
                <a:gd name="connsiteY225" fmla="*/ 1073163 h 2173324"/>
                <a:gd name="connsiteX226" fmla="*/ 1828036 w 2528315"/>
                <a:gd name="connsiteY226" fmla="*/ 1078122 h 2173324"/>
                <a:gd name="connsiteX227" fmla="*/ 1825655 w 2528315"/>
                <a:gd name="connsiteY227" fmla="*/ 1083081 h 2173324"/>
                <a:gd name="connsiteX228" fmla="*/ 1822878 w 2528315"/>
                <a:gd name="connsiteY228" fmla="*/ 1087842 h 2173324"/>
                <a:gd name="connsiteX229" fmla="*/ 1820100 w 2528315"/>
                <a:gd name="connsiteY229" fmla="*/ 1092405 h 2173324"/>
                <a:gd name="connsiteX230" fmla="*/ 1817125 w 2528315"/>
                <a:gd name="connsiteY230" fmla="*/ 1097165 h 2173324"/>
                <a:gd name="connsiteX231" fmla="*/ 1814149 w 2528315"/>
                <a:gd name="connsiteY231" fmla="*/ 1101529 h 2173324"/>
                <a:gd name="connsiteX232" fmla="*/ 1810776 w 2528315"/>
                <a:gd name="connsiteY232" fmla="*/ 1106092 h 2173324"/>
                <a:gd name="connsiteX233" fmla="*/ 1807602 w 2528315"/>
                <a:gd name="connsiteY233" fmla="*/ 1110258 h 2173324"/>
                <a:gd name="connsiteX234" fmla="*/ 1804031 w 2528315"/>
                <a:gd name="connsiteY234" fmla="*/ 1114423 h 2173324"/>
                <a:gd name="connsiteX235" fmla="*/ 1800261 w 2528315"/>
                <a:gd name="connsiteY235" fmla="*/ 1118589 h 2173324"/>
                <a:gd name="connsiteX236" fmla="*/ 1796492 w 2528315"/>
                <a:gd name="connsiteY236" fmla="*/ 1122358 h 2173324"/>
                <a:gd name="connsiteX237" fmla="*/ 1792722 w 2528315"/>
                <a:gd name="connsiteY237" fmla="*/ 1126127 h 2173324"/>
                <a:gd name="connsiteX238" fmla="*/ 1788556 w 2528315"/>
                <a:gd name="connsiteY238" fmla="*/ 1129896 h 2173324"/>
                <a:gd name="connsiteX239" fmla="*/ 1788237 w 2528315"/>
                <a:gd name="connsiteY239" fmla="*/ 1130183 h 2173324"/>
                <a:gd name="connsiteX240" fmla="*/ 1799262 w 2528315"/>
                <a:gd name="connsiteY240" fmla="*/ 1130141 h 2173324"/>
                <a:gd name="connsiteX241" fmla="*/ 1818099 w 2528315"/>
                <a:gd name="connsiteY241" fmla="*/ 1131512 h 2173324"/>
                <a:gd name="connsiteX242" fmla="*/ 1836460 w 2528315"/>
                <a:gd name="connsiteY242" fmla="*/ 1132991 h 2173324"/>
                <a:gd name="connsiteX243" fmla="*/ 1854545 w 2528315"/>
                <a:gd name="connsiteY243" fmla="*/ 1135468 h 2173324"/>
                <a:gd name="connsiteX244" fmla="*/ 1873307 w 2528315"/>
                <a:gd name="connsiteY244" fmla="*/ 1138729 h 2173324"/>
                <a:gd name="connsiteX245" fmla="*/ 1891317 w 2528315"/>
                <a:gd name="connsiteY245" fmla="*/ 1143096 h 2173324"/>
                <a:gd name="connsiteX246" fmla="*/ 1908474 w 2528315"/>
                <a:gd name="connsiteY246" fmla="*/ 1148123 h 2173324"/>
                <a:gd name="connsiteX247" fmla="*/ 1926208 w 2528315"/>
                <a:gd name="connsiteY247" fmla="*/ 1153488 h 2173324"/>
                <a:gd name="connsiteX248" fmla="*/ 1942714 w 2528315"/>
                <a:gd name="connsiteY248" fmla="*/ 1160067 h 2173324"/>
                <a:gd name="connsiteX249" fmla="*/ 1959320 w 2528315"/>
                <a:gd name="connsiteY249" fmla="*/ 1167091 h 2173324"/>
                <a:gd name="connsiteX250" fmla="*/ 1975550 w 2528315"/>
                <a:gd name="connsiteY250" fmla="*/ 1174668 h 2173324"/>
                <a:gd name="connsiteX251" fmla="*/ 1991605 w 2528315"/>
                <a:gd name="connsiteY251" fmla="*/ 1183689 h 2173324"/>
                <a:gd name="connsiteX252" fmla="*/ 2006606 w 2528315"/>
                <a:gd name="connsiteY252" fmla="*/ 1192479 h 2173324"/>
                <a:gd name="connsiteX253" fmla="*/ 2021432 w 2528315"/>
                <a:gd name="connsiteY253" fmla="*/ 1202713 h 2173324"/>
                <a:gd name="connsiteX254" fmla="*/ 2035782 w 2528315"/>
                <a:gd name="connsiteY254" fmla="*/ 1213055 h 2173324"/>
                <a:gd name="connsiteX255" fmla="*/ 2049856 w 2528315"/>
                <a:gd name="connsiteY255" fmla="*/ 1224396 h 2173324"/>
                <a:gd name="connsiteX256" fmla="*/ 2062876 w 2528315"/>
                <a:gd name="connsiteY256" fmla="*/ 1235505 h 2173324"/>
                <a:gd name="connsiteX257" fmla="*/ 2075245 w 2528315"/>
                <a:gd name="connsiteY257" fmla="*/ 1248166 h 2173324"/>
                <a:gd name="connsiteX258" fmla="*/ 2087714 w 2528315"/>
                <a:gd name="connsiteY258" fmla="*/ 1261273 h 2173324"/>
                <a:gd name="connsiteX259" fmla="*/ 2098754 w 2528315"/>
                <a:gd name="connsiteY259" fmla="*/ 1274702 h 2173324"/>
                <a:gd name="connsiteX260" fmla="*/ 2109417 w 2528315"/>
                <a:gd name="connsiteY260" fmla="*/ 1288684 h 2173324"/>
                <a:gd name="connsiteX261" fmla="*/ 2119228 w 2528315"/>
                <a:gd name="connsiteY261" fmla="*/ 1303326 h 2173324"/>
                <a:gd name="connsiteX262" fmla="*/ 2129139 w 2528315"/>
                <a:gd name="connsiteY262" fmla="*/ 1318414 h 2173324"/>
                <a:gd name="connsiteX263" fmla="*/ 2137722 w 2528315"/>
                <a:gd name="connsiteY263" fmla="*/ 1334269 h 2173324"/>
                <a:gd name="connsiteX264" fmla="*/ 2145250 w 2528315"/>
                <a:gd name="connsiteY264" fmla="*/ 1349894 h 2173324"/>
                <a:gd name="connsiteX265" fmla="*/ 2152604 w 2528315"/>
                <a:gd name="connsiteY265" fmla="*/ 1366963 h 2173324"/>
                <a:gd name="connsiteX266" fmla="*/ 2158427 w 2528315"/>
                <a:gd name="connsiteY266" fmla="*/ 1383909 h 2173324"/>
                <a:gd name="connsiteX267" fmla="*/ 2163875 w 2528315"/>
                <a:gd name="connsiteY267" fmla="*/ 1401408 h 2173324"/>
                <a:gd name="connsiteX268" fmla="*/ 2168369 w 2528315"/>
                <a:gd name="connsiteY268" fmla="*/ 1419121 h 2173324"/>
                <a:gd name="connsiteX269" fmla="*/ 2171382 w 2528315"/>
                <a:gd name="connsiteY269" fmla="*/ 1432487 h 2173324"/>
                <a:gd name="connsiteX270" fmla="*/ 2173342 w 2528315"/>
                <a:gd name="connsiteY270" fmla="*/ 1445622 h 2173324"/>
                <a:gd name="connsiteX271" fmla="*/ 2175302 w 2528315"/>
                <a:gd name="connsiteY271" fmla="*/ 1458757 h 2173324"/>
                <a:gd name="connsiteX272" fmla="*/ 2176309 w 2528315"/>
                <a:gd name="connsiteY272" fmla="*/ 1472107 h 2173324"/>
                <a:gd name="connsiteX273" fmla="*/ 2177115 w 2528315"/>
                <a:gd name="connsiteY273" fmla="*/ 1484566 h 2173324"/>
                <a:gd name="connsiteX274" fmla="*/ 2177168 w 2528315"/>
                <a:gd name="connsiteY274" fmla="*/ 1498131 h 2173324"/>
                <a:gd name="connsiteX275" fmla="*/ 2177021 w 2528315"/>
                <a:gd name="connsiteY275" fmla="*/ 1510805 h 2173324"/>
                <a:gd name="connsiteX276" fmla="*/ 2176498 w 2528315"/>
                <a:gd name="connsiteY276" fmla="*/ 1524032 h 2173324"/>
                <a:gd name="connsiteX277" fmla="*/ 2175297 w 2528315"/>
                <a:gd name="connsiteY277" fmla="*/ 1536475 h 2173324"/>
                <a:gd name="connsiteX278" fmla="*/ 2173244 w 2528315"/>
                <a:gd name="connsiteY278" fmla="*/ 1549578 h 2173324"/>
                <a:gd name="connsiteX279" fmla="*/ 2171090 w 2528315"/>
                <a:gd name="connsiteY279" fmla="*/ 1562236 h 2173324"/>
                <a:gd name="connsiteX280" fmla="*/ 2168936 w 2528315"/>
                <a:gd name="connsiteY280" fmla="*/ 1574894 h 2173324"/>
                <a:gd name="connsiteX281" fmla="*/ 2165729 w 2528315"/>
                <a:gd name="connsiteY281" fmla="*/ 1587322 h 2173324"/>
                <a:gd name="connsiteX282" fmla="*/ 2162522 w 2528315"/>
                <a:gd name="connsiteY282" fmla="*/ 1599749 h 2173324"/>
                <a:gd name="connsiteX283" fmla="*/ 2158261 w 2528315"/>
                <a:gd name="connsiteY283" fmla="*/ 1611945 h 2173324"/>
                <a:gd name="connsiteX284" fmla="*/ 2153900 w 2528315"/>
                <a:gd name="connsiteY284" fmla="*/ 1623697 h 2173324"/>
                <a:gd name="connsiteX285" fmla="*/ 2149163 w 2528315"/>
                <a:gd name="connsiteY285" fmla="*/ 1636001 h 2173324"/>
                <a:gd name="connsiteX286" fmla="*/ 2144224 w 2528315"/>
                <a:gd name="connsiteY286" fmla="*/ 1647414 h 2173324"/>
                <a:gd name="connsiteX287" fmla="*/ 2138434 w 2528315"/>
                <a:gd name="connsiteY287" fmla="*/ 1659487 h 2173324"/>
                <a:gd name="connsiteX288" fmla="*/ 2132919 w 2528315"/>
                <a:gd name="connsiteY288" fmla="*/ 1670562 h 2173324"/>
                <a:gd name="connsiteX289" fmla="*/ 2126450 w 2528315"/>
                <a:gd name="connsiteY289" fmla="*/ 1681852 h 2173324"/>
                <a:gd name="connsiteX290" fmla="*/ 2119506 w 2528315"/>
                <a:gd name="connsiteY290" fmla="*/ 1693250 h 2173324"/>
                <a:gd name="connsiteX291" fmla="*/ 2112360 w 2528315"/>
                <a:gd name="connsiteY291" fmla="*/ 1703756 h 2173324"/>
                <a:gd name="connsiteX292" fmla="*/ 2105214 w 2528315"/>
                <a:gd name="connsiteY292" fmla="*/ 1714262 h 2173324"/>
                <a:gd name="connsiteX293" fmla="*/ 2097116 w 2528315"/>
                <a:gd name="connsiteY293" fmla="*/ 1724983 h 2173324"/>
                <a:gd name="connsiteX294" fmla="*/ 2089393 w 2528315"/>
                <a:gd name="connsiteY294" fmla="*/ 1735151 h 2173324"/>
                <a:gd name="connsiteX295" fmla="*/ 2081094 w 2528315"/>
                <a:gd name="connsiteY295" fmla="*/ 1744981 h 2173324"/>
                <a:gd name="connsiteX296" fmla="*/ 2071841 w 2528315"/>
                <a:gd name="connsiteY296" fmla="*/ 1755026 h 2173324"/>
                <a:gd name="connsiteX297" fmla="*/ 2062864 w 2528315"/>
                <a:gd name="connsiteY297" fmla="*/ 1764072 h 2173324"/>
                <a:gd name="connsiteX298" fmla="*/ 2052934 w 2528315"/>
                <a:gd name="connsiteY298" fmla="*/ 1773334 h 2173324"/>
                <a:gd name="connsiteX299" fmla="*/ 2043380 w 2528315"/>
                <a:gd name="connsiteY299" fmla="*/ 1782042 h 2173324"/>
                <a:gd name="connsiteX300" fmla="*/ 2032873 w 2528315"/>
                <a:gd name="connsiteY300" fmla="*/ 1790965 h 2173324"/>
                <a:gd name="connsiteX301" fmla="*/ 1664993 w 2528315"/>
                <a:gd name="connsiteY301" fmla="*/ 1873905 h 2173324"/>
                <a:gd name="connsiteX302" fmla="*/ 478912 w 2528315"/>
                <a:gd name="connsiteY302" fmla="*/ 2141308 h 2173324"/>
                <a:gd name="connsiteX303" fmla="*/ 478435 w 2528315"/>
                <a:gd name="connsiteY303" fmla="*/ 2141416 h 2173324"/>
                <a:gd name="connsiteX304" fmla="*/ 336906 w 2528315"/>
                <a:gd name="connsiteY304" fmla="*/ 2173324 h 2173324"/>
                <a:gd name="connsiteX305" fmla="*/ 321807 w 2528315"/>
                <a:gd name="connsiteY305" fmla="*/ 2172983 h 2173324"/>
                <a:gd name="connsiteX306" fmla="*/ 307660 w 2528315"/>
                <a:gd name="connsiteY306" fmla="*/ 2172426 h 2173324"/>
                <a:gd name="connsiteX307" fmla="*/ 293413 w 2528315"/>
                <a:gd name="connsiteY307" fmla="*/ 2171425 h 2173324"/>
                <a:gd name="connsiteX308" fmla="*/ 279442 w 2528315"/>
                <a:gd name="connsiteY308" fmla="*/ 2169425 h 2173324"/>
                <a:gd name="connsiteX309" fmla="*/ 264995 w 2528315"/>
                <a:gd name="connsiteY309" fmla="*/ 2167532 h 2173324"/>
                <a:gd name="connsiteX310" fmla="*/ 251299 w 2528315"/>
                <a:gd name="connsiteY310" fmla="*/ 2164534 h 2173324"/>
                <a:gd name="connsiteX311" fmla="*/ 237503 w 2528315"/>
                <a:gd name="connsiteY311" fmla="*/ 2161089 h 2173324"/>
                <a:gd name="connsiteX312" fmla="*/ 224083 w 2528315"/>
                <a:gd name="connsiteY312" fmla="*/ 2157092 h 2173324"/>
                <a:gd name="connsiteX313" fmla="*/ 211140 w 2528315"/>
                <a:gd name="connsiteY313" fmla="*/ 2152988 h 2173324"/>
                <a:gd name="connsiteX314" fmla="*/ 197895 w 2528315"/>
                <a:gd name="connsiteY314" fmla="*/ 2147547 h 2173324"/>
                <a:gd name="connsiteX315" fmla="*/ 185227 w 2528315"/>
                <a:gd name="connsiteY315" fmla="*/ 2142444 h 2173324"/>
                <a:gd name="connsiteX316" fmla="*/ 172835 w 2528315"/>
                <a:gd name="connsiteY316" fmla="*/ 2136343 h 2173324"/>
                <a:gd name="connsiteX317" fmla="*/ 160819 w 2528315"/>
                <a:gd name="connsiteY317" fmla="*/ 2129688 h 2173324"/>
                <a:gd name="connsiteX318" fmla="*/ 149280 w 2528315"/>
                <a:gd name="connsiteY318" fmla="*/ 2122927 h 2173324"/>
                <a:gd name="connsiteX319" fmla="*/ 137163 w 2528315"/>
                <a:gd name="connsiteY319" fmla="*/ 2115826 h 2173324"/>
                <a:gd name="connsiteX320" fmla="*/ 126276 w 2528315"/>
                <a:gd name="connsiteY320" fmla="*/ 2107513 h 2173324"/>
                <a:gd name="connsiteX321" fmla="*/ 115488 w 2528315"/>
                <a:gd name="connsiteY321" fmla="*/ 2099646 h 2173324"/>
                <a:gd name="connsiteX322" fmla="*/ 105077 w 2528315"/>
                <a:gd name="connsiteY322" fmla="*/ 2091225 h 2173324"/>
                <a:gd name="connsiteX323" fmla="*/ 94942 w 2528315"/>
                <a:gd name="connsiteY323" fmla="*/ 2081806 h 2173324"/>
                <a:gd name="connsiteX324" fmla="*/ 85283 w 2528315"/>
                <a:gd name="connsiteY324" fmla="*/ 2072279 h 2173324"/>
                <a:gd name="connsiteX325" fmla="*/ 76000 w 2528315"/>
                <a:gd name="connsiteY325" fmla="*/ 2062199 h 2173324"/>
                <a:gd name="connsiteX326" fmla="*/ 67193 w 2528315"/>
                <a:gd name="connsiteY326" fmla="*/ 2052012 h 2173324"/>
                <a:gd name="connsiteX327" fmla="*/ 58763 w 2528315"/>
                <a:gd name="connsiteY327" fmla="*/ 2041272 h 2173324"/>
                <a:gd name="connsiteX328" fmla="*/ 51286 w 2528315"/>
                <a:gd name="connsiteY328" fmla="*/ 2030317 h 2173324"/>
                <a:gd name="connsiteX329" fmla="*/ 44084 w 2528315"/>
                <a:gd name="connsiteY329" fmla="*/ 2018364 h 2173324"/>
                <a:gd name="connsiteX330" fmla="*/ 36983 w 2528315"/>
                <a:gd name="connsiteY330" fmla="*/ 2006856 h 2173324"/>
                <a:gd name="connsiteX331" fmla="*/ 30258 w 2528315"/>
                <a:gd name="connsiteY331" fmla="*/ 1994796 h 2173324"/>
                <a:gd name="connsiteX332" fmla="*/ 24962 w 2528315"/>
                <a:gd name="connsiteY332" fmla="*/ 1982413 h 2173324"/>
                <a:gd name="connsiteX333" fmla="*/ 19466 w 2528315"/>
                <a:gd name="connsiteY333" fmla="*/ 1969138 h 2173324"/>
                <a:gd name="connsiteX334" fmla="*/ 15023 w 2528315"/>
                <a:gd name="connsiteY334" fmla="*/ 1956095 h 2173324"/>
                <a:gd name="connsiteX335" fmla="*/ 10956 w 2528315"/>
                <a:gd name="connsiteY335" fmla="*/ 1942499 h 2173324"/>
                <a:gd name="connsiteX336" fmla="*/ 7466 w 2528315"/>
                <a:gd name="connsiteY336" fmla="*/ 1929240 h 2173324"/>
                <a:gd name="connsiteX337" fmla="*/ 4427 w 2528315"/>
                <a:gd name="connsiteY337" fmla="*/ 1913539 h 2173324"/>
                <a:gd name="connsiteX338" fmla="*/ 2441 w 2528315"/>
                <a:gd name="connsiteY338" fmla="*/ 1898069 h 2173324"/>
                <a:gd name="connsiteX339" fmla="*/ 932 w 2528315"/>
                <a:gd name="connsiteY339" fmla="*/ 1882492 h 2173324"/>
                <a:gd name="connsiteX340" fmla="*/ 0 w 2528315"/>
                <a:gd name="connsiteY340" fmla="*/ 1867252 h 2173324"/>
                <a:gd name="connsiteX341" fmla="*/ 21 w 2528315"/>
                <a:gd name="connsiteY341" fmla="*/ 1851798 h 2173324"/>
                <a:gd name="connsiteX342" fmla="*/ 1472 w 2528315"/>
                <a:gd name="connsiteY342" fmla="*/ 1836021 h 2173324"/>
                <a:gd name="connsiteX343" fmla="*/ 3124 w 2528315"/>
                <a:gd name="connsiteY343" fmla="*/ 1821136 h 2173324"/>
                <a:gd name="connsiteX344" fmla="*/ 5728 w 2528315"/>
                <a:gd name="connsiteY344" fmla="*/ 1806035 h 2173324"/>
                <a:gd name="connsiteX345" fmla="*/ 8910 w 2528315"/>
                <a:gd name="connsiteY345" fmla="*/ 1791273 h 2173324"/>
                <a:gd name="connsiteX346" fmla="*/ 13145 w 2528315"/>
                <a:gd name="connsiteY346" fmla="*/ 1776741 h 2173324"/>
                <a:gd name="connsiteX347" fmla="*/ 17480 w 2528315"/>
                <a:gd name="connsiteY347" fmla="*/ 1762655 h 2173324"/>
                <a:gd name="connsiteX348" fmla="*/ 22668 w 2528315"/>
                <a:gd name="connsiteY348" fmla="*/ 1747908 h 2173324"/>
                <a:gd name="connsiteX349" fmla="*/ 28634 w 2528315"/>
                <a:gd name="connsiteY349" fmla="*/ 1734391 h 2173324"/>
                <a:gd name="connsiteX350" fmla="*/ 35553 w 2528315"/>
                <a:gd name="connsiteY350" fmla="*/ 1720658 h 2173324"/>
                <a:gd name="connsiteX351" fmla="*/ 43049 w 2528315"/>
                <a:gd name="connsiteY351" fmla="*/ 1707264 h 2173324"/>
                <a:gd name="connsiteX352" fmla="*/ 51223 w 2528315"/>
                <a:gd name="connsiteY352" fmla="*/ 1694653 h 2173324"/>
                <a:gd name="connsiteX353" fmla="*/ 59772 w 2528315"/>
                <a:gd name="connsiteY353" fmla="*/ 1681490 h 2173324"/>
                <a:gd name="connsiteX354" fmla="*/ 68623 w 2528315"/>
                <a:gd name="connsiteY354" fmla="*/ 1669663 h 2173324"/>
                <a:gd name="connsiteX355" fmla="*/ 78803 w 2528315"/>
                <a:gd name="connsiteY355" fmla="*/ 1657068 h 2173324"/>
                <a:gd name="connsiteX356" fmla="*/ 88808 w 2528315"/>
                <a:gd name="connsiteY356" fmla="*/ 1645917 h 2173324"/>
                <a:gd name="connsiteX357" fmla="*/ 99866 w 2528315"/>
                <a:gd name="connsiteY357" fmla="*/ 1634997 h 2173324"/>
                <a:gd name="connsiteX358" fmla="*/ 111501 w 2528315"/>
                <a:gd name="connsiteY358" fmla="*/ 1624415 h 2173324"/>
                <a:gd name="connsiteX359" fmla="*/ 123714 w 2528315"/>
                <a:gd name="connsiteY359" fmla="*/ 1614171 h 2173324"/>
                <a:gd name="connsiteX360" fmla="*/ 135550 w 2528315"/>
                <a:gd name="connsiteY360" fmla="*/ 1604480 h 2173324"/>
                <a:gd name="connsiteX361" fmla="*/ 149117 w 2528315"/>
                <a:gd name="connsiteY361" fmla="*/ 1595803 h 2173324"/>
                <a:gd name="connsiteX362" fmla="*/ 162207 w 2528315"/>
                <a:gd name="connsiteY362" fmla="*/ 1587234 h 2173324"/>
                <a:gd name="connsiteX363" fmla="*/ 176352 w 2528315"/>
                <a:gd name="connsiteY363" fmla="*/ 1578895 h 2173324"/>
                <a:gd name="connsiteX364" fmla="*/ 190696 w 2528315"/>
                <a:gd name="connsiteY364" fmla="*/ 1571447 h 2173324"/>
                <a:gd name="connsiteX365" fmla="*/ 205719 w 2528315"/>
                <a:gd name="connsiteY365" fmla="*/ 1564783 h 2173324"/>
                <a:gd name="connsiteX366" fmla="*/ 220842 w 2528315"/>
                <a:gd name="connsiteY366" fmla="*/ 1558565 h 2173324"/>
                <a:gd name="connsiteX367" fmla="*/ 236642 w 2528315"/>
                <a:gd name="connsiteY367" fmla="*/ 1553130 h 2173324"/>
                <a:gd name="connsiteX368" fmla="*/ 252643 w 2528315"/>
                <a:gd name="connsiteY368" fmla="*/ 1548586 h 2173324"/>
                <a:gd name="connsiteX369" fmla="*/ 246320 w 2528315"/>
                <a:gd name="connsiteY369" fmla="*/ 1538308 h 2173324"/>
                <a:gd name="connsiteX370" fmla="*/ 240197 w 2528315"/>
                <a:gd name="connsiteY370" fmla="*/ 1528920 h 2173324"/>
                <a:gd name="connsiteX371" fmla="*/ 234927 w 2528315"/>
                <a:gd name="connsiteY371" fmla="*/ 1518872 h 2173324"/>
                <a:gd name="connsiteX372" fmla="*/ 229933 w 2528315"/>
                <a:gd name="connsiteY372" fmla="*/ 1507826 h 2173324"/>
                <a:gd name="connsiteX373" fmla="*/ 225516 w 2528315"/>
                <a:gd name="connsiteY373" fmla="*/ 1497117 h 2173324"/>
                <a:gd name="connsiteX374" fmla="*/ 221475 w 2528315"/>
                <a:gd name="connsiteY374" fmla="*/ 1485856 h 2173324"/>
                <a:gd name="connsiteX375" fmla="*/ 217910 w 2528315"/>
                <a:gd name="connsiteY375" fmla="*/ 1474487 h 2173324"/>
                <a:gd name="connsiteX376" fmla="*/ 214722 w 2528315"/>
                <a:gd name="connsiteY376" fmla="*/ 1462565 h 2173324"/>
                <a:gd name="connsiteX377" fmla="*/ 212386 w 2528315"/>
                <a:gd name="connsiteY377" fmla="*/ 1449983 h 2173324"/>
                <a:gd name="connsiteX378" fmla="*/ 210325 w 2528315"/>
                <a:gd name="connsiteY378" fmla="*/ 1436402 h 2173324"/>
                <a:gd name="connsiteX379" fmla="*/ 209419 w 2528315"/>
                <a:gd name="connsiteY379" fmla="*/ 1423498 h 2173324"/>
                <a:gd name="connsiteX380" fmla="*/ 208989 w 2528315"/>
                <a:gd name="connsiteY380" fmla="*/ 1410486 h 2173324"/>
                <a:gd name="connsiteX381" fmla="*/ 209136 w 2528315"/>
                <a:gd name="connsiteY381" fmla="*/ 1397812 h 2173324"/>
                <a:gd name="connsiteX382" fmla="*/ 210237 w 2528315"/>
                <a:gd name="connsiteY382" fmla="*/ 1384924 h 2173324"/>
                <a:gd name="connsiteX383" fmla="*/ 211813 w 2528315"/>
                <a:gd name="connsiteY383" fmla="*/ 1371927 h 2173324"/>
                <a:gd name="connsiteX384" fmla="*/ 214068 w 2528315"/>
                <a:gd name="connsiteY384" fmla="*/ 1359715 h 2173324"/>
                <a:gd name="connsiteX385" fmla="*/ 216698 w 2528315"/>
                <a:gd name="connsiteY385" fmla="*/ 1346950 h 2173324"/>
                <a:gd name="connsiteX386" fmla="*/ 220482 w 2528315"/>
                <a:gd name="connsiteY386" fmla="*/ 1334860 h 2173324"/>
                <a:gd name="connsiteX387" fmla="*/ 224743 w 2528315"/>
                <a:gd name="connsiteY387" fmla="*/ 1322664 h 2173324"/>
                <a:gd name="connsiteX388" fmla="*/ 229581 w 2528315"/>
                <a:gd name="connsiteY388" fmla="*/ 1310805 h 2173324"/>
                <a:gd name="connsiteX389" fmla="*/ 234519 w 2528315"/>
                <a:gd name="connsiteY389" fmla="*/ 1299392 h 2173324"/>
                <a:gd name="connsiteX390" fmla="*/ 240410 w 2528315"/>
                <a:gd name="connsiteY390" fmla="*/ 1287764 h 2173324"/>
                <a:gd name="connsiteX391" fmla="*/ 246979 w 2528315"/>
                <a:gd name="connsiteY391" fmla="*/ 1276920 h 2173324"/>
                <a:gd name="connsiteX392" fmla="*/ 254124 w 2528315"/>
                <a:gd name="connsiteY392" fmla="*/ 1266413 h 2173324"/>
                <a:gd name="connsiteX393" fmla="*/ 261169 w 2528315"/>
                <a:gd name="connsiteY393" fmla="*/ 1255462 h 2173324"/>
                <a:gd name="connsiteX394" fmla="*/ 269469 w 2528315"/>
                <a:gd name="connsiteY394" fmla="*/ 1245632 h 2173324"/>
                <a:gd name="connsiteX395" fmla="*/ 278245 w 2528315"/>
                <a:gd name="connsiteY395" fmla="*/ 1235694 h 2173324"/>
                <a:gd name="connsiteX396" fmla="*/ 287021 w 2528315"/>
                <a:gd name="connsiteY396" fmla="*/ 1225757 h 2173324"/>
                <a:gd name="connsiteX397" fmla="*/ 296575 w 2528315"/>
                <a:gd name="connsiteY397" fmla="*/ 1217049 h 2173324"/>
                <a:gd name="connsiteX398" fmla="*/ 306129 w 2528315"/>
                <a:gd name="connsiteY398" fmla="*/ 1208340 h 2173324"/>
                <a:gd name="connsiteX399" fmla="*/ 316837 w 2528315"/>
                <a:gd name="connsiteY399" fmla="*/ 1200308 h 2173324"/>
                <a:gd name="connsiteX400" fmla="*/ 327545 w 2528315"/>
                <a:gd name="connsiteY400" fmla="*/ 1192276 h 2173324"/>
                <a:gd name="connsiteX401" fmla="*/ 339407 w 2528315"/>
                <a:gd name="connsiteY401" fmla="*/ 1184920 h 2173324"/>
                <a:gd name="connsiteX402" fmla="*/ 350416 w 2528315"/>
                <a:gd name="connsiteY402" fmla="*/ 1178224 h 2173324"/>
                <a:gd name="connsiteX403" fmla="*/ 363056 w 2528315"/>
                <a:gd name="connsiteY403" fmla="*/ 1172097 h 2173324"/>
                <a:gd name="connsiteX404" fmla="*/ 375219 w 2528315"/>
                <a:gd name="connsiteY404" fmla="*/ 1166078 h 2173324"/>
                <a:gd name="connsiteX405" fmla="*/ 388160 w 2528315"/>
                <a:gd name="connsiteY405" fmla="*/ 1161288 h 2173324"/>
                <a:gd name="connsiteX406" fmla="*/ 401101 w 2528315"/>
                <a:gd name="connsiteY406" fmla="*/ 1156497 h 2173324"/>
                <a:gd name="connsiteX407" fmla="*/ 415196 w 2528315"/>
                <a:gd name="connsiteY407" fmla="*/ 1152383 h 2173324"/>
                <a:gd name="connsiteX408" fmla="*/ 428438 w 2528315"/>
                <a:gd name="connsiteY408" fmla="*/ 1148930 h 2173324"/>
                <a:gd name="connsiteX409" fmla="*/ 444264 w 2528315"/>
                <a:gd name="connsiteY409" fmla="*/ 1145830 h 2173324"/>
                <a:gd name="connsiteX410" fmla="*/ 459814 w 2528315"/>
                <a:gd name="connsiteY410" fmla="*/ 1143729 h 2173324"/>
                <a:gd name="connsiteX411" fmla="*/ 473289 w 2528315"/>
                <a:gd name="connsiteY411" fmla="*/ 1142303 h 2173324"/>
                <a:gd name="connsiteX412" fmla="*/ 471155 w 2528315"/>
                <a:gd name="connsiteY412" fmla="*/ 1138035 h 2173324"/>
                <a:gd name="connsiteX413" fmla="*/ 468775 w 2528315"/>
                <a:gd name="connsiteY413" fmla="*/ 1132679 h 2173324"/>
                <a:gd name="connsiteX414" fmla="*/ 466791 w 2528315"/>
                <a:gd name="connsiteY414" fmla="*/ 1127323 h 2173324"/>
                <a:gd name="connsiteX415" fmla="*/ 465005 w 2528315"/>
                <a:gd name="connsiteY415" fmla="*/ 1121570 h 2173324"/>
                <a:gd name="connsiteX416" fmla="*/ 463219 w 2528315"/>
                <a:gd name="connsiteY416" fmla="*/ 1116016 h 2173324"/>
                <a:gd name="connsiteX417" fmla="*/ 461632 w 2528315"/>
                <a:gd name="connsiteY417" fmla="*/ 1110263 h 2173324"/>
                <a:gd name="connsiteX418" fmla="*/ 460640 w 2528315"/>
                <a:gd name="connsiteY418" fmla="*/ 1104511 h 2173324"/>
                <a:gd name="connsiteX419" fmla="*/ 459648 w 2528315"/>
                <a:gd name="connsiteY419" fmla="*/ 1098361 h 2173324"/>
                <a:gd name="connsiteX420" fmla="*/ 459053 w 2528315"/>
                <a:gd name="connsiteY420" fmla="*/ 1092410 h 2173324"/>
                <a:gd name="connsiteX421" fmla="*/ 458656 w 2528315"/>
                <a:gd name="connsiteY421" fmla="*/ 1086261 h 2173324"/>
                <a:gd name="connsiteX422" fmla="*/ 458458 w 2528315"/>
                <a:gd name="connsiteY422" fmla="*/ 1080310 h 2173324"/>
                <a:gd name="connsiteX423" fmla="*/ 458656 w 2528315"/>
                <a:gd name="connsiteY423" fmla="*/ 1073367 h 2173324"/>
                <a:gd name="connsiteX424" fmla="*/ 459252 w 2528315"/>
                <a:gd name="connsiteY424" fmla="*/ 1066623 h 2173324"/>
                <a:gd name="connsiteX425" fmla="*/ 460045 w 2528315"/>
                <a:gd name="connsiteY425" fmla="*/ 1059878 h 2173324"/>
                <a:gd name="connsiteX426" fmla="*/ 461037 w 2528315"/>
                <a:gd name="connsiteY426" fmla="*/ 1053332 h 2173324"/>
                <a:gd name="connsiteX427" fmla="*/ 462426 w 2528315"/>
                <a:gd name="connsiteY427" fmla="*/ 1046786 h 2173324"/>
                <a:gd name="connsiteX428" fmla="*/ 464410 w 2528315"/>
                <a:gd name="connsiteY428" fmla="*/ 1040240 h 2173324"/>
                <a:gd name="connsiteX429" fmla="*/ 466394 w 2528315"/>
                <a:gd name="connsiteY429" fmla="*/ 1034090 h 2173324"/>
                <a:gd name="connsiteX430" fmla="*/ 468775 w 2528315"/>
                <a:gd name="connsiteY430" fmla="*/ 1027941 h 2173324"/>
                <a:gd name="connsiteX431" fmla="*/ 471354 w 2528315"/>
                <a:gd name="connsiteY431" fmla="*/ 1021990 h 2173324"/>
                <a:gd name="connsiteX432" fmla="*/ 474330 w 2528315"/>
                <a:gd name="connsiteY432" fmla="*/ 1016237 h 2173324"/>
                <a:gd name="connsiteX433" fmla="*/ 477305 w 2528315"/>
                <a:gd name="connsiteY433" fmla="*/ 1010683 h 2173324"/>
                <a:gd name="connsiteX434" fmla="*/ 480678 w 2528315"/>
                <a:gd name="connsiteY434" fmla="*/ 1004930 h 2173324"/>
                <a:gd name="connsiteX435" fmla="*/ 484249 w 2528315"/>
                <a:gd name="connsiteY435" fmla="*/ 999773 h 2173324"/>
                <a:gd name="connsiteX436" fmla="*/ 488217 w 2528315"/>
                <a:gd name="connsiteY436" fmla="*/ 994615 h 2173324"/>
                <a:gd name="connsiteX437" fmla="*/ 492383 w 2528315"/>
                <a:gd name="connsiteY437" fmla="*/ 989656 h 2173324"/>
                <a:gd name="connsiteX438" fmla="*/ 496748 w 2528315"/>
                <a:gd name="connsiteY438" fmla="*/ 985094 h 2173324"/>
                <a:gd name="connsiteX439" fmla="*/ 501311 w 2528315"/>
                <a:gd name="connsiteY439" fmla="*/ 980333 h 2173324"/>
                <a:gd name="connsiteX440" fmla="*/ 505874 w 2528315"/>
                <a:gd name="connsiteY440" fmla="*/ 976167 h 2173324"/>
                <a:gd name="connsiteX441" fmla="*/ 511032 w 2528315"/>
                <a:gd name="connsiteY441" fmla="*/ 971803 h 2173324"/>
                <a:gd name="connsiteX442" fmla="*/ 515992 w 2528315"/>
                <a:gd name="connsiteY442" fmla="*/ 968034 h 2173324"/>
                <a:gd name="connsiteX443" fmla="*/ 521349 w 2528315"/>
                <a:gd name="connsiteY443" fmla="*/ 964464 h 2173324"/>
                <a:gd name="connsiteX444" fmla="*/ 526904 w 2528315"/>
                <a:gd name="connsiteY444" fmla="*/ 961091 h 2173324"/>
                <a:gd name="connsiteX445" fmla="*/ 532657 w 2528315"/>
                <a:gd name="connsiteY445" fmla="*/ 957918 h 2173324"/>
                <a:gd name="connsiteX446" fmla="*/ 538212 w 2528315"/>
                <a:gd name="connsiteY446" fmla="*/ 954942 h 2173324"/>
                <a:gd name="connsiteX447" fmla="*/ 544363 w 2528315"/>
                <a:gd name="connsiteY447" fmla="*/ 952562 h 2173324"/>
                <a:gd name="connsiteX448" fmla="*/ 550314 w 2528315"/>
                <a:gd name="connsiteY448" fmla="*/ 950181 h 2173324"/>
                <a:gd name="connsiteX449" fmla="*/ 556663 w 2528315"/>
                <a:gd name="connsiteY449" fmla="*/ 947999 h 2173324"/>
                <a:gd name="connsiteX450" fmla="*/ 563012 w 2528315"/>
                <a:gd name="connsiteY450" fmla="*/ 946214 h 2173324"/>
                <a:gd name="connsiteX451" fmla="*/ 569559 w 2528315"/>
                <a:gd name="connsiteY451" fmla="*/ 944825 h 2173324"/>
                <a:gd name="connsiteX452" fmla="*/ 576106 w 2528315"/>
                <a:gd name="connsiteY452" fmla="*/ 943635 h 2173324"/>
                <a:gd name="connsiteX453" fmla="*/ 582851 w 2528315"/>
                <a:gd name="connsiteY453" fmla="*/ 942842 h 2173324"/>
                <a:gd name="connsiteX454" fmla="*/ 589596 w 2528315"/>
                <a:gd name="connsiteY454" fmla="*/ 942445 h 2173324"/>
                <a:gd name="connsiteX455" fmla="*/ 588009 w 2528315"/>
                <a:gd name="connsiteY455" fmla="*/ 937486 h 2173324"/>
                <a:gd name="connsiteX456" fmla="*/ 586422 w 2528315"/>
                <a:gd name="connsiteY456" fmla="*/ 932923 h 2173324"/>
                <a:gd name="connsiteX457" fmla="*/ 585232 w 2528315"/>
                <a:gd name="connsiteY457" fmla="*/ 928163 h 2173324"/>
                <a:gd name="connsiteX458" fmla="*/ 584240 w 2528315"/>
                <a:gd name="connsiteY458" fmla="*/ 923005 h 2173324"/>
                <a:gd name="connsiteX459" fmla="*/ 583446 w 2528315"/>
                <a:gd name="connsiteY459" fmla="*/ 918046 h 2173324"/>
                <a:gd name="connsiteX460" fmla="*/ 582851 w 2528315"/>
                <a:gd name="connsiteY460" fmla="*/ 912888 h 2173324"/>
                <a:gd name="connsiteX461" fmla="*/ 582454 w 2528315"/>
                <a:gd name="connsiteY461" fmla="*/ 907731 h 2173324"/>
                <a:gd name="connsiteX462" fmla="*/ 582256 w 2528315"/>
                <a:gd name="connsiteY462" fmla="*/ 902375 h 2173324"/>
                <a:gd name="connsiteX463" fmla="*/ 582454 w 2528315"/>
                <a:gd name="connsiteY463" fmla="*/ 896821 h 2173324"/>
                <a:gd name="connsiteX464" fmla="*/ 582851 w 2528315"/>
                <a:gd name="connsiteY464" fmla="*/ 890870 h 2173324"/>
                <a:gd name="connsiteX465" fmla="*/ 583645 w 2528315"/>
                <a:gd name="connsiteY465" fmla="*/ 885315 h 2173324"/>
                <a:gd name="connsiteX466" fmla="*/ 584637 w 2528315"/>
                <a:gd name="connsiteY466" fmla="*/ 879761 h 2173324"/>
                <a:gd name="connsiteX467" fmla="*/ 585827 w 2528315"/>
                <a:gd name="connsiteY467" fmla="*/ 874405 h 2173324"/>
                <a:gd name="connsiteX468" fmla="*/ 587414 w 2528315"/>
                <a:gd name="connsiteY468" fmla="*/ 869049 h 2173324"/>
                <a:gd name="connsiteX469" fmla="*/ 589200 w 2528315"/>
                <a:gd name="connsiteY469" fmla="*/ 863693 h 2173324"/>
                <a:gd name="connsiteX470" fmla="*/ 591184 w 2528315"/>
                <a:gd name="connsiteY470" fmla="*/ 858734 h 2173324"/>
                <a:gd name="connsiteX471" fmla="*/ 593366 w 2528315"/>
                <a:gd name="connsiteY471" fmla="*/ 853577 h 2173324"/>
                <a:gd name="connsiteX472" fmla="*/ 595945 w 2528315"/>
                <a:gd name="connsiteY472" fmla="*/ 848816 h 2173324"/>
                <a:gd name="connsiteX473" fmla="*/ 598723 w 2528315"/>
                <a:gd name="connsiteY473" fmla="*/ 844055 h 2173324"/>
                <a:gd name="connsiteX474" fmla="*/ 601698 w 2528315"/>
                <a:gd name="connsiteY474" fmla="*/ 839493 h 2173324"/>
                <a:gd name="connsiteX475" fmla="*/ 604674 w 2528315"/>
                <a:gd name="connsiteY475" fmla="*/ 835129 h 2173324"/>
                <a:gd name="connsiteX476" fmla="*/ 608047 w 2528315"/>
                <a:gd name="connsiteY476" fmla="*/ 830765 h 2173324"/>
                <a:gd name="connsiteX477" fmla="*/ 611618 w 2528315"/>
                <a:gd name="connsiteY477" fmla="*/ 826797 h 2173324"/>
                <a:gd name="connsiteX478" fmla="*/ 615388 w 2528315"/>
                <a:gd name="connsiteY478" fmla="*/ 823028 h 2173324"/>
                <a:gd name="connsiteX479" fmla="*/ 619157 w 2528315"/>
                <a:gd name="connsiteY479" fmla="*/ 819061 h 2173324"/>
                <a:gd name="connsiteX480" fmla="*/ 623323 w 2528315"/>
                <a:gd name="connsiteY480" fmla="*/ 815689 h 2173324"/>
                <a:gd name="connsiteX481" fmla="*/ 627688 w 2528315"/>
                <a:gd name="connsiteY481" fmla="*/ 812316 h 2173324"/>
                <a:gd name="connsiteX482" fmla="*/ 632053 w 2528315"/>
                <a:gd name="connsiteY482" fmla="*/ 808944 h 2173324"/>
                <a:gd name="connsiteX483" fmla="*/ 636616 w 2528315"/>
                <a:gd name="connsiteY483" fmla="*/ 806167 h 2173324"/>
                <a:gd name="connsiteX484" fmla="*/ 641179 w 2528315"/>
                <a:gd name="connsiteY484" fmla="*/ 803390 h 2173324"/>
                <a:gd name="connsiteX485" fmla="*/ 646139 w 2528315"/>
                <a:gd name="connsiteY485" fmla="*/ 801010 h 2173324"/>
                <a:gd name="connsiteX486" fmla="*/ 651099 w 2528315"/>
                <a:gd name="connsiteY486" fmla="*/ 798629 h 2173324"/>
                <a:gd name="connsiteX487" fmla="*/ 656455 w 2528315"/>
                <a:gd name="connsiteY487" fmla="*/ 796645 h 2173324"/>
                <a:gd name="connsiteX488" fmla="*/ 661415 w 2528315"/>
                <a:gd name="connsiteY488" fmla="*/ 794860 h 2173324"/>
                <a:gd name="connsiteX489" fmla="*/ 666970 w 2528315"/>
                <a:gd name="connsiteY489" fmla="*/ 793472 h 2173324"/>
                <a:gd name="connsiteX490" fmla="*/ 672327 w 2528315"/>
                <a:gd name="connsiteY490" fmla="*/ 792083 h 2173324"/>
                <a:gd name="connsiteX491" fmla="*/ 677882 w 2528315"/>
                <a:gd name="connsiteY491" fmla="*/ 791290 h 2173324"/>
                <a:gd name="connsiteX492" fmla="*/ 683437 w 2528315"/>
                <a:gd name="connsiteY492" fmla="*/ 790496 h 2173324"/>
                <a:gd name="connsiteX493" fmla="*/ 689388 w 2528315"/>
                <a:gd name="connsiteY493" fmla="*/ 790099 h 2173324"/>
                <a:gd name="connsiteX494" fmla="*/ 694943 w 2528315"/>
                <a:gd name="connsiteY494" fmla="*/ 789901 h 2173324"/>
                <a:gd name="connsiteX495" fmla="*/ 701490 w 2528315"/>
                <a:gd name="connsiteY495" fmla="*/ 790099 h 2173324"/>
                <a:gd name="connsiteX496" fmla="*/ 707839 w 2528315"/>
                <a:gd name="connsiteY496" fmla="*/ 790694 h 2173324"/>
                <a:gd name="connsiteX497" fmla="*/ 714188 w 2528315"/>
                <a:gd name="connsiteY497" fmla="*/ 791488 h 2173324"/>
                <a:gd name="connsiteX498" fmla="*/ 720140 w 2528315"/>
                <a:gd name="connsiteY498" fmla="*/ 792678 h 2173324"/>
                <a:gd name="connsiteX499" fmla="*/ 726290 w 2528315"/>
                <a:gd name="connsiteY499" fmla="*/ 794265 h 2173324"/>
                <a:gd name="connsiteX500" fmla="*/ 732043 w 2528315"/>
                <a:gd name="connsiteY500" fmla="*/ 796050 h 2173324"/>
                <a:gd name="connsiteX501" fmla="*/ 737797 w 2528315"/>
                <a:gd name="connsiteY501" fmla="*/ 798232 h 2173324"/>
                <a:gd name="connsiteX502" fmla="*/ 743153 w 2528315"/>
                <a:gd name="connsiteY502" fmla="*/ 800811 h 2173324"/>
                <a:gd name="connsiteX503" fmla="*/ 748708 w 2528315"/>
                <a:gd name="connsiteY503" fmla="*/ 803390 h 2173324"/>
                <a:gd name="connsiteX504" fmla="*/ 753867 w 2528315"/>
                <a:gd name="connsiteY504" fmla="*/ 806365 h 2173324"/>
                <a:gd name="connsiteX505" fmla="*/ 759025 w 2528315"/>
                <a:gd name="connsiteY505" fmla="*/ 809738 h 2173324"/>
                <a:gd name="connsiteX506" fmla="*/ 763786 w 2528315"/>
                <a:gd name="connsiteY506" fmla="*/ 813308 h 2173324"/>
                <a:gd name="connsiteX507" fmla="*/ 768548 w 2528315"/>
                <a:gd name="connsiteY507" fmla="*/ 817077 h 2173324"/>
                <a:gd name="connsiteX508" fmla="*/ 772912 w 2528315"/>
                <a:gd name="connsiteY508" fmla="*/ 821045 h 2173324"/>
                <a:gd name="connsiteX509" fmla="*/ 777079 w 2528315"/>
                <a:gd name="connsiteY509" fmla="*/ 825409 h 2173324"/>
                <a:gd name="connsiteX510" fmla="*/ 781245 w 2528315"/>
                <a:gd name="connsiteY510" fmla="*/ 829773 h 2173324"/>
                <a:gd name="connsiteX511" fmla="*/ 783427 w 2528315"/>
                <a:gd name="connsiteY511" fmla="*/ 820648 h 2173324"/>
                <a:gd name="connsiteX512" fmla="*/ 786006 w 2528315"/>
                <a:gd name="connsiteY512" fmla="*/ 811920 h 2173324"/>
                <a:gd name="connsiteX513" fmla="*/ 788784 w 2528315"/>
                <a:gd name="connsiteY513" fmla="*/ 803192 h 2173324"/>
                <a:gd name="connsiteX514" fmla="*/ 792355 w 2528315"/>
                <a:gd name="connsiteY514" fmla="*/ 794662 h 2173324"/>
                <a:gd name="connsiteX515" fmla="*/ 795926 w 2528315"/>
                <a:gd name="connsiteY515" fmla="*/ 786132 h 2173324"/>
                <a:gd name="connsiteX516" fmla="*/ 799894 w 2528315"/>
                <a:gd name="connsiteY516" fmla="*/ 777999 h 2173324"/>
                <a:gd name="connsiteX517" fmla="*/ 804259 w 2528315"/>
                <a:gd name="connsiteY517" fmla="*/ 770064 h 2173324"/>
                <a:gd name="connsiteX518" fmla="*/ 808822 w 2528315"/>
                <a:gd name="connsiteY518" fmla="*/ 762130 h 2173324"/>
                <a:gd name="connsiteX519" fmla="*/ 813980 w 2528315"/>
                <a:gd name="connsiteY519" fmla="*/ 754790 h 2173324"/>
                <a:gd name="connsiteX520" fmla="*/ 819138 w 2528315"/>
                <a:gd name="connsiteY520" fmla="*/ 747252 h 2173324"/>
                <a:gd name="connsiteX521" fmla="*/ 824693 w 2528315"/>
                <a:gd name="connsiteY521" fmla="*/ 740111 h 2173324"/>
                <a:gd name="connsiteX522" fmla="*/ 830447 w 2528315"/>
                <a:gd name="connsiteY522" fmla="*/ 733367 h 2173324"/>
                <a:gd name="connsiteX523" fmla="*/ 836597 w 2528315"/>
                <a:gd name="connsiteY523" fmla="*/ 726622 h 2173324"/>
                <a:gd name="connsiteX524" fmla="*/ 842945 w 2528315"/>
                <a:gd name="connsiteY524" fmla="*/ 720274 h 2173324"/>
                <a:gd name="connsiteX525" fmla="*/ 849691 w 2528315"/>
                <a:gd name="connsiteY525" fmla="*/ 714125 h 2173324"/>
                <a:gd name="connsiteX526" fmla="*/ 856436 w 2528315"/>
                <a:gd name="connsiteY526" fmla="*/ 708372 h 2173324"/>
                <a:gd name="connsiteX527" fmla="*/ 863578 w 2528315"/>
                <a:gd name="connsiteY527" fmla="*/ 702818 h 2173324"/>
                <a:gd name="connsiteX528" fmla="*/ 871117 w 2528315"/>
                <a:gd name="connsiteY528" fmla="*/ 697661 h 2173324"/>
                <a:gd name="connsiteX529" fmla="*/ 878458 w 2528315"/>
                <a:gd name="connsiteY529" fmla="*/ 692503 h 2173324"/>
                <a:gd name="connsiteX530" fmla="*/ 886394 w 2528315"/>
                <a:gd name="connsiteY530" fmla="*/ 687941 h 2173324"/>
                <a:gd name="connsiteX531" fmla="*/ 892151 w 2528315"/>
                <a:gd name="connsiteY531" fmla="*/ 684774 h 2173324"/>
                <a:gd name="connsiteX532" fmla="*/ 894026 w 2528315"/>
                <a:gd name="connsiteY532" fmla="*/ 679692 h 2173324"/>
                <a:gd name="connsiteX533" fmla="*/ 897050 w 2528315"/>
                <a:gd name="connsiteY533" fmla="*/ 671521 h 2173324"/>
                <a:gd name="connsiteX534" fmla="*/ 900387 w 2528315"/>
                <a:gd name="connsiteY534" fmla="*/ 664070 h 2173324"/>
                <a:gd name="connsiteX535" fmla="*/ 904341 w 2528315"/>
                <a:gd name="connsiteY535" fmla="*/ 656066 h 2173324"/>
                <a:gd name="connsiteX536" fmla="*/ 908368 w 2528315"/>
                <a:gd name="connsiteY536" fmla="*/ 648887 h 2173324"/>
                <a:gd name="connsiteX537" fmla="*/ 912981 w 2528315"/>
                <a:gd name="connsiteY537" fmla="*/ 641740 h 2173324"/>
                <a:gd name="connsiteX538" fmla="*/ 917938 w 2528315"/>
                <a:gd name="connsiteY538" fmla="*/ 634729 h 2173324"/>
                <a:gd name="connsiteX539" fmla="*/ 923240 w 2528315"/>
                <a:gd name="connsiteY539" fmla="*/ 627854 h 2173324"/>
                <a:gd name="connsiteX540" fmla="*/ 928406 w 2528315"/>
                <a:gd name="connsiteY540" fmla="*/ 621323 h 2173324"/>
                <a:gd name="connsiteX541" fmla="*/ 934607 w 2528315"/>
                <a:gd name="connsiteY541" fmla="*/ 615201 h 2173324"/>
                <a:gd name="connsiteX542" fmla="*/ 940567 w 2528315"/>
                <a:gd name="connsiteY542" fmla="*/ 609183 h 2173324"/>
                <a:gd name="connsiteX543" fmla="*/ 947113 w 2528315"/>
                <a:gd name="connsiteY543" fmla="*/ 603197 h 2173324"/>
                <a:gd name="connsiteX544" fmla="*/ 953867 w 2528315"/>
                <a:gd name="connsiteY544" fmla="*/ 597691 h 2173324"/>
                <a:gd name="connsiteX545" fmla="*/ 961070 w 2528315"/>
                <a:gd name="connsiteY545" fmla="*/ 592562 h 2173324"/>
                <a:gd name="connsiteX546" fmla="*/ 968379 w 2528315"/>
                <a:gd name="connsiteY546" fmla="*/ 587673 h 2173324"/>
                <a:gd name="connsiteX547" fmla="*/ 976136 w 2528315"/>
                <a:gd name="connsiteY547" fmla="*/ 583161 h 2173324"/>
                <a:gd name="connsiteX548" fmla="*/ 984102 w 2528315"/>
                <a:gd name="connsiteY548" fmla="*/ 579129 h 2173324"/>
                <a:gd name="connsiteX549" fmla="*/ 979568 w 2528315"/>
                <a:gd name="connsiteY549" fmla="*/ 573954 h 2173324"/>
                <a:gd name="connsiteX550" fmla="*/ 975243 w 2528315"/>
                <a:gd name="connsiteY550" fmla="*/ 569260 h 2173324"/>
                <a:gd name="connsiteX551" fmla="*/ 971294 w 2528315"/>
                <a:gd name="connsiteY551" fmla="*/ 564117 h 2173324"/>
                <a:gd name="connsiteX552" fmla="*/ 967377 w 2528315"/>
                <a:gd name="connsiteY552" fmla="*/ 558389 h 2173324"/>
                <a:gd name="connsiteX553" fmla="*/ 963805 w 2528315"/>
                <a:gd name="connsiteY553" fmla="*/ 552796 h 2173324"/>
                <a:gd name="connsiteX554" fmla="*/ 960368 w 2528315"/>
                <a:gd name="connsiteY554" fmla="*/ 546859 h 2173324"/>
                <a:gd name="connsiteX555" fmla="*/ 957173 w 2528315"/>
                <a:gd name="connsiteY555" fmla="*/ 540817 h 2173324"/>
                <a:gd name="connsiteX556" fmla="*/ 954113 w 2528315"/>
                <a:gd name="connsiteY556" fmla="*/ 534431 h 2173324"/>
                <a:gd name="connsiteX557" fmla="*/ 951430 w 2528315"/>
                <a:gd name="connsiteY557" fmla="*/ 527595 h 2173324"/>
                <a:gd name="connsiteX558" fmla="*/ 948778 w 2528315"/>
                <a:gd name="connsiteY558" fmla="*/ 520174 h 2173324"/>
                <a:gd name="connsiteX559" fmla="*/ 946816 w 2528315"/>
                <a:gd name="connsiteY559" fmla="*/ 513024 h 2173324"/>
                <a:gd name="connsiteX560" fmla="*/ 945094 w 2528315"/>
                <a:gd name="connsiteY560" fmla="*/ 505771 h 2173324"/>
                <a:gd name="connsiteX561" fmla="*/ 943718 w 2528315"/>
                <a:gd name="connsiteY561" fmla="*/ 498653 h 2173324"/>
                <a:gd name="connsiteX562" fmla="*/ 942822 w 2528315"/>
                <a:gd name="connsiteY562" fmla="*/ 491327 h 2173324"/>
                <a:gd name="connsiteX563" fmla="*/ 942166 w 2528315"/>
                <a:gd name="connsiteY563" fmla="*/ 483896 h 2173324"/>
                <a:gd name="connsiteX564" fmla="*/ 941960 w 2528315"/>
                <a:gd name="connsiteY564" fmla="*/ 476841 h 2173324"/>
                <a:gd name="connsiteX565" fmla="*/ 941890 w 2528315"/>
                <a:gd name="connsiteY565" fmla="*/ 469442 h 2173324"/>
                <a:gd name="connsiteX566" fmla="*/ 942510 w 2528315"/>
                <a:gd name="connsiteY566" fmla="*/ 462314 h 2173324"/>
                <a:gd name="connsiteX567" fmla="*/ 943370 w 2528315"/>
                <a:gd name="connsiteY567" fmla="*/ 455082 h 2173324"/>
                <a:gd name="connsiteX568" fmla="*/ 944575 w 2528315"/>
                <a:gd name="connsiteY568" fmla="*/ 447986 h 2173324"/>
                <a:gd name="connsiteX569" fmla="*/ 945884 w 2528315"/>
                <a:gd name="connsiteY569" fmla="*/ 441131 h 2173324"/>
                <a:gd name="connsiteX570" fmla="*/ 947675 w 2528315"/>
                <a:gd name="connsiteY570" fmla="*/ 434067 h 2173324"/>
                <a:gd name="connsiteX571" fmla="*/ 949914 w 2528315"/>
                <a:gd name="connsiteY571" fmla="*/ 427379 h 2173324"/>
                <a:gd name="connsiteX572" fmla="*/ 952499 w 2528315"/>
                <a:gd name="connsiteY572" fmla="*/ 420827 h 2173324"/>
                <a:gd name="connsiteX573" fmla="*/ 954979 w 2528315"/>
                <a:gd name="connsiteY573" fmla="*/ 414034 h 2173324"/>
                <a:gd name="connsiteX574" fmla="*/ 958253 w 2528315"/>
                <a:gd name="connsiteY574" fmla="*/ 407754 h 2173324"/>
                <a:gd name="connsiteX575" fmla="*/ 961767 w 2528315"/>
                <a:gd name="connsiteY575" fmla="*/ 401370 h 2173324"/>
                <a:gd name="connsiteX576" fmla="*/ 965282 w 2528315"/>
                <a:gd name="connsiteY576" fmla="*/ 394985 h 2173324"/>
                <a:gd name="connsiteX577" fmla="*/ 969350 w 2528315"/>
                <a:gd name="connsiteY577" fmla="*/ 389217 h 2173324"/>
                <a:gd name="connsiteX578" fmla="*/ 973418 w 2528315"/>
                <a:gd name="connsiteY578" fmla="*/ 383450 h 2173324"/>
                <a:gd name="connsiteX579" fmla="*/ 978176 w 2528315"/>
                <a:gd name="connsiteY579" fmla="*/ 377954 h 2173324"/>
                <a:gd name="connsiteX580" fmla="*/ 982934 w 2528315"/>
                <a:gd name="connsiteY580" fmla="*/ 372458 h 2173324"/>
                <a:gd name="connsiteX581" fmla="*/ 988382 w 2528315"/>
                <a:gd name="connsiteY581" fmla="*/ 367234 h 2173324"/>
                <a:gd name="connsiteX582" fmla="*/ 993453 w 2528315"/>
                <a:gd name="connsiteY582" fmla="*/ 362460 h 2173324"/>
                <a:gd name="connsiteX583" fmla="*/ 999455 w 2528315"/>
                <a:gd name="connsiteY583" fmla="*/ 357853 h 2173324"/>
                <a:gd name="connsiteX584" fmla="*/ 1005216 w 2528315"/>
                <a:gd name="connsiteY584" fmla="*/ 353350 h 2173324"/>
                <a:gd name="connsiteX585" fmla="*/ 1011530 w 2528315"/>
                <a:gd name="connsiteY585" fmla="*/ 349464 h 2173324"/>
                <a:gd name="connsiteX586" fmla="*/ 1017845 w 2528315"/>
                <a:gd name="connsiteY586" fmla="*/ 345579 h 2173324"/>
                <a:gd name="connsiteX587" fmla="*/ 1024850 w 2528315"/>
                <a:gd name="connsiteY587" fmla="*/ 341965 h 2173324"/>
                <a:gd name="connsiteX588" fmla="*/ 1031477 w 2528315"/>
                <a:gd name="connsiteY588" fmla="*/ 338800 h 2173324"/>
                <a:gd name="connsiteX589" fmla="*/ 1039516 w 2528315"/>
                <a:gd name="connsiteY589" fmla="*/ 335594 h 2173324"/>
                <a:gd name="connsiteX590" fmla="*/ 1047524 w 2528315"/>
                <a:gd name="connsiteY590" fmla="*/ 332973 h 2173324"/>
                <a:gd name="connsiteX591" fmla="*/ 1055636 w 2528315"/>
                <a:gd name="connsiteY591" fmla="*/ 330593 h 2173324"/>
                <a:gd name="connsiteX592" fmla="*/ 1063475 w 2528315"/>
                <a:gd name="connsiteY592" fmla="*/ 328903 h 2173324"/>
                <a:gd name="connsiteX593" fmla="*/ 1071765 w 2528315"/>
                <a:gd name="connsiteY593" fmla="*/ 327588 h 2173324"/>
                <a:gd name="connsiteX594" fmla="*/ 1079677 w 2528315"/>
                <a:gd name="connsiteY594" fmla="*/ 326724 h 2173324"/>
                <a:gd name="connsiteX595" fmla="*/ 1087799 w 2528315"/>
                <a:gd name="connsiteY595" fmla="*/ 326339 h 2173324"/>
                <a:gd name="connsiteX596" fmla="*/ 1095648 w 2528315"/>
                <a:gd name="connsiteY596" fmla="*/ 326645 h 2173324"/>
                <a:gd name="connsiteX597" fmla="*/ 1103738 w 2528315"/>
                <a:gd name="connsiteY597" fmla="*/ 326846 h 2173324"/>
                <a:gd name="connsiteX598" fmla="*/ 1111556 w 2528315"/>
                <a:gd name="connsiteY598" fmla="*/ 327737 h 2173324"/>
                <a:gd name="connsiteX599" fmla="*/ 1119582 w 2528315"/>
                <a:gd name="connsiteY599" fmla="*/ 329109 h 2173324"/>
                <a:gd name="connsiteX600" fmla="*/ 1127232 w 2528315"/>
                <a:gd name="connsiteY600" fmla="*/ 330930 h 2173324"/>
                <a:gd name="connsiteX601" fmla="*/ 1134987 w 2528315"/>
                <a:gd name="connsiteY601" fmla="*/ 332991 h 2173324"/>
                <a:gd name="connsiteX602" fmla="*/ 1142365 w 2528315"/>
                <a:gd name="connsiteY602" fmla="*/ 335502 h 2173324"/>
                <a:gd name="connsiteX603" fmla="*/ 1149712 w 2528315"/>
                <a:gd name="connsiteY603" fmla="*/ 338597 h 2173324"/>
                <a:gd name="connsiteX604" fmla="*/ 1157058 w 2528315"/>
                <a:gd name="connsiteY604" fmla="*/ 341693 h 2173324"/>
                <a:gd name="connsiteX605" fmla="*/ 1154900 w 2528315"/>
                <a:gd name="connsiteY605" fmla="*/ 329486 h 2173324"/>
                <a:gd name="connsiteX606" fmla="*/ 1153431 w 2528315"/>
                <a:gd name="connsiteY606" fmla="*/ 317550 h 2173324"/>
                <a:gd name="connsiteX607" fmla="*/ 1152203 w 2528315"/>
                <a:gd name="connsiteY607" fmla="*/ 305510 h 2173324"/>
                <a:gd name="connsiteX608" fmla="*/ 1152040 w 2528315"/>
                <a:gd name="connsiteY608" fmla="*/ 293293 h 2173324"/>
                <a:gd name="connsiteX609" fmla="*/ 1151878 w 2528315"/>
                <a:gd name="connsiteY609" fmla="*/ 281075 h 2173324"/>
                <a:gd name="connsiteX610" fmla="*/ 1152406 w 2528315"/>
                <a:gd name="connsiteY610" fmla="*/ 269130 h 2173324"/>
                <a:gd name="connsiteX611" fmla="*/ 1153519 w 2528315"/>
                <a:gd name="connsiteY611" fmla="*/ 257216 h 2173324"/>
                <a:gd name="connsiteX612" fmla="*/ 1154872 w 2528315"/>
                <a:gd name="connsiteY612" fmla="*/ 245198 h 2173324"/>
                <a:gd name="connsiteX613" fmla="*/ 1157260 w 2528315"/>
                <a:gd name="connsiteY613" fmla="*/ 233587 h 2173324"/>
                <a:gd name="connsiteX614" fmla="*/ 1159544 w 2528315"/>
                <a:gd name="connsiteY614" fmla="*/ 221736 h 2173324"/>
                <a:gd name="connsiteX615" fmla="*/ 1162517 w 2528315"/>
                <a:gd name="connsiteY615" fmla="*/ 210157 h 2173324"/>
                <a:gd name="connsiteX616" fmla="*/ 1165939 w 2528315"/>
                <a:gd name="connsiteY616" fmla="*/ 198955 h 2173324"/>
                <a:gd name="connsiteX617" fmla="*/ 1169843 w 2528315"/>
                <a:gd name="connsiteY617" fmla="*/ 187544 h 2173324"/>
                <a:gd name="connsiteX618" fmla="*/ 1174195 w 2528315"/>
                <a:gd name="connsiteY618" fmla="*/ 176509 h 2173324"/>
                <a:gd name="connsiteX619" fmla="*/ 1179133 w 2528315"/>
                <a:gd name="connsiteY619" fmla="*/ 165505 h 2173324"/>
                <a:gd name="connsiteX620" fmla="*/ 1184280 w 2528315"/>
                <a:gd name="connsiteY620" fmla="*/ 154982 h 2173324"/>
                <a:gd name="connsiteX621" fmla="*/ 1190012 w 2528315"/>
                <a:gd name="connsiteY621" fmla="*/ 144491 h 2173324"/>
                <a:gd name="connsiteX622" fmla="*/ 1196434 w 2528315"/>
                <a:gd name="connsiteY622" fmla="*/ 134272 h 2173324"/>
                <a:gd name="connsiteX623" fmla="*/ 1202616 w 2528315"/>
                <a:gd name="connsiteY623" fmla="*/ 124158 h 2173324"/>
                <a:gd name="connsiteX624" fmla="*/ 1209832 w 2528315"/>
                <a:gd name="connsiteY624" fmla="*/ 114451 h 2173324"/>
                <a:gd name="connsiteX625" fmla="*/ 1217152 w 2528315"/>
                <a:gd name="connsiteY625" fmla="*/ 104984 h 2173324"/>
                <a:gd name="connsiteX626" fmla="*/ 1225162 w 2528315"/>
                <a:gd name="connsiteY626" fmla="*/ 95790 h 2173324"/>
                <a:gd name="connsiteX627" fmla="*/ 1233381 w 2528315"/>
                <a:gd name="connsiteY627" fmla="*/ 87076 h 2173324"/>
                <a:gd name="connsiteX628" fmla="*/ 1241945 w 2528315"/>
                <a:gd name="connsiteY628" fmla="*/ 78498 h 2173324"/>
                <a:gd name="connsiteX629" fmla="*/ 1250958 w 2528315"/>
                <a:gd name="connsiteY629" fmla="*/ 70297 h 2173324"/>
                <a:gd name="connsiteX630" fmla="*/ 1260421 w 2528315"/>
                <a:gd name="connsiteY630" fmla="*/ 62472 h 2173324"/>
                <a:gd name="connsiteX631" fmla="*/ 1270092 w 2528315"/>
                <a:gd name="connsiteY631" fmla="*/ 55128 h 2173324"/>
                <a:gd name="connsiteX632" fmla="*/ 1280453 w 2528315"/>
                <a:gd name="connsiteY632" fmla="*/ 48056 h 2173324"/>
                <a:gd name="connsiteX633" fmla="*/ 1291023 w 2528315"/>
                <a:gd name="connsiteY633" fmla="*/ 41465 h 2173324"/>
                <a:gd name="connsiteX634" fmla="*/ 1301937 w 2528315"/>
                <a:gd name="connsiteY634" fmla="*/ 35010 h 2173324"/>
                <a:gd name="connsiteX635" fmla="*/ 1313165 w 2528315"/>
                <a:gd name="connsiteY635" fmla="*/ 29276 h 2173324"/>
                <a:gd name="connsiteX636" fmla="*/ 1324738 w 2528315"/>
                <a:gd name="connsiteY636" fmla="*/ 23678 h 2173324"/>
                <a:gd name="connsiteX637" fmla="*/ 1338652 w 2528315"/>
                <a:gd name="connsiteY637" fmla="*/ 18206 h 2173324"/>
                <a:gd name="connsiteX638" fmla="*/ 1352294 w 2528315"/>
                <a:gd name="connsiteY638" fmla="*/ 13423 h 2173324"/>
                <a:gd name="connsiteX639" fmla="*/ 1366354 w 2528315"/>
                <a:gd name="connsiteY639" fmla="*/ 9603 h 2173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Lst>
              <a:rect l="l" t="t" r="r" b="b"/>
              <a:pathLst>
                <a:path w="2528315" h="2173324">
                  <a:moveTo>
                    <a:pt x="1380277" y="6127"/>
                  </a:moveTo>
                  <a:lnTo>
                    <a:pt x="1394033" y="3581"/>
                  </a:lnTo>
                  <a:lnTo>
                    <a:pt x="1408343" y="1652"/>
                  </a:lnTo>
                  <a:lnTo>
                    <a:pt x="1422485" y="654"/>
                  </a:lnTo>
                  <a:lnTo>
                    <a:pt x="1436491" y="0"/>
                  </a:lnTo>
                  <a:lnTo>
                    <a:pt x="1450330" y="276"/>
                  </a:lnTo>
                  <a:lnTo>
                    <a:pt x="1464377" y="1033"/>
                  </a:lnTo>
                  <a:lnTo>
                    <a:pt x="1478152" y="2479"/>
                  </a:lnTo>
                  <a:lnTo>
                    <a:pt x="1491519" y="4961"/>
                  </a:lnTo>
                  <a:lnTo>
                    <a:pt x="1505231" y="7578"/>
                  </a:lnTo>
                  <a:lnTo>
                    <a:pt x="1518535" y="11229"/>
                  </a:lnTo>
                  <a:lnTo>
                    <a:pt x="1531703" y="15226"/>
                  </a:lnTo>
                  <a:lnTo>
                    <a:pt x="1544704" y="20152"/>
                  </a:lnTo>
                  <a:lnTo>
                    <a:pt x="1557568" y="25424"/>
                  </a:lnTo>
                  <a:lnTo>
                    <a:pt x="1569815" y="31249"/>
                  </a:lnTo>
                  <a:lnTo>
                    <a:pt x="1581895" y="38004"/>
                  </a:lnTo>
                  <a:lnTo>
                    <a:pt x="1593839" y="45104"/>
                  </a:lnTo>
                  <a:lnTo>
                    <a:pt x="1605166" y="52758"/>
                  </a:lnTo>
                  <a:lnTo>
                    <a:pt x="1616461" y="60997"/>
                  </a:lnTo>
                  <a:lnTo>
                    <a:pt x="1627244" y="70031"/>
                  </a:lnTo>
                  <a:lnTo>
                    <a:pt x="1637546" y="79273"/>
                  </a:lnTo>
                  <a:lnTo>
                    <a:pt x="1647576" y="89204"/>
                  </a:lnTo>
                  <a:lnTo>
                    <a:pt x="1656988" y="99690"/>
                  </a:lnTo>
                  <a:lnTo>
                    <a:pt x="1665785" y="110729"/>
                  </a:lnTo>
                  <a:lnTo>
                    <a:pt x="1674340" y="121873"/>
                  </a:lnTo>
                  <a:lnTo>
                    <a:pt x="1682383" y="133811"/>
                  </a:lnTo>
                  <a:lnTo>
                    <a:pt x="1688132" y="143481"/>
                  </a:lnTo>
                  <a:lnTo>
                    <a:pt x="1694059" y="138425"/>
                  </a:lnTo>
                  <a:lnTo>
                    <a:pt x="1701201" y="132871"/>
                  </a:lnTo>
                  <a:lnTo>
                    <a:pt x="1708740" y="127713"/>
                  </a:lnTo>
                  <a:lnTo>
                    <a:pt x="1716081" y="122556"/>
                  </a:lnTo>
                  <a:lnTo>
                    <a:pt x="1724017" y="117993"/>
                  </a:lnTo>
                  <a:lnTo>
                    <a:pt x="1731952" y="113629"/>
                  </a:lnTo>
                  <a:lnTo>
                    <a:pt x="1740285" y="109662"/>
                  </a:lnTo>
                  <a:lnTo>
                    <a:pt x="1748617" y="106091"/>
                  </a:lnTo>
                  <a:lnTo>
                    <a:pt x="1757148" y="102719"/>
                  </a:lnTo>
                  <a:lnTo>
                    <a:pt x="1765878" y="99744"/>
                  </a:lnTo>
                  <a:lnTo>
                    <a:pt x="1774805" y="97165"/>
                  </a:lnTo>
                  <a:lnTo>
                    <a:pt x="1783733" y="94983"/>
                  </a:lnTo>
                  <a:lnTo>
                    <a:pt x="1793058" y="93197"/>
                  </a:lnTo>
                  <a:lnTo>
                    <a:pt x="1802382" y="91809"/>
                  </a:lnTo>
                  <a:lnTo>
                    <a:pt x="1811905" y="90619"/>
                  </a:lnTo>
                  <a:lnTo>
                    <a:pt x="1821428" y="90024"/>
                  </a:lnTo>
                  <a:lnTo>
                    <a:pt x="1831149" y="89627"/>
                  </a:lnTo>
                  <a:lnTo>
                    <a:pt x="1842458" y="90024"/>
                  </a:lnTo>
                  <a:lnTo>
                    <a:pt x="1853369" y="90817"/>
                  </a:lnTo>
                  <a:lnTo>
                    <a:pt x="1864281" y="92404"/>
                  </a:lnTo>
                  <a:lnTo>
                    <a:pt x="1874994" y="94189"/>
                  </a:lnTo>
                  <a:lnTo>
                    <a:pt x="1885311" y="96570"/>
                  </a:lnTo>
                  <a:lnTo>
                    <a:pt x="1895826" y="99545"/>
                  </a:lnTo>
                  <a:lnTo>
                    <a:pt x="1905944" y="103116"/>
                  </a:lnTo>
                  <a:lnTo>
                    <a:pt x="1915863" y="106885"/>
                  </a:lnTo>
                  <a:lnTo>
                    <a:pt x="1925386" y="111249"/>
                  </a:lnTo>
                  <a:lnTo>
                    <a:pt x="1934909" y="116010"/>
                  </a:lnTo>
                  <a:lnTo>
                    <a:pt x="1944035" y="121167"/>
                  </a:lnTo>
                  <a:lnTo>
                    <a:pt x="1952566" y="126920"/>
                  </a:lnTo>
                  <a:lnTo>
                    <a:pt x="1961296" y="132871"/>
                  </a:lnTo>
                  <a:lnTo>
                    <a:pt x="1969430" y="139417"/>
                  </a:lnTo>
                  <a:lnTo>
                    <a:pt x="1977366" y="146161"/>
                  </a:lnTo>
                  <a:lnTo>
                    <a:pt x="1984905" y="153501"/>
                  </a:lnTo>
                  <a:lnTo>
                    <a:pt x="1992245" y="161039"/>
                  </a:lnTo>
                  <a:lnTo>
                    <a:pt x="1998990" y="168775"/>
                  </a:lnTo>
                  <a:lnTo>
                    <a:pt x="2005339" y="177107"/>
                  </a:lnTo>
                  <a:lnTo>
                    <a:pt x="2011489" y="185636"/>
                  </a:lnTo>
                  <a:lnTo>
                    <a:pt x="2017044" y="194364"/>
                  </a:lnTo>
                  <a:lnTo>
                    <a:pt x="2022401" y="203489"/>
                  </a:lnTo>
                  <a:lnTo>
                    <a:pt x="2027162" y="213011"/>
                  </a:lnTo>
                  <a:lnTo>
                    <a:pt x="2031527" y="222533"/>
                  </a:lnTo>
                  <a:lnTo>
                    <a:pt x="2035495" y="232451"/>
                  </a:lnTo>
                  <a:lnTo>
                    <a:pt x="2038868" y="242568"/>
                  </a:lnTo>
                  <a:lnTo>
                    <a:pt x="2041645" y="252883"/>
                  </a:lnTo>
                  <a:lnTo>
                    <a:pt x="2044224" y="263198"/>
                  </a:lnTo>
                  <a:lnTo>
                    <a:pt x="2046208" y="273909"/>
                  </a:lnTo>
                  <a:lnTo>
                    <a:pt x="2047597" y="284820"/>
                  </a:lnTo>
                  <a:lnTo>
                    <a:pt x="2048391" y="295928"/>
                  </a:lnTo>
                  <a:lnTo>
                    <a:pt x="2048589" y="307037"/>
                  </a:lnTo>
                  <a:lnTo>
                    <a:pt x="2048589" y="311202"/>
                  </a:lnTo>
                  <a:lnTo>
                    <a:pt x="2048589" y="314971"/>
                  </a:lnTo>
                  <a:lnTo>
                    <a:pt x="2048391" y="318740"/>
                  </a:lnTo>
                  <a:lnTo>
                    <a:pt x="2048192" y="322708"/>
                  </a:lnTo>
                  <a:lnTo>
                    <a:pt x="2047795" y="326477"/>
                  </a:lnTo>
                  <a:lnTo>
                    <a:pt x="2047399" y="330246"/>
                  </a:lnTo>
                  <a:lnTo>
                    <a:pt x="2047002" y="334015"/>
                  </a:lnTo>
                  <a:lnTo>
                    <a:pt x="2046605" y="337784"/>
                  </a:lnTo>
                  <a:lnTo>
                    <a:pt x="2054342" y="338577"/>
                  </a:lnTo>
                  <a:lnTo>
                    <a:pt x="2062080" y="339569"/>
                  </a:lnTo>
                  <a:lnTo>
                    <a:pt x="2069817" y="341156"/>
                  </a:lnTo>
                  <a:lnTo>
                    <a:pt x="2077356" y="342941"/>
                  </a:lnTo>
                  <a:lnTo>
                    <a:pt x="2084697" y="345321"/>
                  </a:lnTo>
                  <a:lnTo>
                    <a:pt x="2091839" y="347702"/>
                  </a:lnTo>
                  <a:lnTo>
                    <a:pt x="2098783" y="350479"/>
                  </a:lnTo>
                  <a:lnTo>
                    <a:pt x="2105925" y="353653"/>
                  </a:lnTo>
                  <a:lnTo>
                    <a:pt x="2112670" y="357223"/>
                  </a:lnTo>
                  <a:lnTo>
                    <a:pt x="2119019" y="360992"/>
                  </a:lnTo>
                  <a:lnTo>
                    <a:pt x="2125566" y="364960"/>
                  </a:lnTo>
                  <a:lnTo>
                    <a:pt x="2131518" y="369324"/>
                  </a:lnTo>
                  <a:lnTo>
                    <a:pt x="2137469" y="373886"/>
                  </a:lnTo>
                  <a:lnTo>
                    <a:pt x="2143223" y="378647"/>
                  </a:lnTo>
                  <a:lnTo>
                    <a:pt x="2148778" y="384003"/>
                  </a:lnTo>
                  <a:lnTo>
                    <a:pt x="2153936" y="389161"/>
                  </a:lnTo>
                  <a:lnTo>
                    <a:pt x="2158896" y="394913"/>
                  </a:lnTo>
                  <a:lnTo>
                    <a:pt x="2163657" y="400666"/>
                  </a:lnTo>
                  <a:lnTo>
                    <a:pt x="2168220" y="406815"/>
                  </a:lnTo>
                  <a:lnTo>
                    <a:pt x="2172387" y="412766"/>
                  </a:lnTo>
                  <a:lnTo>
                    <a:pt x="2176156" y="419312"/>
                  </a:lnTo>
                  <a:lnTo>
                    <a:pt x="2179926" y="426057"/>
                  </a:lnTo>
                  <a:lnTo>
                    <a:pt x="2183100" y="432801"/>
                  </a:lnTo>
                  <a:lnTo>
                    <a:pt x="2186076" y="439744"/>
                  </a:lnTo>
                  <a:lnTo>
                    <a:pt x="2188655" y="446885"/>
                  </a:lnTo>
                  <a:lnTo>
                    <a:pt x="2191234" y="454225"/>
                  </a:lnTo>
                  <a:lnTo>
                    <a:pt x="2193073" y="461211"/>
                  </a:lnTo>
                  <a:lnTo>
                    <a:pt x="2194815" y="461464"/>
                  </a:lnTo>
                  <a:lnTo>
                    <a:pt x="2205528" y="463250"/>
                  </a:lnTo>
                  <a:lnTo>
                    <a:pt x="2215845" y="465630"/>
                  </a:lnTo>
                  <a:lnTo>
                    <a:pt x="2226360" y="468605"/>
                  </a:lnTo>
                  <a:lnTo>
                    <a:pt x="2236478" y="472176"/>
                  </a:lnTo>
                  <a:lnTo>
                    <a:pt x="2246398" y="475945"/>
                  </a:lnTo>
                  <a:lnTo>
                    <a:pt x="2255920" y="480309"/>
                  </a:lnTo>
                  <a:lnTo>
                    <a:pt x="2265443" y="485070"/>
                  </a:lnTo>
                  <a:lnTo>
                    <a:pt x="2274569" y="490227"/>
                  </a:lnTo>
                  <a:lnTo>
                    <a:pt x="2283100" y="495980"/>
                  </a:lnTo>
                  <a:lnTo>
                    <a:pt x="2291830" y="501931"/>
                  </a:lnTo>
                  <a:lnTo>
                    <a:pt x="2299964" y="508477"/>
                  </a:lnTo>
                  <a:lnTo>
                    <a:pt x="2307900" y="515222"/>
                  </a:lnTo>
                  <a:lnTo>
                    <a:pt x="2315439" y="522561"/>
                  </a:lnTo>
                  <a:lnTo>
                    <a:pt x="2322779" y="530099"/>
                  </a:lnTo>
                  <a:lnTo>
                    <a:pt x="2329525" y="537835"/>
                  </a:lnTo>
                  <a:lnTo>
                    <a:pt x="2335873" y="546167"/>
                  </a:lnTo>
                  <a:lnTo>
                    <a:pt x="2342023" y="554697"/>
                  </a:lnTo>
                  <a:lnTo>
                    <a:pt x="2347578" y="563425"/>
                  </a:lnTo>
                  <a:lnTo>
                    <a:pt x="2352935" y="572550"/>
                  </a:lnTo>
                  <a:lnTo>
                    <a:pt x="2357696" y="582071"/>
                  </a:lnTo>
                  <a:lnTo>
                    <a:pt x="2362061" y="591593"/>
                  </a:lnTo>
                  <a:lnTo>
                    <a:pt x="2366029" y="601511"/>
                  </a:lnTo>
                  <a:lnTo>
                    <a:pt x="2369402" y="611628"/>
                  </a:lnTo>
                  <a:lnTo>
                    <a:pt x="2372179" y="621943"/>
                  </a:lnTo>
                  <a:lnTo>
                    <a:pt x="2374758" y="632258"/>
                  </a:lnTo>
                  <a:lnTo>
                    <a:pt x="2376742" y="642970"/>
                  </a:lnTo>
                  <a:lnTo>
                    <a:pt x="2378131" y="653880"/>
                  </a:lnTo>
                  <a:lnTo>
                    <a:pt x="2378925" y="664988"/>
                  </a:lnTo>
                  <a:lnTo>
                    <a:pt x="2379123" y="676097"/>
                  </a:lnTo>
                  <a:lnTo>
                    <a:pt x="2379123" y="680263"/>
                  </a:lnTo>
                  <a:lnTo>
                    <a:pt x="2379123" y="684032"/>
                  </a:lnTo>
                  <a:lnTo>
                    <a:pt x="2378925" y="687801"/>
                  </a:lnTo>
                  <a:lnTo>
                    <a:pt x="2378726" y="691768"/>
                  </a:lnTo>
                  <a:lnTo>
                    <a:pt x="2378329" y="695537"/>
                  </a:lnTo>
                  <a:lnTo>
                    <a:pt x="2377933" y="699306"/>
                  </a:lnTo>
                  <a:lnTo>
                    <a:pt x="2377536" y="703075"/>
                  </a:lnTo>
                  <a:lnTo>
                    <a:pt x="2377139" y="706844"/>
                  </a:lnTo>
                  <a:lnTo>
                    <a:pt x="2384876" y="707637"/>
                  </a:lnTo>
                  <a:lnTo>
                    <a:pt x="2392614" y="708629"/>
                  </a:lnTo>
                  <a:lnTo>
                    <a:pt x="2400351" y="710216"/>
                  </a:lnTo>
                  <a:lnTo>
                    <a:pt x="2407890" y="712001"/>
                  </a:lnTo>
                  <a:lnTo>
                    <a:pt x="2415231" y="714382"/>
                  </a:lnTo>
                  <a:lnTo>
                    <a:pt x="2422373" y="716762"/>
                  </a:lnTo>
                  <a:lnTo>
                    <a:pt x="2429317" y="719539"/>
                  </a:lnTo>
                  <a:lnTo>
                    <a:pt x="2436459" y="722713"/>
                  </a:lnTo>
                  <a:lnTo>
                    <a:pt x="2443204" y="726284"/>
                  </a:lnTo>
                  <a:lnTo>
                    <a:pt x="2449553" y="730053"/>
                  </a:lnTo>
                  <a:lnTo>
                    <a:pt x="2456100" y="734020"/>
                  </a:lnTo>
                  <a:lnTo>
                    <a:pt x="2462052" y="738384"/>
                  </a:lnTo>
                  <a:lnTo>
                    <a:pt x="2468003" y="742947"/>
                  </a:lnTo>
                  <a:lnTo>
                    <a:pt x="2473757" y="747707"/>
                  </a:lnTo>
                  <a:lnTo>
                    <a:pt x="2479312" y="753063"/>
                  </a:lnTo>
                  <a:lnTo>
                    <a:pt x="2484470" y="758221"/>
                  </a:lnTo>
                  <a:lnTo>
                    <a:pt x="2489430" y="763973"/>
                  </a:lnTo>
                  <a:lnTo>
                    <a:pt x="2494191" y="769726"/>
                  </a:lnTo>
                  <a:lnTo>
                    <a:pt x="2498754" y="775875"/>
                  </a:lnTo>
                  <a:lnTo>
                    <a:pt x="2502921" y="781826"/>
                  </a:lnTo>
                  <a:lnTo>
                    <a:pt x="2506690" y="788373"/>
                  </a:lnTo>
                  <a:lnTo>
                    <a:pt x="2510460" y="795117"/>
                  </a:lnTo>
                  <a:lnTo>
                    <a:pt x="2513634" y="801861"/>
                  </a:lnTo>
                  <a:lnTo>
                    <a:pt x="2516610" y="808804"/>
                  </a:lnTo>
                  <a:lnTo>
                    <a:pt x="2519189" y="815945"/>
                  </a:lnTo>
                  <a:lnTo>
                    <a:pt x="2521768" y="823285"/>
                  </a:lnTo>
                  <a:lnTo>
                    <a:pt x="2523752" y="830823"/>
                  </a:lnTo>
                  <a:lnTo>
                    <a:pt x="2525339" y="838163"/>
                  </a:lnTo>
                  <a:lnTo>
                    <a:pt x="2526728" y="846097"/>
                  </a:lnTo>
                  <a:lnTo>
                    <a:pt x="2527522" y="853834"/>
                  </a:lnTo>
                  <a:lnTo>
                    <a:pt x="2528117" y="861768"/>
                  </a:lnTo>
                  <a:lnTo>
                    <a:pt x="2528315" y="869703"/>
                  </a:lnTo>
                  <a:lnTo>
                    <a:pt x="2528315" y="875654"/>
                  </a:lnTo>
                  <a:lnTo>
                    <a:pt x="2527918" y="881406"/>
                  </a:lnTo>
                  <a:lnTo>
                    <a:pt x="2527522" y="887159"/>
                  </a:lnTo>
                  <a:lnTo>
                    <a:pt x="2526728" y="892912"/>
                  </a:lnTo>
                  <a:lnTo>
                    <a:pt x="2525934" y="898268"/>
                  </a:lnTo>
                  <a:lnTo>
                    <a:pt x="2524744" y="904020"/>
                  </a:lnTo>
                  <a:lnTo>
                    <a:pt x="2523554" y="909376"/>
                  </a:lnTo>
                  <a:lnTo>
                    <a:pt x="2522165" y="914930"/>
                  </a:lnTo>
                  <a:lnTo>
                    <a:pt x="2520578" y="920088"/>
                  </a:lnTo>
                  <a:lnTo>
                    <a:pt x="2518594" y="925444"/>
                  </a:lnTo>
                  <a:lnTo>
                    <a:pt x="2516610" y="930601"/>
                  </a:lnTo>
                  <a:lnTo>
                    <a:pt x="2514626" y="935759"/>
                  </a:lnTo>
                  <a:lnTo>
                    <a:pt x="2512245" y="940718"/>
                  </a:lnTo>
                  <a:lnTo>
                    <a:pt x="2509865" y="945677"/>
                  </a:lnTo>
                  <a:lnTo>
                    <a:pt x="2507087" y="950438"/>
                  </a:lnTo>
                  <a:lnTo>
                    <a:pt x="2504310" y="955001"/>
                  </a:lnTo>
                  <a:lnTo>
                    <a:pt x="2501334" y="959761"/>
                  </a:lnTo>
                  <a:lnTo>
                    <a:pt x="2498358" y="964125"/>
                  </a:lnTo>
                  <a:lnTo>
                    <a:pt x="2494985" y="968688"/>
                  </a:lnTo>
                  <a:lnTo>
                    <a:pt x="2491811" y="972854"/>
                  </a:lnTo>
                  <a:lnTo>
                    <a:pt x="2488240" y="977019"/>
                  </a:lnTo>
                  <a:lnTo>
                    <a:pt x="2484470" y="981185"/>
                  </a:lnTo>
                  <a:lnTo>
                    <a:pt x="2480701" y="984954"/>
                  </a:lnTo>
                  <a:lnTo>
                    <a:pt x="2476931" y="988723"/>
                  </a:lnTo>
                  <a:lnTo>
                    <a:pt x="2472765" y="992492"/>
                  </a:lnTo>
                  <a:lnTo>
                    <a:pt x="2468797" y="996062"/>
                  </a:lnTo>
                  <a:lnTo>
                    <a:pt x="2464631" y="999435"/>
                  </a:lnTo>
                  <a:lnTo>
                    <a:pt x="2460068" y="1002807"/>
                  </a:lnTo>
                  <a:lnTo>
                    <a:pt x="2455703" y="1005782"/>
                  </a:lnTo>
                  <a:lnTo>
                    <a:pt x="2450942" y="1008758"/>
                  </a:lnTo>
                  <a:lnTo>
                    <a:pt x="2446379" y="1011535"/>
                  </a:lnTo>
                  <a:lnTo>
                    <a:pt x="2441419" y="1014312"/>
                  </a:lnTo>
                  <a:lnTo>
                    <a:pt x="2288259" y="1014312"/>
                  </a:lnTo>
                  <a:lnTo>
                    <a:pt x="1844020" y="1014312"/>
                  </a:lnTo>
                  <a:lnTo>
                    <a:pt x="1843709" y="1018810"/>
                  </a:lnTo>
                  <a:lnTo>
                    <a:pt x="1843313" y="1024563"/>
                  </a:lnTo>
                  <a:lnTo>
                    <a:pt x="1842519" y="1030316"/>
                  </a:lnTo>
                  <a:lnTo>
                    <a:pt x="1841725" y="1035672"/>
                  </a:lnTo>
                  <a:lnTo>
                    <a:pt x="1840535" y="1041424"/>
                  </a:lnTo>
                  <a:lnTo>
                    <a:pt x="1839345" y="1046780"/>
                  </a:lnTo>
                  <a:lnTo>
                    <a:pt x="1837956" y="1052334"/>
                  </a:lnTo>
                  <a:lnTo>
                    <a:pt x="1836369" y="1057492"/>
                  </a:lnTo>
                  <a:lnTo>
                    <a:pt x="1834385" y="1062848"/>
                  </a:lnTo>
                  <a:lnTo>
                    <a:pt x="1832401" y="1068005"/>
                  </a:lnTo>
                  <a:lnTo>
                    <a:pt x="1830417" y="1073163"/>
                  </a:lnTo>
                  <a:lnTo>
                    <a:pt x="1828036" y="1078122"/>
                  </a:lnTo>
                  <a:lnTo>
                    <a:pt x="1825655" y="1083081"/>
                  </a:lnTo>
                  <a:lnTo>
                    <a:pt x="1822878" y="1087842"/>
                  </a:lnTo>
                  <a:lnTo>
                    <a:pt x="1820100" y="1092405"/>
                  </a:lnTo>
                  <a:lnTo>
                    <a:pt x="1817125" y="1097165"/>
                  </a:lnTo>
                  <a:lnTo>
                    <a:pt x="1814149" y="1101529"/>
                  </a:lnTo>
                  <a:lnTo>
                    <a:pt x="1810776" y="1106092"/>
                  </a:lnTo>
                  <a:lnTo>
                    <a:pt x="1807602" y="1110258"/>
                  </a:lnTo>
                  <a:lnTo>
                    <a:pt x="1804031" y="1114423"/>
                  </a:lnTo>
                  <a:lnTo>
                    <a:pt x="1800261" y="1118589"/>
                  </a:lnTo>
                  <a:lnTo>
                    <a:pt x="1796492" y="1122358"/>
                  </a:lnTo>
                  <a:lnTo>
                    <a:pt x="1792722" y="1126127"/>
                  </a:lnTo>
                  <a:lnTo>
                    <a:pt x="1788556" y="1129896"/>
                  </a:lnTo>
                  <a:lnTo>
                    <a:pt x="1788237" y="1130183"/>
                  </a:lnTo>
                  <a:lnTo>
                    <a:pt x="1799262" y="1130141"/>
                  </a:lnTo>
                  <a:lnTo>
                    <a:pt x="1818099" y="1131512"/>
                  </a:lnTo>
                  <a:lnTo>
                    <a:pt x="1836460" y="1132991"/>
                  </a:lnTo>
                  <a:lnTo>
                    <a:pt x="1854545" y="1135468"/>
                  </a:lnTo>
                  <a:lnTo>
                    <a:pt x="1873307" y="1138729"/>
                  </a:lnTo>
                  <a:lnTo>
                    <a:pt x="1891317" y="1143096"/>
                  </a:lnTo>
                  <a:lnTo>
                    <a:pt x="1908474" y="1148123"/>
                  </a:lnTo>
                  <a:lnTo>
                    <a:pt x="1926208" y="1153488"/>
                  </a:lnTo>
                  <a:lnTo>
                    <a:pt x="1942714" y="1160067"/>
                  </a:lnTo>
                  <a:lnTo>
                    <a:pt x="1959320" y="1167091"/>
                  </a:lnTo>
                  <a:lnTo>
                    <a:pt x="1975550" y="1174668"/>
                  </a:lnTo>
                  <a:lnTo>
                    <a:pt x="1991605" y="1183689"/>
                  </a:lnTo>
                  <a:lnTo>
                    <a:pt x="2006606" y="1192479"/>
                  </a:lnTo>
                  <a:lnTo>
                    <a:pt x="2021432" y="1202713"/>
                  </a:lnTo>
                  <a:lnTo>
                    <a:pt x="2035782" y="1213055"/>
                  </a:lnTo>
                  <a:lnTo>
                    <a:pt x="2049856" y="1224396"/>
                  </a:lnTo>
                  <a:lnTo>
                    <a:pt x="2062876" y="1235505"/>
                  </a:lnTo>
                  <a:lnTo>
                    <a:pt x="2075245" y="1248166"/>
                  </a:lnTo>
                  <a:lnTo>
                    <a:pt x="2087714" y="1261273"/>
                  </a:lnTo>
                  <a:lnTo>
                    <a:pt x="2098754" y="1274702"/>
                  </a:lnTo>
                  <a:lnTo>
                    <a:pt x="2109417" y="1288684"/>
                  </a:lnTo>
                  <a:lnTo>
                    <a:pt x="2119228" y="1303326"/>
                  </a:lnTo>
                  <a:lnTo>
                    <a:pt x="2129139" y="1318414"/>
                  </a:lnTo>
                  <a:lnTo>
                    <a:pt x="2137722" y="1334269"/>
                  </a:lnTo>
                  <a:lnTo>
                    <a:pt x="2145250" y="1349894"/>
                  </a:lnTo>
                  <a:lnTo>
                    <a:pt x="2152604" y="1366963"/>
                  </a:lnTo>
                  <a:lnTo>
                    <a:pt x="2158427" y="1383909"/>
                  </a:lnTo>
                  <a:lnTo>
                    <a:pt x="2163875" y="1401408"/>
                  </a:lnTo>
                  <a:lnTo>
                    <a:pt x="2168369" y="1419121"/>
                  </a:lnTo>
                  <a:lnTo>
                    <a:pt x="2171382" y="1432487"/>
                  </a:lnTo>
                  <a:lnTo>
                    <a:pt x="2173342" y="1445622"/>
                  </a:lnTo>
                  <a:lnTo>
                    <a:pt x="2175302" y="1458757"/>
                  </a:lnTo>
                  <a:lnTo>
                    <a:pt x="2176309" y="1472107"/>
                  </a:lnTo>
                  <a:lnTo>
                    <a:pt x="2177115" y="1484566"/>
                  </a:lnTo>
                  <a:lnTo>
                    <a:pt x="2177168" y="1498131"/>
                  </a:lnTo>
                  <a:lnTo>
                    <a:pt x="2177021" y="1510805"/>
                  </a:lnTo>
                  <a:lnTo>
                    <a:pt x="2176498" y="1524032"/>
                  </a:lnTo>
                  <a:lnTo>
                    <a:pt x="2175297" y="1536475"/>
                  </a:lnTo>
                  <a:lnTo>
                    <a:pt x="2173244" y="1549578"/>
                  </a:lnTo>
                  <a:lnTo>
                    <a:pt x="2171090" y="1562236"/>
                  </a:lnTo>
                  <a:lnTo>
                    <a:pt x="2168936" y="1574894"/>
                  </a:lnTo>
                  <a:lnTo>
                    <a:pt x="2165729" y="1587322"/>
                  </a:lnTo>
                  <a:lnTo>
                    <a:pt x="2162522" y="1599749"/>
                  </a:lnTo>
                  <a:lnTo>
                    <a:pt x="2158261" y="1611945"/>
                  </a:lnTo>
                  <a:lnTo>
                    <a:pt x="2153900" y="1623697"/>
                  </a:lnTo>
                  <a:lnTo>
                    <a:pt x="2149163" y="1636001"/>
                  </a:lnTo>
                  <a:lnTo>
                    <a:pt x="2144224" y="1647414"/>
                  </a:lnTo>
                  <a:lnTo>
                    <a:pt x="2138434" y="1659487"/>
                  </a:lnTo>
                  <a:lnTo>
                    <a:pt x="2132919" y="1670562"/>
                  </a:lnTo>
                  <a:lnTo>
                    <a:pt x="2126450" y="1681852"/>
                  </a:lnTo>
                  <a:lnTo>
                    <a:pt x="2119506" y="1693250"/>
                  </a:lnTo>
                  <a:lnTo>
                    <a:pt x="2112360" y="1703756"/>
                  </a:lnTo>
                  <a:lnTo>
                    <a:pt x="2105214" y="1714262"/>
                  </a:lnTo>
                  <a:lnTo>
                    <a:pt x="2097116" y="1724983"/>
                  </a:lnTo>
                  <a:lnTo>
                    <a:pt x="2089393" y="1735151"/>
                  </a:lnTo>
                  <a:lnTo>
                    <a:pt x="2081094" y="1744981"/>
                  </a:lnTo>
                  <a:lnTo>
                    <a:pt x="2071841" y="1755026"/>
                  </a:lnTo>
                  <a:lnTo>
                    <a:pt x="2062864" y="1764072"/>
                  </a:lnTo>
                  <a:lnTo>
                    <a:pt x="2052934" y="1773334"/>
                  </a:lnTo>
                  <a:lnTo>
                    <a:pt x="2043380" y="1782042"/>
                  </a:lnTo>
                  <a:lnTo>
                    <a:pt x="2032873" y="1790965"/>
                  </a:lnTo>
                  <a:lnTo>
                    <a:pt x="1664993" y="1873905"/>
                  </a:lnTo>
                  <a:lnTo>
                    <a:pt x="478912" y="2141308"/>
                  </a:lnTo>
                  <a:lnTo>
                    <a:pt x="478435" y="2141416"/>
                  </a:lnTo>
                  <a:lnTo>
                    <a:pt x="336906" y="2173324"/>
                  </a:lnTo>
                  <a:lnTo>
                    <a:pt x="321807" y="2172983"/>
                  </a:lnTo>
                  <a:lnTo>
                    <a:pt x="307660" y="2172426"/>
                  </a:lnTo>
                  <a:lnTo>
                    <a:pt x="293413" y="2171425"/>
                  </a:lnTo>
                  <a:lnTo>
                    <a:pt x="279442" y="2169425"/>
                  </a:lnTo>
                  <a:lnTo>
                    <a:pt x="264995" y="2167532"/>
                  </a:lnTo>
                  <a:lnTo>
                    <a:pt x="251299" y="2164534"/>
                  </a:lnTo>
                  <a:lnTo>
                    <a:pt x="237503" y="2161089"/>
                  </a:lnTo>
                  <a:lnTo>
                    <a:pt x="224083" y="2157092"/>
                  </a:lnTo>
                  <a:lnTo>
                    <a:pt x="211140" y="2152988"/>
                  </a:lnTo>
                  <a:lnTo>
                    <a:pt x="197895" y="2147547"/>
                  </a:lnTo>
                  <a:lnTo>
                    <a:pt x="185227" y="2142444"/>
                  </a:lnTo>
                  <a:lnTo>
                    <a:pt x="172835" y="2136343"/>
                  </a:lnTo>
                  <a:lnTo>
                    <a:pt x="160819" y="2129688"/>
                  </a:lnTo>
                  <a:lnTo>
                    <a:pt x="149280" y="2122927"/>
                  </a:lnTo>
                  <a:lnTo>
                    <a:pt x="137163" y="2115826"/>
                  </a:lnTo>
                  <a:lnTo>
                    <a:pt x="126276" y="2107513"/>
                  </a:lnTo>
                  <a:lnTo>
                    <a:pt x="115488" y="2099646"/>
                  </a:lnTo>
                  <a:lnTo>
                    <a:pt x="105077" y="2091225"/>
                  </a:lnTo>
                  <a:lnTo>
                    <a:pt x="94942" y="2081806"/>
                  </a:lnTo>
                  <a:lnTo>
                    <a:pt x="85283" y="2072279"/>
                  </a:lnTo>
                  <a:lnTo>
                    <a:pt x="76000" y="2062199"/>
                  </a:lnTo>
                  <a:lnTo>
                    <a:pt x="67193" y="2052012"/>
                  </a:lnTo>
                  <a:lnTo>
                    <a:pt x="58763" y="2041272"/>
                  </a:lnTo>
                  <a:lnTo>
                    <a:pt x="51286" y="2030317"/>
                  </a:lnTo>
                  <a:lnTo>
                    <a:pt x="44084" y="2018364"/>
                  </a:lnTo>
                  <a:lnTo>
                    <a:pt x="36983" y="2006856"/>
                  </a:lnTo>
                  <a:lnTo>
                    <a:pt x="30258" y="1994796"/>
                  </a:lnTo>
                  <a:lnTo>
                    <a:pt x="24962" y="1982413"/>
                  </a:lnTo>
                  <a:lnTo>
                    <a:pt x="19466" y="1969138"/>
                  </a:lnTo>
                  <a:lnTo>
                    <a:pt x="15023" y="1956095"/>
                  </a:lnTo>
                  <a:lnTo>
                    <a:pt x="10956" y="1942499"/>
                  </a:lnTo>
                  <a:lnTo>
                    <a:pt x="7466" y="1929240"/>
                  </a:lnTo>
                  <a:lnTo>
                    <a:pt x="4427" y="1913539"/>
                  </a:lnTo>
                  <a:lnTo>
                    <a:pt x="2441" y="1898069"/>
                  </a:lnTo>
                  <a:lnTo>
                    <a:pt x="932" y="1882492"/>
                  </a:lnTo>
                  <a:lnTo>
                    <a:pt x="0" y="1867252"/>
                  </a:lnTo>
                  <a:lnTo>
                    <a:pt x="21" y="1851798"/>
                  </a:lnTo>
                  <a:lnTo>
                    <a:pt x="1472" y="1836021"/>
                  </a:lnTo>
                  <a:lnTo>
                    <a:pt x="3124" y="1821136"/>
                  </a:lnTo>
                  <a:lnTo>
                    <a:pt x="5728" y="1806035"/>
                  </a:lnTo>
                  <a:lnTo>
                    <a:pt x="8910" y="1791273"/>
                  </a:lnTo>
                  <a:lnTo>
                    <a:pt x="13145" y="1776741"/>
                  </a:lnTo>
                  <a:lnTo>
                    <a:pt x="17480" y="1762655"/>
                  </a:lnTo>
                  <a:lnTo>
                    <a:pt x="22668" y="1747908"/>
                  </a:lnTo>
                  <a:lnTo>
                    <a:pt x="28634" y="1734391"/>
                  </a:lnTo>
                  <a:lnTo>
                    <a:pt x="35553" y="1720658"/>
                  </a:lnTo>
                  <a:lnTo>
                    <a:pt x="43049" y="1707264"/>
                  </a:lnTo>
                  <a:lnTo>
                    <a:pt x="51223" y="1694653"/>
                  </a:lnTo>
                  <a:lnTo>
                    <a:pt x="59772" y="1681490"/>
                  </a:lnTo>
                  <a:lnTo>
                    <a:pt x="68623" y="1669663"/>
                  </a:lnTo>
                  <a:lnTo>
                    <a:pt x="78803" y="1657068"/>
                  </a:lnTo>
                  <a:lnTo>
                    <a:pt x="88808" y="1645917"/>
                  </a:lnTo>
                  <a:lnTo>
                    <a:pt x="99866" y="1634997"/>
                  </a:lnTo>
                  <a:lnTo>
                    <a:pt x="111501" y="1624415"/>
                  </a:lnTo>
                  <a:lnTo>
                    <a:pt x="123714" y="1614171"/>
                  </a:lnTo>
                  <a:lnTo>
                    <a:pt x="135550" y="1604480"/>
                  </a:lnTo>
                  <a:lnTo>
                    <a:pt x="149117" y="1595803"/>
                  </a:lnTo>
                  <a:lnTo>
                    <a:pt x="162207" y="1587234"/>
                  </a:lnTo>
                  <a:lnTo>
                    <a:pt x="176352" y="1578895"/>
                  </a:lnTo>
                  <a:lnTo>
                    <a:pt x="190696" y="1571447"/>
                  </a:lnTo>
                  <a:lnTo>
                    <a:pt x="205719" y="1564783"/>
                  </a:lnTo>
                  <a:lnTo>
                    <a:pt x="220842" y="1558565"/>
                  </a:lnTo>
                  <a:lnTo>
                    <a:pt x="236642" y="1553130"/>
                  </a:lnTo>
                  <a:lnTo>
                    <a:pt x="252643" y="1548586"/>
                  </a:lnTo>
                  <a:lnTo>
                    <a:pt x="246320" y="1538308"/>
                  </a:lnTo>
                  <a:lnTo>
                    <a:pt x="240197" y="1528920"/>
                  </a:lnTo>
                  <a:lnTo>
                    <a:pt x="234927" y="1518872"/>
                  </a:lnTo>
                  <a:lnTo>
                    <a:pt x="229933" y="1507826"/>
                  </a:lnTo>
                  <a:lnTo>
                    <a:pt x="225516" y="1497117"/>
                  </a:lnTo>
                  <a:lnTo>
                    <a:pt x="221475" y="1485856"/>
                  </a:lnTo>
                  <a:lnTo>
                    <a:pt x="217910" y="1474487"/>
                  </a:lnTo>
                  <a:lnTo>
                    <a:pt x="214722" y="1462565"/>
                  </a:lnTo>
                  <a:lnTo>
                    <a:pt x="212386" y="1449983"/>
                  </a:lnTo>
                  <a:lnTo>
                    <a:pt x="210325" y="1436402"/>
                  </a:lnTo>
                  <a:lnTo>
                    <a:pt x="209419" y="1423498"/>
                  </a:lnTo>
                  <a:lnTo>
                    <a:pt x="208989" y="1410486"/>
                  </a:lnTo>
                  <a:lnTo>
                    <a:pt x="209136" y="1397812"/>
                  </a:lnTo>
                  <a:lnTo>
                    <a:pt x="210237" y="1384924"/>
                  </a:lnTo>
                  <a:lnTo>
                    <a:pt x="211813" y="1371927"/>
                  </a:lnTo>
                  <a:lnTo>
                    <a:pt x="214068" y="1359715"/>
                  </a:lnTo>
                  <a:lnTo>
                    <a:pt x="216698" y="1346950"/>
                  </a:lnTo>
                  <a:lnTo>
                    <a:pt x="220482" y="1334860"/>
                  </a:lnTo>
                  <a:lnTo>
                    <a:pt x="224743" y="1322664"/>
                  </a:lnTo>
                  <a:lnTo>
                    <a:pt x="229581" y="1310805"/>
                  </a:lnTo>
                  <a:lnTo>
                    <a:pt x="234519" y="1299392"/>
                  </a:lnTo>
                  <a:lnTo>
                    <a:pt x="240410" y="1287764"/>
                  </a:lnTo>
                  <a:lnTo>
                    <a:pt x="246979" y="1276920"/>
                  </a:lnTo>
                  <a:lnTo>
                    <a:pt x="254124" y="1266413"/>
                  </a:lnTo>
                  <a:lnTo>
                    <a:pt x="261169" y="1255462"/>
                  </a:lnTo>
                  <a:lnTo>
                    <a:pt x="269469" y="1245632"/>
                  </a:lnTo>
                  <a:lnTo>
                    <a:pt x="278245" y="1235694"/>
                  </a:lnTo>
                  <a:lnTo>
                    <a:pt x="287021" y="1225757"/>
                  </a:lnTo>
                  <a:lnTo>
                    <a:pt x="296575" y="1217049"/>
                  </a:lnTo>
                  <a:lnTo>
                    <a:pt x="306129" y="1208340"/>
                  </a:lnTo>
                  <a:lnTo>
                    <a:pt x="316837" y="1200308"/>
                  </a:lnTo>
                  <a:lnTo>
                    <a:pt x="327545" y="1192276"/>
                  </a:lnTo>
                  <a:lnTo>
                    <a:pt x="339407" y="1184920"/>
                  </a:lnTo>
                  <a:lnTo>
                    <a:pt x="350416" y="1178224"/>
                  </a:lnTo>
                  <a:lnTo>
                    <a:pt x="363056" y="1172097"/>
                  </a:lnTo>
                  <a:lnTo>
                    <a:pt x="375219" y="1166078"/>
                  </a:lnTo>
                  <a:lnTo>
                    <a:pt x="388160" y="1161288"/>
                  </a:lnTo>
                  <a:lnTo>
                    <a:pt x="401101" y="1156497"/>
                  </a:lnTo>
                  <a:lnTo>
                    <a:pt x="415196" y="1152383"/>
                  </a:lnTo>
                  <a:lnTo>
                    <a:pt x="428438" y="1148930"/>
                  </a:lnTo>
                  <a:lnTo>
                    <a:pt x="444264" y="1145830"/>
                  </a:lnTo>
                  <a:lnTo>
                    <a:pt x="459814" y="1143729"/>
                  </a:lnTo>
                  <a:lnTo>
                    <a:pt x="473289" y="1142303"/>
                  </a:lnTo>
                  <a:lnTo>
                    <a:pt x="471155" y="1138035"/>
                  </a:lnTo>
                  <a:lnTo>
                    <a:pt x="468775" y="1132679"/>
                  </a:lnTo>
                  <a:lnTo>
                    <a:pt x="466791" y="1127323"/>
                  </a:lnTo>
                  <a:lnTo>
                    <a:pt x="465005" y="1121570"/>
                  </a:lnTo>
                  <a:lnTo>
                    <a:pt x="463219" y="1116016"/>
                  </a:lnTo>
                  <a:lnTo>
                    <a:pt x="461632" y="1110263"/>
                  </a:lnTo>
                  <a:lnTo>
                    <a:pt x="460640" y="1104511"/>
                  </a:lnTo>
                  <a:lnTo>
                    <a:pt x="459648" y="1098361"/>
                  </a:lnTo>
                  <a:lnTo>
                    <a:pt x="459053" y="1092410"/>
                  </a:lnTo>
                  <a:lnTo>
                    <a:pt x="458656" y="1086261"/>
                  </a:lnTo>
                  <a:lnTo>
                    <a:pt x="458458" y="1080310"/>
                  </a:lnTo>
                  <a:lnTo>
                    <a:pt x="458656" y="1073367"/>
                  </a:lnTo>
                  <a:lnTo>
                    <a:pt x="459252" y="1066623"/>
                  </a:lnTo>
                  <a:lnTo>
                    <a:pt x="460045" y="1059878"/>
                  </a:lnTo>
                  <a:lnTo>
                    <a:pt x="461037" y="1053332"/>
                  </a:lnTo>
                  <a:lnTo>
                    <a:pt x="462426" y="1046786"/>
                  </a:lnTo>
                  <a:lnTo>
                    <a:pt x="464410" y="1040240"/>
                  </a:lnTo>
                  <a:lnTo>
                    <a:pt x="466394" y="1034090"/>
                  </a:lnTo>
                  <a:lnTo>
                    <a:pt x="468775" y="1027941"/>
                  </a:lnTo>
                  <a:lnTo>
                    <a:pt x="471354" y="1021990"/>
                  </a:lnTo>
                  <a:lnTo>
                    <a:pt x="474330" y="1016237"/>
                  </a:lnTo>
                  <a:lnTo>
                    <a:pt x="477305" y="1010683"/>
                  </a:lnTo>
                  <a:lnTo>
                    <a:pt x="480678" y="1004930"/>
                  </a:lnTo>
                  <a:lnTo>
                    <a:pt x="484249" y="999773"/>
                  </a:lnTo>
                  <a:lnTo>
                    <a:pt x="488217" y="994615"/>
                  </a:lnTo>
                  <a:lnTo>
                    <a:pt x="492383" y="989656"/>
                  </a:lnTo>
                  <a:lnTo>
                    <a:pt x="496748" y="985094"/>
                  </a:lnTo>
                  <a:lnTo>
                    <a:pt x="501311" y="980333"/>
                  </a:lnTo>
                  <a:lnTo>
                    <a:pt x="505874" y="976167"/>
                  </a:lnTo>
                  <a:lnTo>
                    <a:pt x="511032" y="971803"/>
                  </a:lnTo>
                  <a:lnTo>
                    <a:pt x="515992" y="968034"/>
                  </a:lnTo>
                  <a:lnTo>
                    <a:pt x="521349" y="964464"/>
                  </a:lnTo>
                  <a:lnTo>
                    <a:pt x="526904" y="961091"/>
                  </a:lnTo>
                  <a:lnTo>
                    <a:pt x="532657" y="957918"/>
                  </a:lnTo>
                  <a:lnTo>
                    <a:pt x="538212" y="954942"/>
                  </a:lnTo>
                  <a:lnTo>
                    <a:pt x="544363" y="952562"/>
                  </a:lnTo>
                  <a:lnTo>
                    <a:pt x="550314" y="950181"/>
                  </a:lnTo>
                  <a:lnTo>
                    <a:pt x="556663" y="947999"/>
                  </a:lnTo>
                  <a:lnTo>
                    <a:pt x="563012" y="946214"/>
                  </a:lnTo>
                  <a:lnTo>
                    <a:pt x="569559" y="944825"/>
                  </a:lnTo>
                  <a:lnTo>
                    <a:pt x="576106" y="943635"/>
                  </a:lnTo>
                  <a:lnTo>
                    <a:pt x="582851" y="942842"/>
                  </a:lnTo>
                  <a:lnTo>
                    <a:pt x="589596" y="942445"/>
                  </a:lnTo>
                  <a:lnTo>
                    <a:pt x="588009" y="937486"/>
                  </a:lnTo>
                  <a:lnTo>
                    <a:pt x="586422" y="932923"/>
                  </a:lnTo>
                  <a:lnTo>
                    <a:pt x="585232" y="928163"/>
                  </a:lnTo>
                  <a:lnTo>
                    <a:pt x="584240" y="923005"/>
                  </a:lnTo>
                  <a:lnTo>
                    <a:pt x="583446" y="918046"/>
                  </a:lnTo>
                  <a:lnTo>
                    <a:pt x="582851" y="912888"/>
                  </a:lnTo>
                  <a:lnTo>
                    <a:pt x="582454" y="907731"/>
                  </a:lnTo>
                  <a:lnTo>
                    <a:pt x="582256" y="902375"/>
                  </a:lnTo>
                  <a:lnTo>
                    <a:pt x="582454" y="896821"/>
                  </a:lnTo>
                  <a:lnTo>
                    <a:pt x="582851" y="890870"/>
                  </a:lnTo>
                  <a:lnTo>
                    <a:pt x="583645" y="885315"/>
                  </a:lnTo>
                  <a:lnTo>
                    <a:pt x="584637" y="879761"/>
                  </a:lnTo>
                  <a:lnTo>
                    <a:pt x="585827" y="874405"/>
                  </a:lnTo>
                  <a:lnTo>
                    <a:pt x="587414" y="869049"/>
                  </a:lnTo>
                  <a:lnTo>
                    <a:pt x="589200" y="863693"/>
                  </a:lnTo>
                  <a:lnTo>
                    <a:pt x="591184" y="858734"/>
                  </a:lnTo>
                  <a:lnTo>
                    <a:pt x="593366" y="853577"/>
                  </a:lnTo>
                  <a:lnTo>
                    <a:pt x="595945" y="848816"/>
                  </a:lnTo>
                  <a:lnTo>
                    <a:pt x="598723" y="844055"/>
                  </a:lnTo>
                  <a:lnTo>
                    <a:pt x="601698" y="839493"/>
                  </a:lnTo>
                  <a:lnTo>
                    <a:pt x="604674" y="835129"/>
                  </a:lnTo>
                  <a:lnTo>
                    <a:pt x="608047" y="830765"/>
                  </a:lnTo>
                  <a:lnTo>
                    <a:pt x="611618" y="826797"/>
                  </a:lnTo>
                  <a:lnTo>
                    <a:pt x="615388" y="823028"/>
                  </a:lnTo>
                  <a:lnTo>
                    <a:pt x="619157" y="819061"/>
                  </a:lnTo>
                  <a:lnTo>
                    <a:pt x="623323" y="815689"/>
                  </a:lnTo>
                  <a:lnTo>
                    <a:pt x="627688" y="812316"/>
                  </a:lnTo>
                  <a:lnTo>
                    <a:pt x="632053" y="808944"/>
                  </a:lnTo>
                  <a:lnTo>
                    <a:pt x="636616" y="806167"/>
                  </a:lnTo>
                  <a:lnTo>
                    <a:pt x="641179" y="803390"/>
                  </a:lnTo>
                  <a:lnTo>
                    <a:pt x="646139" y="801010"/>
                  </a:lnTo>
                  <a:lnTo>
                    <a:pt x="651099" y="798629"/>
                  </a:lnTo>
                  <a:lnTo>
                    <a:pt x="656455" y="796645"/>
                  </a:lnTo>
                  <a:lnTo>
                    <a:pt x="661415" y="794860"/>
                  </a:lnTo>
                  <a:lnTo>
                    <a:pt x="666970" y="793472"/>
                  </a:lnTo>
                  <a:lnTo>
                    <a:pt x="672327" y="792083"/>
                  </a:lnTo>
                  <a:lnTo>
                    <a:pt x="677882" y="791290"/>
                  </a:lnTo>
                  <a:lnTo>
                    <a:pt x="683437" y="790496"/>
                  </a:lnTo>
                  <a:lnTo>
                    <a:pt x="689388" y="790099"/>
                  </a:lnTo>
                  <a:lnTo>
                    <a:pt x="694943" y="789901"/>
                  </a:lnTo>
                  <a:lnTo>
                    <a:pt x="701490" y="790099"/>
                  </a:lnTo>
                  <a:lnTo>
                    <a:pt x="707839" y="790694"/>
                  </a:lnTo>
                  <a:lnTo>
                    <a:pt x="714188" y="791488"/>
                  </a:lnTo>
                  <a:lnTo>
                    <a:pt x="720140" y="792678"/>
                  </a:lnTo>
                  <a:lnTo>
                    <a:pt x="726290" y="794265"/>
                  </a:lnTo>
                  <a:lnTo>
                    <a:pt x="732043" y="796050"/>
                  </a:lnTo>
                  <a:lnTo>
                    <a:pt x="737797" y="798232"/>
                  </a:lnTo>
                  <a:lnTo>
                    <a:pt x="743153" y="800811"/>
                  </a:lnTo>
                  <a:lnTo>
                    <a:pt x="748708" y="803390"/>
                  </a:lnTo>
                  <a:lnTo>
                    <a:pt x="753867" y="806365"/>
                  </a:lnTo>
                  <a:lnTo>
                    <a:pt x="759025" y="809738"/>
                  </a:lnTo>
                  <a:lnTo>
                    <a:pt x="763786" y="813308"/>
                  </a:lnTo>
                  <a:lnTo>
                    <a:pt x="768548" y="817077"/>
                  </a:lnTo>
                  <a:lnTo>
                    <a:pt x="772912" y="821045"/>
                  </a:lnTo>
                  <a:lnTo>
                    <a:pt x="777079" y="825409"/>
                  </a:lnTo>
                  <a:lnTo>
                    <a:pt x="781245" y="829773"/>
                  </a:lnTo>
                  <a:lnTo>
                    <a:pt x="783427" y="820648"/>
                  </a:lnTo>
                  <a:lnTo>
                    <a:pt x="786006" y="811920"/>
                  </a:lnTo>
                  <a:lnTo>
                    <a:pt x="788784" y="803192"/>
                  </a:lnTo>
                  <a:lnTo>
                    <a:pt x="792355" y="794662"/>
                  </a:lnTo>
                  <a:lnTo>
                    <a:pt x="795926" y="786132"/>
                  </a:lnTo>
                  <a:lnTo>
                    <a:pt x="799894" y="777999"/>
                  </a:lnTo>
                  <a:lnTo>
                    <a:pt x="804259" y="770064"/>
                  </a:lnTo>
                  <a:lnTo>
                    <a:pt x="808822" y="762130"/>
                  </a:lnTo>
                  <a:lnTo>
                    <a:pt x="813980" y="754790"/>
                  </a:lnTo>
                  <a:lnTo>
                    <a:pt x="819138" y="747252"/>
                  </a:lnTo>
                  <a:lnTo>
                    <a:pt x="824693" y="740111"/>
                  </a:lnTo>
                  <a:lnTo>
                    <a:pt x="830447" y="733367"/>
                  </a:lnTo>
                  <a:lnTo>
                    <a:pt x="836597" y="726622"/>
                  </a:lnTo>
                  <a:lnTo>
                    <a:pt x="842945" y="720274"/>
                  </a:lnTo>
                  <a:lnTo>
                    <a:pt x="849691" y="714125"/>
                  </a:lnTo>
                  <a:lnTo>
                    <a:pt x="856436" y="708372"/>
                  </a:lnTo>
                  <a:lnTo>
                    <a:pt x="863578" y="702818"/>
                  </a:lnTo>
                  <a:lnTo>
                    <a:pt x="871117" y="697661"/>
                  </a:lnTo>
                  <a:lnTo>
                    <a:pt x="878458" y="692503"/>
                  </a:lnTo>
                  <a:lnTo>
                    <a:pt x="886394" y="687941"/>
                  </a:lnTo>
                  <a:lnTo>
                    <a:pt x="892151" y="684774"/>
                  </a:lnTo>
                  <a:lnTo>
                    <a:pt x="894026" y="679692"/>
                  </a:lnTo>
                  <a:lnTo>
                    <a:pt x="897050" y="671521"/>
                  </a:lnTo>
                  <a:lnTo>
                    <a:pt x="900387" y="664070"/>
                  </a:lnTo>
                  <a:lnTo>
                    <a:pt x="904341" y="656066"/>
                  </a:lnTo>
                  <a:lnTo>
                    <a:pt x="908368" y="648887"/>
                  </a:lnTo>
                  <a:lnTo>
                    <a:pt x="912981" y="641740"/>
                  </a:lnTo>
                  <a:lnTo>
                    <a:pt x="917938" y="634729"/>
                  </a:lnTo>
                  <a:lnTo>
                    <a:pt x="923240" y="627854"/>
                  </a:lnTo>
                  <a:lnTo>
                    <a:pt x="928406" y="621323"/>
                  </a:lnTo>
                  <a:lnTo>
                    <a:pt x="934607" y="615201"/>
                  </a:lnTo>
                  <a:lnTo>
                    <a:pt x="940567" y="609183"/>
                  </a:lnTo>
                  <a:lnTo>
                    <a:pt x="947113" y="603197"/>
                  </a:lnTo>
                  <a:lnTo>
                    <a:pt x="953867" y="597691"/>
                  </a:lnTo>
                  <a:lnTo>
                    <a:pt x="961070" y="592562"/>
                  </a:lnTo>
                  <a:lnTo>
                    <a:pt x="968379" y="587673"/>
                  </a:lnTo>
                  <a:lnTo>
                    <a:pt x="976136" y="583161"/>
                  </a:lnTo>
                  <a:lnTo>
                    <a:pt x="984102" y="579129"/>
                  </a:lnTo>
                  <a:lnTo>
                    <a:pt x="979568" y="573954"/>
                  </a:lnTo>
                  <a:lnTo>
                    <a:pt x="975243" y="569260"/>
                  </a:lnTo>
                  <a:lnTo>
                    <a:pt x="971294" y="564117"/>
                  </a:lnTo>
                  <a:lnTo>
                    <a:pt x="967377" y="558389"/>
                  </a:lnTo>
                  <a:lnTo>
                    <a:pt x="963805" y="552796"/>
                  </a:lnTo>
                  <a:lnTo>
                    <a:pt x="960368" y="546859"/>
                  </a:lnTo>
                  <a:lnTo>
                    <a:pt x="957173" y="540817"/>
                  </a:lnTo>
                  <a:lnTo>
                    <a:pt x="954113" y="534431"/>
                  </a:lnTo>
                  <a:lnTo>
                    <a:pt x="951430" y="527595"/>
                  </a:lnTo>
                  <a:lnTo>
                    <a:pt x="948778" y="520174"/>
                  </a:lnTo>
                  <a:lnTo>
                    <a:pt x="946816" y="513024"/>
                  </a:lnTo>
                  <a:lnTo>
                    <a:pt x="945094" y="505771"/>
                  </a:lnTo>
                  <a:lnTo>
                    <a:pt x="943718" y="498653"/>
                  </a:lnTo>
                  <a:lnTo>
                    <a:pt x="942822" y="491327"/>
                  </a:lnTo>
                  <a:lnTo>
                    <a:pt x="942166" y="483896"/>
                  </a:lnTo>
                  <a:lnTo>
                    <a:pt x="941960" y="476841"/>
                  </a:lnTo>
                  <a:lnTo>
                    <a:pt x="941890" y="469442"/>
                  </a:lnTo>
                  <a:lnTo>
                    <a:pt x="942510" y="462314"/>
                  </a:lnTo>
                  <a:lnTo>
                    <a:pt x="943370" y="455082"/>
                  </a:lnTo>
                  <a:lnTo>
                    <a:pt x="944575" y="447986"/>
                  </a:lnTo>
                  <a:lnTo>
                    <a:pt x="945884" y="441131"/>
                  </a:lnTo>
                  <a:lnTo>
                    <a:pt x="947675" y="434067"/>
                  </a:lnTo>
                  <a:lnTo>
                    <a:pt x="949914" y="427379"/>
                  </a:lnTo>
                  <a:lnTo>
                    <a:pt x="952499" y="420827"/>
                  </a:lnTo>
                  <a:lnTo>
                    <a:pt x="954979" y="414034"/>
                  </a:lnTo>
                  <a:lnTo>
                    <a:pt x="958253" y="407754"/>
                  </a:lnTo>
                  <a:lnTo>
                    <a:pt x="961767" y="401370"/>
                  </a:lnTo>
                  <a:lnTo>
                    <a:pt x="965282" y="394985"/>
                  </a:lnTo>
                  <a:lnTo>
                    <a:pt x="969350" y="389217"/>
                  </a:lnTo>
                  <a:lnTo>
                    <a:pt x="973418" y="383450"/>
                  </a:lnTo>
                  <a:lnTo>
                    <a:pt x="978176" y="377954"/>
                  </a:lnTo>
                  <a:lnTo>
                    <a:pt x="982934" y="372458"/>
                  </a:lnTo>
                  <a:lnTo>
                    <a:pt x="988382" y="367234"/>
                  </a:lnTo>
                  <a:lnTo>
                    <a:pt x="993453" y="362460"/>
                  </a:lnTo>
                  <a:lnTo>
                    <a:pt x="999455" y="357853"/>
                  </a:lnTo>
                  <a:lnTo>
                    <a:pt x="1005216" y="353350"/>
                  </a:lnTo>
                  <a:lnTo>
                    <a:pt x="1011530" y="349464"/>
                  </a:lnTo>
                  <a:lnTo>
                    <a:pt x="1017845" y="345579"/>
                  </a:lnTo>
                  <a:lnTo>
                    <a:pt x="1024850" y="341965"/>
                  </a:lnTo>
                  <a:lnTo>
                    <a:pt x="1031477" y="338800"/>
                  </a:lnTo>
                  <a:lnTo>
                    <a:pt x="1039516" y="335594"/>
                  </a:lnTo>
                  <a:lnTo>
                    <a:pt x="1047524" y="332973"/>
                  </a:lnTo>
                  <a:lnTo>
                    <a:pt x="1055636" y="330593"/>
                  </a:lnTo>
                  <a:lnTo>
                    <a:pt x="1063475" y="328903"/>
                  </a:lnTo>
                  <a:lnTo>
                    <a:pt x="1071765" y="327588"/>
                  </a:lnTo>
                  <a:lnTo>
                    <a:pt x="1079677" y="326724"/>
                  </a:lnTo>
                  <a:lnTo>
                    <a:pt x="1087799" y="326339"/>
                  </a:lnTo>
                  <a:lnTo>
                    <a:pt x="1095648" y="326645"/>
                  </a:lnTo>
                  <a:lnTo>
                    <a:pt x="1103738" y="326846"/>
                  </a:lnTo>
                  <a:lnTo>
                    <a:pt x="1111556" y="327737"/>
                  </a:lnTo>
                  <a:lnTo>
                    <a:pt x="1119582" y="329109"/>
                  </a:lnTo>
                  <a:lnTo>
                    <a:pt x="1127232" y="330930"/>
                  </a:lnTo>
                  <a:lnTo>
                    <a:pt x="1134987" y="332991"/>
                  </a:lnTo>
                  <a:lnTo>
                    <a:pt x="1142365" y="335502"/>
                  </a:lnTo>
                  <a:lnTo>
                    <a:pt x="1149712" y="338597"/>
                  </a:lnTo>
                  <a:lnTo>
                    <a:pt x="1157058" y="341693"/>
                  </a:lnTo>
                  <a:lnTo>
                    <a:pt x="1154900" y="329486"/>
                  </a:lnTo>
                  <a:lnTo>
                    <a:pt x="1153431" y="317550"/>
                  </a:lnTo>
                  <a:lnTo>
                    <a:pt x="1152203" y="305510"/>
                  </a:lnTo>
                  <a:lnTo>
                    <a:pt x="1152040" y="293293"/>
                  </a:lnTo>
                  <a:lnTo>
                    <a:pt x="1151878" y="281075"/>
                  </a:lnTo>
                  <a:lnTo>
                    <a:pt x="1152406" y="269130"/>
                  </a:lnTo>
                  <a:lnTo>
                    <a:pt x="1153519" y="257216"/>
                  </a:lnTo>
                  <a:lnTo>
                    <a:pt x="1154872" y="245198"/>
                  </a:lnTo>
                  <a:lnTo>
                    <a:pt x="1157260" y="233587"/>
                  </a:lnTo>
                  <a:lnTo>
                    <a:pt x="1159544" y="221736"/>
                  </a:lnTo>
                  <a:lnTo>
                    <a:pt x="1162517" y="210157"/>
                  </a:lnTo>
                  <a:lnTo>
                    <a:pt x="1165939" y="198955"/>
                  </a:lnTo>
                  <a:lnTo>
                    <a:pt x="1169843" y="187544"/>
                  </a:lnTo>
                  <a:lnTo>
                    <a:pt x="1174195" y="176509"/>
                  </a:lnTo>
                  <a:lnTo>
                    <a:pt x="1179133" y="165505"/>
                  </a:lnTo>
                  <a:lnTo>
                    <a:pt x="1184280" y="154982"/>
                  </a:lnTo>
                  <a:lnTo>
                    <a:pt x="1190012" y="144491"/>
                  </a:lnTo>
                  <a:lnTo>
                    <a:pt x="1196434" y="134272"/>
                  </a:lnTo>
                  <a:lnTo>
                    <a:pt x="1202616" y="124158"/>
                  </a:lnTo>
                  <a:lnTo>
                    <a:pt x="1209832" y="114451"/>
                  </a:lnTo>
                  <a:lnTo>
                    <a:pt x="1217152" y="104984"/>
                  </a:lnTo>
                  <a:lnTo>
                    <a:pt x="1225162" y="95790"/>
                  </a:lnTo>
                  <a:lnTo>
                    <a:pt x="1233381" y="87076"/>
                  </a:lnTo>
                  <a:lnTo>
                    <a:pt x="1241945" y="78498"/>
                  </a:lnTo>
                  <a:lnTo>
                    <a:pt x="1250958" y="70297"/>
                  </a:lnTo>
                  <a:lnTo>
                    <a:pt x="1260421" y="62472"/>
                  </a:lnTo>
                  <a:lnTo>
                    <a:pt x="1270092" y="55128"/>
                  </a:lnTo>
                  <a:lnTo>
                    <a:pt x="1280453" y="48056"/>
                  </a:lnTo>
                  <a:lnTo>
                    <a:pt x="1291023" y="41465"/>
                  </a:lnTo>
                  <a:lnTo>
                    <a:pt x="1301937" y="35010"/>
                  </a:lnTo>
                  <a:lnTo>
                    <a:pt x="1313165" y="29276"/>
                  </a:lnTo>
                  <a:lnTo>
                    <a:pt x="1324738" y="23678"/>
                  </a:lnTo>
                  <a:lnTo>
                    <a:pt x="1338652" y="18206"/>
                  </a:lnTo>
                  <a:lnTo>
                    <a:pt x="1352294" y="13423"/>
                  </a:lnTo>
                  <a:lnTo>
                    <a:pt x="1366354" y="9603"/>
                  </a:lnTo>
                  <a:close/>
                </a:path>
              </a:pathLst>
            </a:custGeom>
            <a:solidFill>
              <a:srgbClr val="55CBC5"/>
            </a:solidFill>
            <a:ln>
              <a:noFill/>
            </a:ln>
          </p:spPr>
          <p:txBody>
            <a:bodyPr/>
            <a:lstStyle/>
            <a:p>
              <a:pPr eaLnBrk="1" fontAlgn="auto" hangingPunct="1">
                <a:spcBef>
                  <a:spcPts val="0"/>
                </a:spcBef>
                <a:spcAft>
                  <a:spcPts val="0"/>
                </a:spcAft>
                <a:defRPr/>
              </a:pPr>
              <a:endParaRPr lang="en-US">
                <a:latin typeface="+mn-lt"/>
              </a:endParaRPr>
            </a:p>
          </p:txBody>
        </p:sp>
        <p:sp>
          <p:nvSpPr>
            <p:cNvPr id="21" name="Freeform 137"/>
            <p:cNvSpPr>
              <a:spLocks noEditPoints="1"/>
            </p:cNvSpPr>
            <p:nvPr/>
          </p:nvSpPr>
          <p:spPr bwMode="auto">
            <a:xfrm rot="3819580">
              <a:off x="1963026" y="2142819"/>
              <a:ext cx="2454178" cy="1554839"/>
            </a:xfrm>
            <a:custGeom>
              <a:avLst/>
              <a:gdLst>
                <a:gd name="T0" fmla="*/ 2651 w 2808"/>
                <a:gd name="T1" fmla="*/ 1437 h 1779"/>
                <a:gd name="T2" fmla="*/ 2608 w 2808"/>
                <a:gd name="T3" fmla="*/ 1457 h 1779"/>
                <a:gd name="T4" fmla="*/ 2583 w 2808"/>
                <a:gd name="T5" fmla="*/ 1371 h 1779"/>
                <a:gd name="T6" fmla="*/ 2522 w 2808"/>
                <a:gd name="T7" fmla="*/ 1309 h 1779"/>
                <a:gd name="T8" fmla="*/ 2439 w 2808"/>
                <a:gd name="T9" fmla="*/ 1279 h 1779"/>
                <a:gd name="T10" fmla="*/ 2353 w 2808"/>
                <a:gd name="T11" fmla="*/ 1292 h 1779"/>
                <a:gd name="T12" fmla="*/ 2351 w 2808"/>
                <a:gd name="T13" fmla="*/ 1227 h 1779"/>
                <a:gd name="T14" fmla="*/ 2339 w 2808"/>
                <a:gd name="T15" fmla="*/ 1119 h 1779"/>
                <a:gd name="T16" fmla="*/ 2271 w 2808"/>
                <a:gd name="T17" fmla="*/ 1007 h 1779"/>
                <a:gd name="T18" fmla="*/ 2159 w 2808"/>
                <a:gd name="T19" fmla="*/ 939 h 1779"/>
                <a:gd name="T20" fmla="*/ 2060 w 2808"/>
                <a:gd name="T21" fmla="*/ 928 h 1779"/>
                <a:gd name="T22" fmla="*/ 1980 w 2808"/>
                <a:gd name="T23" fmla="*/ 944 h 1779"/>
                <a:gd name="T24" fmla="*/ 1911 w 2808"/>
                <a:gd name="T25" fmla="*/ 982 h 1779"/>
                <a:gd name="T26" fmla="*/ 1856 w 2808"/>
                <a:gd name="T27" fmla="*/ 1039 h 1779"/>
                <a:gd name="T28" fmla="*/ 1770 w 2808"/>
                <a:gd name="T29" fmla="*/ 1063 h 1779"/>
                <a:gd name="T30" fmla="*/ 1663 w 2808"/>
                <a:gd name="T31" fmla="*/ 1031 h 1779"/>
                <a:gd name="T32" fmla="*/ 1615 w 2808"/>
                <a:gd name="T33" fmla="*/ 1037 h 1779"/>
                <a:gd name="T34" fmla="*/ 1569 w 2808"/>
                <a:gd name="T35" fmla="*/ 1056 h 1779"/>
                <a:gd name="T36" fmla="*/ 1519 w 2808"/>
                <a:gd name="T37" fmla="*/ 969 h 1779"/>
                <a:gd name="T38" fmla="*/ 1436 w 2808"/>
                <a:gd name="T39" fmla="*/ 929 h 1779"/>
                <a:gd name="T40" fmla="*/ 1393 w 2808"/>
                <a:gd name="T41" fmla="*/ 928 h 1779"/>
                <a:gd name="T42" fmla="*/ 1355 w 2808"/>
                <a:gd name="T43" fmla="*/ 936 h 1779"/>
                <a:gd name="T44" fmla="*/ 1294 w 2808"/>
                <a:gd name="T45" fmla="*/ 863 h 1779"/>
                <a:gd name="T46" fmla="*/ 1217 w 2808"/>
                <a:gd name="T47" fmla="*/ 807 h 1779"/>
                <a:gd name="T48" fmla="*/ 1127 w 2808"/>
                <a:gd name="T49" fmla="*/ 774 h 1779"/>
                <a:gd name="T50" fmla="*/ 1043 w 2808"/>
                <a:gd name="T51" fmla="*/ 764 h 1779"/>
                <a:gd name="T52" fmla="*/ 968 w 2808"/>
                <a:gd name="T53" fmla="*/ 772 h 1779"/>
                <a:gd name="T54" fmla="*/ 840 w 2808"/>
                <a:gd name="T55" fmla="*/ 826 h 1779"/>
                <a:gd name="T56" fmla="*/ 743 w 2808"/>
                <a:gd name="T57" fmla="*/ 921 h 1779"/>
                <a:gd name="T58" fmla="*/ 687 w 2808"/>
                <a:gd name="T59" fmla="*/ 1048 h 1779"/>
                <a:gd name="T60" fmla="*/ 641 w 2808"/>
                <a:gd name="T61" fmla="*/ 1077 h 1779"/>
                <a:gd name="T62" fmla="*/ 536 w 2808"/>
                <a:gd name="T63" fmla="*/ 1109 h 1779"/>
                <a:gd name="T64" fmla="*/ 458 w 2808"/>
                <a:gd name="T65" fmla="*/ 1181 h 1779"/>
                <a:gd name="T66" fmla="*/ 415 w 2808"/>
                <a:gd name="T67" fmla="*/ 1280 h 1779"/>
                <a:gd name="T68" fmla="*/ 364 w 2808"/>
                <a:gd name="T69" fmla="*/ 1302 h 1779"/>
                <a:gd name="T70" fmla="*/ 326 w 2808"/>
                <a:gd name="T71" fmla="*/ 1341 h 1779"/>
                <a:gd name="T72" fmla="*/ 252 w 2808"/>
                <a:gd name="T73" fmla="*/ 1309 h 1779"/>
                <a:gd name="T74" fmla="*/ 180 w 2808"/>
                <a:gd name="T75" fmla="*/ 1304 h 1779"/>
                <a:gd name="T76" fmla="*/ 88 w 2808"/>
                <a:gd name="T77" fmla="*/ 1333 h 1779"/>
                <a:gd name="T78" fmla="*/ 25 w 2808"/>
                <a:gd name="T79" fmla="*/ 1393 h 1779"/>
                <a:gd name="T80" fmla="*/ 0 w 2808"/>
                <a:gd name="T81" fmla="*/ 1475 h 1779"/>
                <a:gd name="T82" fmla="*/ 16 w 2808"/>
                <a:gd name="T83" fmla="*/ 1543 h 1779"/>
                <a:gd name="T84" fmla="*/ 73 w 2808"/>
                <a:gd name="T85" fmla="*/ 1608 h 1779"/>
                <a:gd name="T86" fmla="*/ 160 w 2808"/>
                <a:gd name="T87" fmla="*/ 1644 h 1779"/>
                <a:gd name="T88" fmla="*/ 246 w 2808"/>
                <a:gd name="T89" fmla="*/ 1643 h 1779"/>
                <a:gd name="T90" fmla="*/ 305 w 2808"/>
                <a:gd name="T91" fmla="*/ 1672 h 1779"/>
                <a:gd name="T92" fmla="*/ 591 w 2808"/>
                <a:gd name="T93" fmla="*/ 1730 h 1779"/>
                <a:gd name="T94" fmla="*/ 1027 w 2808"/>
                <a:gd name="T95" fmla="*/ 1767 h 1779"/>
                <a:gd name="T96" fmla="*/ 1452 w 2808"/>
                <a:gd name="T97" fmla="*/ 1779 h 1779"/>
                <a:gd name="T98" fmla="*/ 1926 w 2808"/>
                <a:gd name="T99" fmla="*/ 1765 h 1779"/>
                <a:gd name="T100" fmla="*/ 2314 w 2808"/>
                <a:gd name="T101" fmla="*/ 1730 h 1779"/>
                <a:gd name="T102" fmla="*/ 2579 w 2808"/>
                <a:gd name="T103" fmla="*/ 1678 h 1779"/>
                <a:gd name="T104" fmla="*/ 2664 w 2808"/>
                <a:gd name="T105" fmla="*/ 1684 h 1779"/>
                <a:gd name="T106" fmla="*/ 2720 w 2808"/>
                <a:gd name="T107" fmla="*/ 1680 h 1779"/>
                <a:gd name="T108" fmla="*/ 2772 w 2808"/>
                <a:gd name="T109" fmla="*/ 1649 h 1779"/>
                <a:gd name="T110" fmla="*/ 2803 w 2808"/>
                <a:gd name="T111" fmla="*/ 1597 h 1779"/>
                <a:gd name="T112" fmla="*/ 2808 w 2808"/>
                <a:gd name="T113" fmla="*/ 1546 h 1779"/>
                <a:gd name="T114" fmla="*/ 2787 w 2808"/>
                <a:gd name="T115" fmla="*/ 1489 h 1779"/>
                <a:gd name="T116" fmla="*/ 2742 w 2808"/>
                <a:gd name="T117" fmla="*/ 1448 h 1779"/>
                <a:gd name="T118" fmla="*/ 2682 w 2808"/>
                <a:gd name="T119" fmla="*/ 1433 h 1779"/>
                <a:gd name="T120" fmla="*/ 886 w 2808"/>
                <a:gd name="T121" fmla="*/ 1462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08" h="1779">
                  <a:moveTo>
                    <a:pt x="2682" y="1433"/>
                  </a:moveTo>
                  <a:lnTo>
                    <a:pt x="2682" y="1433"/>
                  </a:lnTo>
                  <a:lnTo>
                    <a:pt x="2671" y="1433"/>
                  </a:lnTo>
                  <a:lnTo>
                    <a:pt x="2661" y="1434"/>
                  </a:lnTo>
                  <a:lnTo>
                    <a:pt x="2651" y="1437"/>
                  </a:lnTo>
                  <a:lnTo>
                    <a:pt x="2643" y="1439"/>
                  </a:lnTo>
                  <a:lnTo>
                    <a:pt x="2633" y="1443"/>
                  </a:lnTo>
                  <a:lnTo>
                    <a:pt x="2624" y="1447"/>
                  </a:lnTo>
                  <a:lnTo>
                    <a:pt x="2608" y="1457"/>
                  </a:lnTo>
                  <a:lnTo>
                    <a:pt x="2608" y="1457"/>
                  </a:lnTo>
                  <a:lnTo>
                    <a:pt x="2605" y="1438"/>
                  </a:lnTo>
                  <a:lnTo>
                    <a:pt x="2603" y="1421"/>
                  </a:lnTo>
                  <a:lnTo>
                    <a:pt x="2597" y="1403"/>
                  </a:lnTo>
                  <a:lnTo>
                    <a:pt x="2590" y="1387"/>
                  </a:lnTo>
                  <a:lnTo>
                    <a:pt x="2583" y="1371"/>
                  </a:lnTo>
                  <a:lnTo>
                    <a:pt x="2573" y="1357"/>
                  </a:lnTo>
                  <a:lnTo>
                    <a:pt x="2562" y="1344"/>
                  </a:lnTo>
                  <a:lnTo>
                    <a:pt x="2549" y="1330"/>
                  </a:lnTo>
                  <a:lnTo>
                    <a:pt x="2537" y="1319"/>
                  </a:lnTo>
                  <a:lnTo>
                    <a:pt x="2522" y="1309"/>
                  </a:lnTo>
                  <a:lnTo>
                    <a:pt x="2507" y="1300"/>
                  </a:lnTo>
                  <a:lnTo>
                    <a:pt x="2491" y="1293"/>
                  </a:lnTo>
                  <a:lnTo>
                    <a:pt x="2475" y="1287"/>
                  </a:lnTo>
                  <a:lnTo>
                    <a:pt x="2457" y="1283"/>
                  </a:lnTo>
                  <a:lnTo>
                    <a:pt x="2439" y="1279"/>
                  </a:lnTo>
                  <a:lnTo>
                    <a:pt x="2420" y="1279"/>
                  </a:lnTo>
                  <a:lnTo>
                    <a:pt x="2420" y="1279"/>
                  </a:lnTo>
                  <a:lnTo>
                    <a:pt x="2398" y="1280"/>
                  </a:lnTo>
                  <a:lnTo>
                    <a:pt x="2374" y="1284"/>
                  </a:lnTo>
                  <a:lnTo>
                    <a:pt x="2353" y="1292"/>
                  </a:lnTo>
                  <a:lnTo>
                    <a:pt x="2333" y="1300"/>
                  </a:lnTo>
                  <a:lnTo>
                    <a:pt x="2333" y="1300"/>
                  </a:lnTo>
                  <a:lnTo>
                    <a:pt x="2341" y="1277"/>
                  </a:lnTo>
                  <a:lnTo>
                    <a:pt x="2347" y="1253"/>
                  </a:lnTo>
                  <a:lnTo>
                    <a:pt x="2351" y="1227"/>
                  </a:lnTo>
                  <a:lnTo>
                    <a:pt x="2352" y="1201"/>
                  </a:lnTo>
                  <a:lnTo>
                    <a:pt x="2352" y="1201"/>
                  </a:lnTo>
                  <a:lnTo>
                    <a:pt x="2351" y="1174"/>
                  </a:lnTo>
                  <a:lnTo>
                    <a:pt x="2346" y="1146"/>
                  </a:lnTo>
                  <a:lnTo>
                    <a:pt x="2339" y="1119"/>
                  </a:lnTo>
                  <a:lnTo>
                    <a:pt x="2329" y="1094"/>
                  </a:lnTo>
                  <a:lnTo>
                    <a:pt x="2318" y="1071"/>
                  </a:lnTo>
                  <a:lnTo>
                    <a:pt x="2305" y="1048"/>
                  </a:lnTo>
                  <a:lnTo>
                    <a:pt x="2288" y="1027"/>
                  </a:lnTo>
                  <a:lnTo>
                    <a:pt x="2271" y="1007"/>
                  </a:lnTo>
                  <a:lnTo>
                    <a:pt x="2251" y="990"/>
                  </a:lnTo>
                  <a:lnTo>
                    <a:pt x="2230" y="974"/>
                  </a:lnTo>
                  <a:lnTo>
                    <a:pt x="2208" y="960"/>
                  </a:lnTo>
                  <a:lnTo>
                    <a:pt x="2184" y="949"/>
                  </a:lnTo>
                  <a:lnTo>
                    <a:pt x="2159" y="939"/>
                  </a:lnTo>
                  <a:lnTo>
                    <a:pt x="2132" y="933"/>
                  </a:lnTo>
                  <a:lnTo>
                    <a:pt x="2106" y="928"/>
                  </a:lnTo>
                  <a:lnTo>
                    <a:pt x="2077" y="926"/>
                  </a:lnTo>
                  <a:lnTo>
                    <a:pt x="2077" y="926"/>
                  </a:lnTo>
                  <a:lnTo>
                    <a:pt x="2060" y="928"/>
                  </a:lnTo>
                  <a:lnTo>
                    <a:pt x="2044" y="929"/>
                  </a:lnTo>
                  <a:lnTo>
                    <a:pt x="2027" y="931"/>
                  </a:lnTo>
                  <a:lnTo>
                    <a:pt x="2011" y="935"/>
                  </a:lnTo>
                  <a:lnTo>
                    <a:pt x="1995" y="939"/>
                  </a:lnTo>
                  <a:lnTo>
                    <a:pt x="1980" y="944"/>
                  </a:lnTo>
                  <a:lnTo>
                    <a:pt x="1965" y="950"/>
                  </a:lnTo>
                  <a:lnTo>
                    <a:pt x="1950" y="957"/>
                  </a:lnTo>
                  <a:lnTo>
                    <a:pt x="1937" y="965"/>
                  </a:lnTo>
                  <a:lnTo>
                    <a:pt x="1923" y="974"/>
                  </a:lnTo>
                  <a:lnTo>
                    <a:pt x="1911" y="982"/>
                  </a:lnTo>
                  <a:lnTo>
                    <a:pt x="1898" y="992"/>
                  </a:lnTo>
                  <a:lnTo>
                    <a:pt x="1887" y="1003"/>
                  </a:lnTo>
                  <a:lnTo>
                    <a:pt x="1876" y="1015"/>
                  </a:lnTo>
                  <a:lnTo>
                    <a:pt x="1865" y="1027"/>
                  </a:lnTo>
                  <a:lnTo>
                    <a:pt x="1856" y="1039"/>
                  </a:lnTo>
                  <a:lnTo>
                    <a:pt x="1683" y="0"/>
                  </a:lnTo>
                  <a:lnTo>
                    <a:pt x="1803" y="1090"/>
                  </a:lnTo>
                  <a:lnTo>
                    <a:pt x="1803" y="1090"/>
                  </a:lnTo>
                  <a:lnTo>
                    <a:pt x="1788" y="1075"/>
                  </a:lnTo>
                  <a:lnTo>
                    <a:pt x="1770" y="1063"/>
                  </a:lnTo>
                  <a:lnTo>
                    <a:pt x="1627" y="68"/>
                  </a:lnTo>
                  <a:lnTo>
                    <a:pt x="1709" y="1036"/>
                  </a:lnTo>
                  <a:lnTo>
                    <a:pt x="1709" y="1036"/>
                  </a:lnTo>
                  <a:lnTo>
                    <a:pt x="1687" y="1032"/>
                  </a:lnTo>
                  <a:lnTo>
                    <a:pt x="1663" y="1031"/>
                  </a:lnTo>
                  <a:lnTo>
                    <a:pt x="1663" y="1031"/>
                  </a:lnTo>
                  <a:lnTo>
                    <a:pt x="1651" y="1031"/>
                  </a:lnTo>
                  <a:lnTo>
                    <a:pt x="1639" y="1032"/>
                  </a:lnTo>
                  <a:lnTo>
                    <a:pt x="1626" y="1034"/>
                  </a:lnTo>
                  <a:lnTo>
                    <a:pt x="1615" y="1037"/>
                  </a:lnTo>
                  <a:lnTo>
                    <a:pt x="1603" y="1041"/>
                  </a:lnTo>
                  <a:lnTo>
                    <a:pt x="1591" y="1046"/>
                  </a:lnTo>
                  <a:lnTo>
                    <a:pt x="1580" y="1051"/>
                  </a:lnTo>
                  <a:lnTo>
                    <a:pt x="1569" y="1056"/>
                  </a:lnTo>
                  <a:lnTo>
                    <a:pt x="1569" y="1056"/>
                  </a:lnTo>
                  <a:lnTo>
                    <a:pt x="1564" y="1036"/>
                  </a:lnTo>
                  <a:lnTo>
                    <a:pt x="1555" y="1017"/>
                  </a:lnTo>
                  <a:lnTo>
                    <a:pt x="1545" y="1000"/>
                  </a:lnTo>
                  <a:lnTo>
                    <a:pt x="1533" y="984"/>
                  </a:lnTo>
                  <a:lnTo>
                    <a:pt x="1519" y="969"/>
                  </a:lnTo>
                  <a:lnTo>
                    <a:pt x="1503" y="956"/>
                  </a:lnTo>
                  <a:lnTo>
                    <a:pt x="1486" y="945"/>
                  </a:lnTo>
                  <a:lnTo>
                    <a:pt x="1467" y="938"/>
                  </a:lnTo>
                  <a:lnTo>
                    <a:pt x="1430" y="253"/>
                  </a:lnTo>
                  <a:lnTo>
                    <a:pt x="1436" y="929"/>
                  </a:lnTo>
                  <a:lnTo>
                    <a:pt x="1436" y="929"/>
                  </a:lnTo>
                  <a:lnTo>
                    <a:pt x="1422" y="928"/>
                  </a:lnTo>
                  <a:lnTo>
                    <a:pt x="1409" y="926"/>
                  </a:lnTo>
                  <a:lnTo>
                    <a:pt x="1409" y="926"/>
                  </a:lnTo>
                  <a:lnTo>
                    <a:pt x="1393" y="928"/>
                  </a:lnTo>
                  <a:lnTo>
                    <a:pt x="1376" y="230"/>
                  </a:lnTo>
                  <a:lnTo>
                    <a:pt x="1361" y="934"/>
                  </a:lnTo>
                  <a:lnTo>
                    <a:pt x="1361" y="934"/>
                  </a:lnTo>
                  <a:lnTo>
                    <a:pt x="1355" y="936"/>
                  </a:lnTo>
                  <a:lnTo>
                    <a:pt x="1355" y="936"/>
                  </a:lnTo>
                  <a:lnTo>
                    <a:pt x="1344" y="920"/>
                  </a:lnTo>
                  <a:lnTo>
                    <a:pt x="1333" y="905"/>
                  </a:lnTo>
                  <a:lnTo>
                    <a:pt x="1320" y="890"/>
                  </a:lnTo>
                  <a:lnTo>
                    <a:pt x="1308" y="877"/>
                  </a:lnTo>
                  <a:lnTo>
                    <a:pt x="1294" y="863"/>
                  </a:lnTo>
                  <a:lnTo>
                    <a:pt x="1279" y="851"/>
                  </a:lnTo>
                  <a:lnTo>
                    <a:pt x="1265" y="838"/>
                  </a:lnTo>
                  <a:lnTo>
                    <a:pt x="1250" y="827"/>
                  </a:lnTo>
                  <a:lnTo>
                    <a:pt x="1234" y="817"/>
                  </a:lnTo>
                  <a:lnTo>
                    <a:pt x="1217" y="807"/>
                  </a:lnTo>
                  <a:lnTo>
                    <a:pt x="1200" y="798"/>
                  </a:lnTo>
                  <a:lnTo>
                    <a:pt x="1183" y="791"/>
                  </a:lnTo>
                  <a:lnTo>
                    <a:pt x="1164" y="785"/>
                  </a:lnTo>
                  <a:lnTo>
                    <a:pt x="1145" y="779"/>
                  </a:lnTo>
                  <a:lnTo>
                    <a:pt x="1127" y="774"/>
                  </a:lnTo>
                  <a:lnTo>
                    <a:pt x="1107" y="770"/>
                  </a:lnTo>
                  <a:lnTo>
                    <a:pt x="1168" y="68"/>
                  </a:lnTo>
                  <a:lnTo>
                    <a:pt x="1056" y="765"/>
                  </a:lnTo>
                  <a:lnTo>
                    <a:pt x="1056" y="765"/>
                  </a:lnTo>
                  <a:lnTo>
                    <a:pt x="1043" y="764"/>
                  </a:lnTo>
                  <a:lnTo>
                    <a:pt x="1043" y="764"/>
                  </a:lnTo>
                  <a:lnTo>
                    <a:pt x="1022" y="765"/>
                  </a:lnTo>
                  <a:lnTo>
                    <a:pt x="1112" y="0"/>
                  </a:lnTo>
                  <a:lnTo>
                    <a:pt x="968" y="772"/>
                  </a:lnTo>
                  <a:lnTo>
                    <a:pt x="968" y="772"/>
                  </a:lnTo>
                  <a:lnTo>
                    <a:pt x="940" y="780"/>
                  </a:lnTo>
                  <a:lnTo>
                    <a:pt x="913" y="789"/>
                  </a:lnTo>
                  <a:lnTo>
                    <a:pt x="888" y="800"/>
                  </a:lnTo>
                  <a:lnTo>
                    <a:pt x="863" y="812"/>
                  </a:lnTo>
                  <a:lnTo>
                    <a:pt x="840" y="826"/>
                  </a:lnTo>
                  <a:lnTo>
                    <a:pt x="817" y="842"/>
                  </a:lnTo>
                  <a:lnTo>
                    <a:pt x="796" y="861"/>
                  </a:lnTo>
                  <a:lnTo>
                    <a:pt x="778" y="879"/>
                  </a:lnTo>
                  <a:lnTo>
                    <a:pt x="759" y="900"/>
                  </a:lnTo>
                  <a:lnTo>
                    <a:pt x="743" y="921"/>
                  </a:lnTo>
                  <a:lnTo>
                    <a:pt x="728" y="945"/>
                  </a:lnTo>
                  <a:lnTo>
                    <a:pt x="714" y="970"/>
                  </a:lnTo>
                  <a:lnTo>
                    <a:pt x="703" y="995"/>
                  </a:lnTo>
                  <a:lnTo>
                    <a:pt x="694" y="1021"/>
                  </a:lnTo>
                  <a:lnTo>
                    <a:pt x="687" y="1048"/>
                  </a:lnTo>
                  <a:lnTo>
                    <a:pt x="682" y="1075"/>
                  </a:lnTo>
                  <a:lnTo>
                    <a:pt x="682" y="1075"/>
                  </a:lnTo>
                  <a:lnTo>
                    <a:pt x="663" y="1075"/>
                  </a:lnTo>
                  <a:lnTo>
                    <a:pt x="663" y="1075"/>
                  </a:lnTo>
                  <a:lnTo>
                    <a:pt x="641" y="1077"/>
                  </a:lnTo>
                  <a:lnTo>
                    <a:pt x="618" y="1079"/>
                  </a:lnTo>
                  <a:lnTo>
                    <a:pt x="596" y="1084"/>
                  </a:lnTo>
                  <a:lnTo>
                    <a:pt x="576" y="1092"/>
                  </a:lnTo>
                  <a:lnTo>
                    <a:pt x="555" y="1099"/>
                  </a:lnTo>
                  <a:lnTo>
                    <a:pt x="536" y="1109"/>
                  </a:lnTo>
                  <a:lnTo>
                    <a:pt x="518" y="1121"/>
                  </a:lnTo>
                  <a:lnTo>
                    <a:pt x="502" y="1134"/>
                  </a:lnTo>
                  <a:lnTo>
                    <a:pt x="486" y="1149"/>
                  </a:lnTo>
                  <a:lnTo>
                    <a:pt x="471" y="1165"/>
                  </a:lnTo>
                  <a:lnTo>
                    <a:pt x="458" y="1181"/>
                  </a:lnTo>
                  <a:lnTo>
                    <a:pt x="446" y="1200"/>
                  </a:lnTo>
                  <a:lnTo>
                    <a:pt x="436" y="1218"/>
                  </a:lnTo>
                  <a:lnTo>
                    <a:pt x="427" y="1238"/>
                  </a:lnTo>
                  <a:lnTo>
                    <a:pt x="420" y="1259"/>
                  </a:lnTo>
                  <a:lnTo>
                    <a:pt x="415" y="1280"/>
                  </a:lnTo>
                  <a:lnTo>
                    <a:pt x="415" y="1280"/>
                  </a:lnTo>
                  <a:lnTo>
                    <a:pt x="401" y="1284"/>
                  </a:lnTo>
                  <a:lnTo>
                    <a:pt x="389" y="1288"/>
                  </a:lnTo>
                  <a:lnTo>
                    <a:pt x="376" y="1294"/>
                  </a:lnTo>
                  <a:lnTo>
                    <a:pt x="364" y="1302"/>
                  </a:lnTo>
                  <a:lnTo>
                    <a:pt x="353" y="1310"/>
                  </a:lnTo>
                  <a:lnTo>
                    <a:pt x="343" y="1319"/>
                  </a:lnTo>
                  <a:lnTo>
                    <a:pt x="334" y="1330"/>
                  </a:lnTo>
                  <a:lnTo>
                    <a:pt x="326" y="1341"/>
                  </a:lnTo>
                  <a:lnTo>
                    <a:pt x="326" y="1341"/>
                  </a:lnTo>
                  <a:lnTo>
                    <a:pt x="313" y="1333"/>
                  </a:lnTo>
                  <a:lnTo>
                    <a:pt x="298" y="1325"/>
                  </a:lnTo>
                  <a:lnTo>
                    <a:pt x="283" y="1319"/>
                  </a:lnTo>
                  <a:lnTo>
                    <a:pt x="268" y="1313"/>
                  </a:lnTo>
                  <a:lnTo>
                    <a:pt x="252" y="1309"/>
                  </a:lnTo>
                  <a:lnTo>
                    <a:pt x="235" y="1305"/>
                  </a:lnTo>
                  <a:lnTo>
                    <a:pt x="217" y="1304"/>
                  </a:lnTo>
                  <a:lnTo>
                    <a:pt x="200" y="1303"/>
                  </a:lnTo>
                  <a:lnTo>
                    <a:pt x="200" y="1303"/>
                  </a:lnTo>
                  <a:lnTo>
                    <a:pt x="180" y="1304"/>
                  </a:lnTo>
                  <a:lnTo>
                    <a:pt x="160" y="1307"/>
                  </a:lnTo>
                  <a:lnTo>
                    <a:pt x="140" y="1310"/>
                  </a:lnTo>
                  <a:lnTo>
                    <a:pt x="121" y="1316"/>
                  </a:lnTo>
                  <a:lnTo>
                    <a:pt x="104" y="1324"/>
                  </a:lnTo>
                  <a:lnTo>
                    <a:pt x="88" y="1333"/>
                  </a:lnTo>
                  <a:lnTo>
                    <a:pt x="73" y="1343"/>
                  </a:lnTo>
                  <a:lnTo>
                    <a:pt x="58" y="1354"/>
                  </a:lnTo>
                  <a:lnTo>
                    <a:pt x="46" y="1366"/>
                  </a:lnTo>
                  <a:lnTo>
                    <a:pt x="34" y="1379"/>
                  </a:lnTo>
                  <a:lnTo>
                    <a:pt x="25" y="1393"/>
                  </a:lnTo>
                  <a:lnTo>
                    <a:pt x="16" y="1408"/>
                  </a:lnTo>
                  <a:lnTo>
                    <a:pt x="8" y="1425"/>
                  </a:lnTo>
                  <a:lnTo>
                    <a:pt x="3" y="1441"/>
                  </a:lnTo>
                  <a:lnTo>
                    <a:pt x="1" y="1458"/>
                  </a:lnTo>
                  <a:lnTo>
                    <a:pt x="0" y="1475"/>
                  </a:lnTo>
                  <a:lnTo>
                    <a:pt x="0" y="1475"/>
                  </a:lnTo>
                  <a:lnTo>
                    <a:pt x="1" y="1493"/>
                  </a:lnTo>
                  <a:lnTo>
                    <a:pt x="3" y="1510"/>
                  </a:lnTo>
                  <a:lnTo>
                    <a:pt x="8" y="1526"/>
                  </a:lnTo>
                  <a:lnTo>
                    <a:pt x="16" y="1543"/>
                  </a:lnTo>
                  <a:lnTo>
                    <a:pt x="25" y="1557"/>
                  </a:lnTo>
                  <a:lnTo>
                    <a:pt x="34" y="1572"/>
                  </a:lnTo>
                  <a:lnTo>
                    <a:pt x="46" y="1585"/>
                  </a:lnTo>
                  <a:lnTo>
                    <a:pt x="58" y="1597"/>
                  </a:lnTo>
                  <a:lnTo>
                    <a:pt x="73" y="1608"/>
                  </a:lnTo>
                  <a:lnTo>
                    <a:pt x="88" y="1618"/>
                  </a:lnTo>
                  <a:lnTo>
                    <a:pt x="104" y="1627"/>
                  </a:lnTo>
                  <a:lnTo>
                    <a:pt x="121" y="1634"/>
                  </a:lnTo>
                  <a:lnTo>
                    <a:pt x="140" y="1641"/>
                  </a:lnTo>
                  <a:lnTo>
                    <a:pt x="160" y="1644"/>
                  </a:lnTo>
                  <a:lnTo>
                    <a:pt x="180" y="1647"/>
                  </a:lnTo>
                  <a:lnTo>
                    <a:pt x="200" y="1648"/>
                  </a:lnTo>
                  <a:lnTo>
                    <a:pt x="200" y="1648"/>
                  </a:lnTo>
                  <a:lnTo>
                    <a:pt x="223" y="1647"/>
                  </a:lnTo>
                  <a:lnTo>
                    <a:pt x="246" y="1643"/>
                  </a:lnTo>
                  <a:lnTo>
                    <a:pt x="246" y="1643"/>
                  </a:lnTo>
                  <a:lnTo>
                    <a:pt x="258" y="1651"/>
                  </a:lnTo>
                  <a:lnTo>
                    <a:pt x="272" y="1658"/>
                  </a:lnTo>
                  <a:lnTo>
                    <a:pt x="288" y="1664"/>
                  </a:lnTo>
                  <a:lnTo>
                    <a:pt x="305" y="1672"/>
                  </a:lnTo>
                  <a:lnTo>
                    <a:pt x="348" y="1684"/>
                  </a:lnTo>
                  <a:lnTo>
                    <a:pt x="399" y="1697"/>
                  </a:lnTo>
                  <a:lnTo>
                    <a:pt x="456" y="1709"/>
                  </a:lnTo>
                  <a:lnTo>
                    <a:pt x="520" y="1720"/>
                  </a:lnTo>
                  <a:lnTo>
                    <a:pt x="591" y="1730"/>
                  </a:lnTo>
                  <a:lnTo>
                    <a:pt x="667" y="1740"/>
                  </a:lnTo>
                  <a:lnTo>
                    <a:pt x="750" y="1749"/>
                  </a:lnTo>
                  <a:lnTo>
                    <a:pt x="838" y="1756"/>
                  </a:lnTo>
                  <a:lnTo>
                    <a:pt x="930" y="1762"/>
                  </a:lnTo>
                  <a:lnTo>
                    <a:pt x="1027" y="1767"/>
                  </a:lnTo>
                  <a:lnTo>
                    <a:pt x="1129" y="1772"/>
                  </a:lnTo>
                  <a:lnTo>
                    <a:pt x="1234" y="1776"/>
                  </a:lnTo>
                  <a:lnTo>
                    <a:pt x="1342" y="1777"/>
                  </a:lnTo>
                  <a:lnTo>
                    <a:pt x="1452" y="1779"/>
                  </a:lnTo>
                  <a:lnTo>
                    <a:pt x="1452" y="1779"/>
                  </a:lnTo>
                  <a:lnTo>
                    <a:pt x="1552" y="1777"/>
                  </a:lnTo>
                  <a:lnTo>
                    <a:pt x="1650" y="1776"/>
                  </a:lnTo>
                  <a:lnTo>
                    <a:pt x="1744" y="1774"/>
                  </a:lnTo>
                  <a:lnTo>
                    <a:pt x="1836" y="1770"/>
                  </a:lnTo>
                  <a:lnTo>
                    <a:pt x="1926" y="1765"/>
                  </a:lnTo>
                  <a:lnTo>
                    <a:pt x="2011" y="1760"/>
                  </a:lnTo>
                  <a:lnTo>
                    <a:pt x="2093" y="1754"/>
                  </a:lnTo>
                  <a:lnTo>
                    <a:pt x="2172" y="1746"/>
                  </a:lnTo>
                  <a:lnTo>
                    <a:pt x="2245" y="1739"/>
                  </a:lnTo>
                  <a:lnTo>
                    <a:pt x="2314" y="1730"/>
                  </a:lnTo>
                  <a:lnTo>
                    <a:pt x="2378" y="1721"/>
                  </a:lnTo>
                  <a:lnTo>
                    <a:pt x="2436" y="1712"/>
                  </a:lnTo>
                  <a:lnTo>
                    <a:pt x="2490" y="1700"/>
                  </a:lnTo>
                  <a:lnTo>
                    <a:pt x="2537" y="1689"/>
                  </a:lnTo>
                  <a:lnTo>
                    <a:pt x="2579" y="1678"/>
                  </a:lnTo>
                  <a:lnTo>
                    <a:pt x="2614" y="1666"/>
                  </a:lnTo>
                  <a:lnTo>
                    <a:pt x="2614" y="1666"/>
                  </a:lnTo>
                  <a:lnTo>
                    <a:pt x="2629" y="1674"/>
                  </a:lnTo>
                  <a:lnTo>
                    <a:pt x="2645" y="1680"/>
                  </a:lnTo>
                  <a:lnTo>
                    <a:pt x="2664" y="1684"/>
                  </a:lnTo>
                  <a:lnTo>
                    <a:pt x="2682" y="1685"/>
                  </a:lnTo>
                  <a:lnTo>
                    <a:pt x="2682" y="1685"/>
                  </a:lnTo>
                  <a:lnTo>
                    <a:pt x="2695" y="1685"/>
                  </a:lnTo>
                  <a:lnTo>
                    <a:pt x="2707" y="1683"/>
                  </a:lnTo>
                  <a:lnTo>
                    <a:pt x="2720" y="1680"/>
                  </a:lnTo>
                  <a:lnTo>
                    <a:pt x="2731" y="1675"/>
                  </a:lnTo>
                  <a:lnTo>
                    <a:pt x="2742" y="1671"/>
                  </a:lnTo>
                  <a:lnTo>
                    <a:pt x="2752" y="1664"/>
                  </a:lnTo>
                  <a:lnTo>
                    <a:pt x="2762" y="1657"/>
                  </a:lnTo>
                  <a:lnTo>
                    <a:pt x="2772" y="1649"/>
                  </a:lnTo>
                  <a:lnTo>
                    <a:pt x="2779" y="1639"/>
                  </a:lnTo>
                  <a:lnTo>
                    <a:pt x="2787" y="1630"/>
                  </a:lnTo>
                  <a:lnTo>
                    <a:pt x="2793" y="1620"/>
                  </a:lnTo>
                  <a:lnTo>
                    <a:pt x="2798" y="1608"/>
                  </a:lnTo>
                  <a:lnTo>
                    <a:pt x="2803" y="1597"/>
                  </a:lnTo>
                  <a:lnTo>
                    <a:pt x="2805" y="1585"/>
                  </a:lnTo>
                  <a:lnTo>
                    <a:pt x="2808" y="1572"/>
                  </a:lnTo>
                  <a:lnTo>
                    <a:pt x="2808" y="1559"/>
                  </a:lnTo>
                  <a:lnTo>
                    <a:pt x="2808" y="1559"/>
                  </a:lnTo>
                  <a:lnTo>
                    <a:pt x="2808" y="1546"/>
                  </a:lnTo>
                  <a:lnTo>
                    <a:pt x="2805" y="1534"/>
                  </a:lnTo>
                  <a:lnTo>
                    <a:pt x="2803" y="1521"/>
                  </a:lnTo>
                  <a:lnTo>
                    <a:pt x="2798" y="1510"/>
                  </a:lnTo>
                  <a:lnTo>
                    <a:pt x="2793" y="1499"/>
                  </a:lnTo>
                  <a:lnTo>
                    <a:pt x="2787" y="1489"/>
                  </a:lnTo>
                  <a:lnTo>
                    <a:pt x="2779" y="1479"/>
                  </a:lnTo>
                  <a:lnTo>
                    <a:pt x="2772" y="1469"/>
                  </a:lnTo>
                  <a:lnTo>
                    <a:pt x="2762" y="1462"/>
                  </a:lnTo>
                  <a:lnTo>
                    <a:pt x="2752" y="1454"/>
                  </a:lnTo>
                  <a:lnTo>
                    <a:pt x="2742" y="1448"/>
                  </a:lnTo>
                  <a:lnTo>
                    <a:pt x="2731" y="1443"/>
                  </a:lnTo>
                  <a:lnTo>
                    <a:pt x="2720" y="1438"/>
                  </a:lnTo>
                  <a:lnTo>
                    <a:pt x="2707" y="1436"/>
                  </a:lnTo>
                  <a:lnTo>
                    <a:pt x="2695" y="1433"/>
                  </a:lnTo>
                  <a:lnTo>
                    <a:pt x="2682" y="1433"/>
                  </a:lnTo>
                  <a:close/>
                  <a:moveTo>
                    <a:pt x="878" y="1462"/>
                  </a:moveTo>
                  <a:lnTo>
                    <a:pt x="878" y="1462"/>
                  </a:lnTo>
                  <a:lnTo>
                    <a:pt x="881" y="1459"/>
                  </a:lnTo>
                  <a:lnTo>
                    <a:pt x="881" y="1459"/>
                  </a:lnTo>
                  <a:lnTo>
                    <a:pt x="886" y="1462"/>
                  </a:lnTo>
                  <a:lnTo>
                    <a:pt x="886" y="1462"/>
                  </a:lnTo>
                  <a:lnTo>
                    <a:pt x="878" y="1462"/>
                  </a:lnTo>
                  <a:close/>
                </a:path>
              </a:pathLst>
            </a:custGeom>
            <a:solidFill>
              <a:srgbClr val="55CBC5"/>
            </a:solidFill>
            <a:ln>
              <a:noFill/>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sp>
        <p:nvSpPr>
          <p:cNvPr id="240" name="Freeform 239"/>
          <p:cNvSpPr>
            <a:spLocks/>
          </p:cNvSpPr>
          <p:nvPr/>
        </p:nvSpPr>
        <p:spPr bwMode="auto">
          <a:xfrm>
            <a:off x="-615950" y="2851150"/>
            <a:ext cx="4865688" cy="1900238"/>
          </a:xfrm>
          <a:custGeom>
            <a:avLst/>
            <a:gdLst/>
            <a:ahLst/>
            <a:cxnLst/>
            <a:rect l="0" t="0" r="r" b="b"/>
            <a:pathLst>
              <a:path w="4864204" h="1899239">
                <a:moveTo>
                  <a:pt x="2667604" y="34"/>
                </a:moveTo>
                <a:cubicBezTo>
                  <a:pt x="2682525" y="359"/>
                  <a:pt x="2698515" y="2104"/>
                  <a:pt x="2714514" y="7399"/>
                </a:cubicBezTo>
                <a:cubicBezTo>
                  <a:pt x="2730513" y="12695"/>
                  <a:pt x="2751676" y="24551"/>
                  <a:pt x="2763595" y="31807"/>
                </a:cubicBezTo>
                <a:cubicBezTo>
                  <a:pt x="2775512" y="39065"/>
                  <a:pt x="2773562" y="41200"/>
                  <a:pt x="2786020" y="50942"/>
                </a:cubicBezTo>
                <a:cubicBezTo>
                  <a:pt x="2798080" y="43637"/>
                  <a:pt x="2795415" y="42754"/>
                  <a:pt x="2806237" y="37051"/>
                </a:cubicBezTo>
                <a:cubicBezTo>
                  <a:pt x="2817058" y="31346"/>
                  <a:pt x="2835864" y="22077"/>
                  <a:pt x="2850949" y="16719"/>
                </a:cubicBezTo>
                <a:cubicBezTo>
                  <a:pt x="2866034" y="11363"/>
                  <a:pt x="2879700" y="6186"/>
                  <a:pt x="2896749" y="4909"/>
                </a:cubicBezTo>
                <a:cubicBezTo>
                  <a:pt x="2913797" y="3634"/>
                  <a:pt x="2933873" y="5191"/>
                  <a:pt x="2953242" y="9060"/>
                </a:cubicBezTo>
                <a:cubicBezTo>
                  <a:pt x="2972612" y="12928"/>
                  <a:pt x="2992871" y="17683"/>
                  <a:pt x="3012967" y="28119"/>
                </a:cubicBezTo>
                <a:cubicBezTo>
                  <a:pt x="3033062" y="38557"/>
                  <a:pt x="3056542" y="52894"/>
                  <a:pt x="3073815" y="71682"/>
                </a:cubicBezTo>
                <a:cubicBezTo>
                  <a:pt x="3091088" y="90472"/>
                  <a:pt x="3107135" y="116188"/>
                  <a:pt x="3116605" y="140853"/>
                </a:cubicBezTo>
                <a:cubicBezTo>
                  <a:pt x="3126077" y="165516"/>
                  <a:pt x="3130239" y="198182"/>
                  <a:pt x="3130644" y="219667"/>
                </a:cubicBezTo>
                <a:cubicBezTo>
                  <a:pt x="3131050" y="241154"/>
                  <a:pt x="3117065" y="261246"/>
                  <a:pt x="3119038" y="269766"/>
                </a:cubicBezTo>
                <a:cubicBezTo>
                  <a:pt x="3136981" y="271150"/>
                  <a:pt x="3129159" y="268149"/>
                  <a:pt x="3142486" y="270785"/>
                </a:cubicBezTo>
                <a:cubicBezTo>
                  <a:pt x="3155815" y="273423"/>
                  <a:pt x="3180331" y="275860"/>
                  <a:pt x="3199005" y="285591"/>
                </a:cubicBezTo>
                <a:cubicBezTo>
                  <a:pt x="3217678" y="295319"/>
                  <a:pt x="3239030" y="311258"/>
                  <a:pt x="3254525" y="329163"/>
                </a:cubicBezTo>
                <a:cubicBezTo>
                  <a:pt x="3270020" y="347067"/>
                  <a:pt x="3284283" y="370125"/>
                  <a:pt x="3291973" y="393016"/>
                </a:cubicBezTo>
                <a:lnTo>
                  <a:pt x="3296648" y="432523"/>
                </a:lnTo>
                <a:lnTo>
                  <a:pt x="3329241" y="409146"/>
                </a:lnTo>
                <a:cubicBezTo>
                  <a:pt x="3343078" y="401839"/>
                  <a:pt x="3360294" y="395767"/>
                  <a:pt x="3375027" y="392010"/>
                </a:cubicBezTo>
                <a:cubicBezTo>
                  <a:pt x="3389761" y="388253"/>
                  <a:pt x="3402723" y="386272"/>
                  <a:pt x="3417643" y="386599"/>
                </a:cubicBezTo>
                <a:cubicBezTo>
                  <a:pt x="3432564" y="386924"/>
                  <a:pt x="3448554" y="388669"/>
                  <a:pt x="3464553" y="393963"/>
                </a:cubicBezTo>
                <a:cubicBezTo>
                  <a:pt x="3480552" y="399260"/>
                  <a:pt x="3501715" y="411115"/>
                  <a:pt x="3513633" y="418372"/>
                </a:cubicBezTo>
                <a:cubicBezTo>
                  <a:pt x="3525551" y="425630"/>
                  <a:pt x="3523601" y="427764"/>
                  <a:pt x="3536058" y="437506"/>
                </a:cubicBezTo>
                <a:cubicBezTo>
                  <a:pt x="3548119" y="430202"/>
                  <a:pt x="3545454" y="429319"/>
                  <a:pt x="3556274" y="423615"/>
                </a:cubicBezTo>
                <a:cubicBezTo>
                  <a:pt x="3567096" y="417912"/>
                  <a:pt x="3585903" y="408641"/>
                  <a:pt x="3600988" y="403283"/>
                </a:cubicBezTo>
                <a:cubicBezTo>
                  <a:pt x="3616072" y="397927"/>
                  <a:pt x="3629739" y="392750"/>
                  <a:pt x="3646787" y="391474"/>
                </a:cubicBezTo>
                <a:cubicBezTo>
                  <a:pt x="3663835" y="390198"/>
                  <a:pt x="3683910" y="391755"/>
                  <a:pt x="3703281" y="395624"/>
                </a:cubicBezTo>
                <a:cubicBezTo>
                  <a:pt x="3722650" y="399492"/>
                  <a:pt x="3742910" y="404247"/>
                  <a:pt x="3763006" y="414684"/>
                </a:cubicBezTo>
                <a:cubicBezTo>
                  <a:pt x="3783101" y="425122"/>
                  <a:pt x="3806581" y="439459"/>
                  <a:pt x="3823854" y="458247"/>
                </a:cubicBezTo>
                <a:cubicBezTo>
                  <a:pt x="3841127" y="477036"/>
                  <a:pt x="3857174" y="502753"/>
                  <a:pt x="3866644" y="527417"/>
                </a:cubicBezTo>
                <a:cubicBezTo>
                  <a:pt x="3876116" y="552081"/>
                  <a:pt x="3880277" y="584746"/>
                  <a:pt x="3880682" y="606232"/>
                </a:cubicBezTo>
                <a:cubicBezTo>
                  <a:pt x="3881088" y="627718"/>
                  <a:pt x="3867104" y="647810"/>
                  <a:pt x="3869077" y="656331"/>
                </a:cubicBezTo>
                <a:cubicBezTo>
                  <a:pt x="3887020" y="657715"/>
                  <a:pt x="3879198" y="654713"/>
                  <a:pt x="3892525" y="657350"/>
                </a:cubicBezTo>
                <a:cubicBezTo>
                  <a:pt x="3905853" y="659988"/>
                  <a:pt x="3930370" y="662425"/>
                  <a:pt x="3949043" y="672155"/>
                </a:cubicBezTo>
                <a:cubicBezTo>
                  <a:pt x="3967718" y="681885"/>
                  <a:pt x="3989070" y="697824"/>
                  <a:pt x="4004563" y="715728"/>
                </a:cubicBezTo>
                <a:lnTo>
                  <a:pt x="4016310" y="735757"/>
                </a:lnTo>
                <a:lnTo>
                  <a:pt x="4044797" y="725095"/>
                </a:lnTo>
                <a:cubicBezTo>
                  <a:pt x="4059530" y="721337"/>
                  <a:pt x="4072492" y="719357"/>
                  <a:pt x="4087412" y="719684"/>
                </a:cubicBezTo>
                <a:cubicBezTo>
                  <a:pt x="4102335" y="720009"/>
                  <a:pt x="4118323" y="721754"/>
                  <a:pt x="4134323" y="727049"/>
                </a:cubicBezTo>
                <a:cubicBezTo>
                  <a:pt x="4150321" y="732345"/>
                  <a:pt x="4171486" y="744201"/>
                  <a:pt x="4183403" y="751457"/>
                </a:cubicBezTo>
                <a:cubicBezTo>
                  <a:pt x="4195320" y="758714"/>
                  <a:pt x="4193372" y="760850"/>
                  <a:pt x="4205827" y="770591"/>
                </a:cubicBezTo>
                <a:cubicBezTo>
                  <a:pt x="4217890" y="763287"/>
                  <a:pt x="4215223" y="762404"/>
                  <a:pt x="4226045" y="756701"/>
                </a:cubicBezTo>
                <a:cubicBezTo>
                  <a:pt x="4236865" y="750997"/>
                  <a:pt x="4255672" y="741726"/>
                  <a:pt x="4270758" y="736369"/>
                </a:cubicBezTo>
                <a:cubicBezTo>
                  <a:pt x="4285843" y="731013"/>
                  <a:pt x="4299508" y="725835"/>
                  <a:pt x="4316557" y="724558"/>
                </a:cubicBezTo>
                <a:cubicBezTo>
                  <a:pt x="4333604" y="723283"/>
                  <a:pt x="4353681" y="724841"/>
                  <a:pt x="4373050" y="728709"/>
                </a:cubicBezTo>
                <a:cubicBezTo>
                  <a:pt x="4392420" y="732577"/>
                  <a:pt x="4412679" y="737332"/>
                  <a:pt x="4432775" y="747769"/>
                </a:cubicBezTo>
                <a:lnTo>
                  <a:pt x="4478327" y="780381"/>
                </a:lnTo>
                <a:lnTo>
                  <a:pt x="4534215" y="798216"/>
                </a:lnTo>
                <a:cubicBezTo>
                  <a:pt x="4554311" y="808655"/>
                  <a:pt x="4577790" y="822991"/>
                  <a:pt x="4595063" y="841779"/>
                </a:cubicBezTo>
                <a:cubicBezTo>
                  <a:pt x="4612336" y="860569"/>
                  <a:pt x="4628383" y="886285"/>
                  <a:pt x="4637854" y="910950"/>
                </a:cubicBezTo>
                <a:cubicBezTo>
                  <a:pt x="4647325" y="935613"/>
                  <a:pt x="4651488" y="968279"/>
                  <a:pt x="4651893" y="989765"/>
                </a:cubicBezTo>
                <a:cubicBezTo>
                  <a:pt x="4652095" y="1000508"/>
                  <a:pt x="4648700" y="1010901"/>
                  <a:pt x="4645501" y="1019676"/>
                </a:cubicBezTo>
                <a:lnTo>
                  <a:pt x="4644103" y="1025087"/>
                </a:lnTo>
                <a:lnTo>
                  <a:pt x="4664375" y="1040997"/>
                </a:lnTo>
                <a:lnTo>
                  <a:pt x="4689989" y="1045625"/>
                </a:lnTo>
                <a:cubicBezTo>
                  <a:pt x="4700119" y="1047780"/>
                  <a:pt x="4710917" y="1050822"/>
                  <a:pt x="4720253" y="1055687"/>
                </a:cubicBezTo>
                <a:cubicBezTo>
                  <a:pt x="4738927" y="1065417"/>
                  <a:pt x="4760279" y="1081356"/>
                  <a:pt x="4775772" y="1099260"/>
                </a:cubicBezTo>
                <a:cubicBezTo>
                  <a:pt x="4791268" y="1117164"/>
                  <a:pt x="4805531" y="1140222"/>
                  <a:pt x="4813223" y="1163113"/>
                </a:cubicBezTo>
                <a:cubicBezTo>
                  <a:pt x="4820914" y="1186005"/>
                  <a:pt x="4823467" y="1214766"/>
                  <a:pt x="4821920" y="1236611"/>
                </a:cubicBezTo>
                <a:cubicBezTo>
                  <a:pt x="4821146" y="1247533"/>
                  <a:pt x="4816641" y="1258596"/>
                  <a:pt x="4812336" y="1268592"/>
                </a:cubicBezTo>
                <a:lnTo>
                  <a:pt x="4804091" y="1293709"/>
                </a:lnTo>
                <a:lnTo>
                  <a:pt x="4804176" y="1294418"/>
                </a:lnTo>
                <a:lnTo>
                  <a:pt x="4813618" y="1303816"/>
                </a:lnTo>
                <a:cubicBezTo>
                  <a:pt x="4815865" y="1306099"/>
                  <a:pt x="4817914" y="1308892"/>
                  <a:pt x="4822107" y="1316518"/>
                </a:cubicBezTo>
                <a:cubicBezTo>
                  <a:pt x="4830490" y="1331773"/>
                  <a:pt x="4847963" y="1359972"/>
                  <a:pt x="4854239" y="1385709"/>
                </a:cubicBezTo>
                <a:cubicBezTo>
                  <a:pt x="4860517" y="1411444"/>
                  <a:pt x="4864322" y="1443932"/>
                  <a:pt x="4859767" y="1470933"/>
                </a:cubicBezTo>
                <a:cubicBezTo>
                  <a:pt x="4853938" y="1484551"/>
                  <a:pt x="4848110" y="1498172"/>
                  <a:pt x="4842281" y="1511790"/>
                </a:cubicBezTo>
                <a:lnTo>
                  <a:pt x="4842846" y="1520498"/>
                </a:lnTo>
                <a:lnTo>
                  <a:pt x="4864204" y="1531119"/>
                </a:lnTo>
                <a:lnTo>
                  <a:pt x="4239032" y="1899239"/>
                </a:lnTo>
                <a:lnTo>
                  <a:pt x="2287560" y="971695"/>
                </a:lnTo>
                <a:lnTo>
                  <a:pt x="2284977" y="974019"/>
                </a:lnTo>
                <a:lnTo>
                  <a:pt x="2280811" y="977392"/>
                </a:lnTo>
                <a:lnTo>
                  <a:pt x="2276248" y="980764"/>
                </a:lnTo>
                <a:lnTo>
                  <a:pt x="2271883" y="983739"/>
                </a:lnTo>
                <a:lnTo>
                  <a:pt x="2267121" y="986715"/>
                </a:lnTo>
                <a:lnTo>
                  <a:pt x="2262558" y="989492"/>
                </a:lnTo>
                <a:lnTo>
                  <a:pt x="2257599" y="992269"/>
                </a:lnTo>
                <a:lnTo>
                  <a:pt x="2104439" y="992269"/>
                </a:lnTo>
                <a:lnTo>
                  <a:pt x="2011861" y="992269"/>
                </a:lnTo>
                <a:lnTo>
                  <a:pt x="2017820" y="999470"/>
                </a:lnTo>
                <a:lnTo>
                  <a:pt x="2023649" y="1007325"/>
                </a:lnTo>
                <a:lnTo>
                  <a:pt x="2028971" y="1014927"/>
                </a:lnTo>
                <a:lnTo>
                  <a:pt x="2033786" y="1023289"/>
                </a:lnTo>
                <a:lnTo>
                  <a:pt x="2038601" y="1031904"/>
                </a:lnTo>
                <a:lnTo>
                  <a:pt x="2042656" y="1040519"/>
                </a:lnTo>
                <a:lnTo>
                  <a:pt x="2046458" y="1049388"/>
                </a:lnTo>
                <a:lnTo>
                  <a:pt x="2049752" y="1058510"/>
                </a:lnTo>
                <a:lnTo>
                  <a:pt x="2053047" y="1067886"/>
                </a:lnTo>
                <a:lnTo>
                  <a:pt x="2055581" y="1077515"/>
                </a:lnTo>
                <a:lnTo>
                  <a:pt x="2057609" y="1086890"/>
                </a:lnTo>
                <a:lnTo>
                  <a:pt x="2059383" y="1097026"/>
                </a:lnTo>
                <a:lnTo>
                  <a:pt x="2060396" y="1106909"/>
                </a:lnTo>
                <a:lnTo>
                  <a:pt x="2061157" y="1117044"/>
                </a:lnTo>
                <a:lnTo>
                  <a:pt x="2061410" y="1127180"/>
                </a:lnTo>
                <a:lnTo>
                  <a:pt x="2061410" y="1134782"/>
                </a:lnTo>
                <a:lnTo>
                  <a:pt x="2060903" y="1142130"/>
                </a:lnTo>
                <a:lnTo>
                  <a:pt x="2060396" y="1149479"/>
                </a:lnTo>
                <a:lnTo>
                  <a:pt x="2059383" y="1156827"/>
                </a:lnTo>
                <a:lnTo>
                  <a:pt x="2058369" y="1163669"/>
                </a:lnTo>
                <a:lnTo>
                  <a:pt x="2056848" y="1171017"/>
                </a:lnTo>
                <a:lnTo>
                  <a:pt x="2055328" y="1177859"/>
                </a:lnTo>
                <a:lnTo>
                  <a:pt x="2053554" y="1184954"/>
                </a:lnTo>
                <a:lnTo>
                  <a:pt x="2051526" y="1191542"/>
                </a:lnTo>
                <a:lnTo>
                  <a:pt x="2048992" y="1198384"/>
                </a:lnTo>
                <a:lnTo>
                  <a:pt x="2046458" y="1204972"/>
                </a:lnTo>
                <a:lnTo>
                  <a:pt x="2043923" y="1211560"/>
                </a:lnTo>
                <a:lnTo>
                  <a:pt x="2040882" y="1217895"/>
                </a:lnTo>
                <a:lnTo>
                  <a:pt x="2037841" y="1224230"/>
                </a:lnTo>
                <a:lnTo>
                  <a:pt x="2034293" y="1230311"/>
                </a:lnTo>
                <a:lnTo>
                  <a:pt x="2030745" y="1236139"/>
                </a:lnTo>
                <a:lnTo>
                  <a:pt x="2026944" y="1242221"/>
                </a:lnTo>
                <a:lnTo>
                  <a:pt x="2023142" y="1247796"/>
                </a:lnTo>
                <a:lnTo>
                  <a:pt x="2018834" y="1253624"/>
                </a:lnTo>
                <a:lnTo>
                  <a:pt x="2014779" y="1258945"/>
                </a:lnTo>
                <a:lnTo>
                  <a:pt x="2010217" y="1264266"/>
                </a:lnTo>
                <a:lnTo>
                  <a:pt x="2005402" y="1269587"/>
                </a:lnTo>
                <a:lnTo>
                  <a:pt x="2000587" y="1274402"/>
                </a:lnTo>
                <a:lnTo>
                  <a:pt x="1995772" y="1279216"/>
                </a:lnTo>
                <a:lnTo>
                  <a:pt x="1990450" y="1284031"/>
                </a:lnTo>
                <a:lnTo>
                  <a:pt x="1985382" y="1288592"/>
                </a:lnTo>
                <a:lnTo>
                  <a:pt x="1980060" y="1292900"/>
                </a:lnTo>
                <a:lnTo>
                  <a:pt x="1974231" y="1297207"/>
                </a:lnTo>
                <a:lnTo>
                  <a:pt x="1968655" y="1301008"/>
                </a:lnTo>
                <a:lnTo>
                  <a:pt x="1962573" y="1304809"/>
                </a:lnTo>
                <a:lnTo>
                  <a:pt x="1956744" y="1308357"/>
                </a:lnTo>
                <a:lnTo>
                  <a:pt x="1950408" y="1311904"/>
                </a:lnTo>
                <a:lnTo>
                  <a:pt x="1754762" y="1311904"/>
                </a:lnTo>
                <a:lnTo>
                  <a:pt x="1123978" y="1311904"/>
                </a:lnTo>
                <a:lnTo>
                  <a:pt x="1123724" y="1311904"/>
                </a:lnTo>
                <a:lnTo>
                  <a:pt x="1048456" y="1311904"/>
                </a:lnTo>
                <a:lnTo>
                  <a:pt x="1040853" y="1309877"/>
                </a:lnTo>
                <a:lnTo>
                  <a:pt x="1033757" y="1307850"/>
                </a:lnTo>
                <a:lnTo>
                  <a:pt x="1026661" y="1305569"/>
                </a:lnTo>
                <a:lnTo>
                  <a:pt x="1019819" y="1302782"/>
                </a:lnTo>
                <a:lnTo>
                  <a:pt x="1012723" y="1299995"/>
                </a:lnTo>
                <a:lnTo>
                  <a:pt x="1006133" y="1296701"/>
                </a:lnTo>
                <a:lnTo>
                  <a:pt x="999544" y="1293153"/>
                </a:lnTo>
                <a:lnTo>
                  <a:pt x="993209" y="1289352"/>
                </a:lnTo>
                <a:lnTo>
                  <a:pt x="987126" y="1285551"/>
                </a:lnTo>
                <a:lnTo>
                  <a:pt x="981044" y="1280990"/>
                </a:lnTo>
                <a:lnTo>
                  <a:pt x="975215" y="1276682"/>
                </a:lnTo>
                <a:lnTo>
                  <a:pt x="969640" y="1271868"/>
                </a:lnTo>
                <a:lnTo>
                  <a:pt x="964318" y="1266800"/>
                </a:lnTo>
                <a:lnTo>
                  <a:pt x="959249" y="1261732"/>
                </a:lnTo>
                <a:lnTo>
                  <a:pt x="953927" y="1256411"/>
                </a:lnTo>
                <a:lnTo>
                  <a:pt x="949365" y="1250583"/>
                </a:lnTo>
                <a:lnTo>
                  <a:pt x="944804" y="1245008"/>
                </a:lnTo>
                <a:lnTo>
                  <a:pt x="940495" y="1239180"/>
                </a:lnTo>
                <a:lnTo>
                  <a:pt x="939280" y="1237281"/>
                </a:lnTo>
                <a:lnTo>
                  <a:pt x="247338" y="1237281"/>
                </a:lnTo>
                <a:lnTo>
                  <a:pt x="247045" y="1237281"/>
                </a:lnTo>
                <a:lnTo>
                  <a:pt x="160214" y="1237281"/>
                </a:lnTo>
                <a:lnTo>
                  <a:pt x="151443" y="1234943"/>
                </a:lnTo>
                <a:lnTo>
                  <a:pt x="143257" y="1232604"/>
                </a:lnTo>
                <a:lnTo>
                  <a:pt x="135071" y="1229973"/>
                </a:lnTo>
                <a:lnTo>
                  <a:pt x="127177" y="1226758"/>
                </a:lnTo>
                <a:lnTo>
                  <a:pt x="118991" y="1223542"/>
                </a:lnTo>
                <a:lnTo>
                  <a:pt x="111390" y="1219742"/>
                </a:lnTo>
                <a:lnTo>
                  <a:pt x="103788" y="1215649"/>
                </a:lnTo>
                <a:lnTo>
                  <a:pt x="96479" y="1211265"/>
                </a:lnTo>
                <a:lnTo>
                  <a:pt x="89463" y="1206880"/>
                </a:lnTo>
                <a:lnTo>
                  <a:pt x="82446" y="1201618"/>
                </a:lnTo>
                <a:lnTo>
                  <a:pt x="75722" y="1196649"/>
                </a:lnTo>
                <a:lnTo>
                  <a:pt x="69290" y="1191094"/>
                </a:lnTo>
                <a:lnTo>
                  <a:pt x="63150" y="1185248"/>
                </a:lnTo>
                <a:lnTo>
                  <a:pt x="57303" y="1179402"/>
                </a:lnTo>
                <a:lnTo>
                  <a:pt x="51163" y="1173263"/>
                </a:lnTo>
                <a:lnTo>
                  <a:pt x="45901" y="1166539"/>
                </a:lnTo>
                <a:lnTo>
                  <a:pt x="40638" y="1160108"/>
                </a:lnTo>
                <a:lnTo>
                  <a:pt x="35668" y="1153385"/>
                </a:lnTo>
                <a:lnTo>
                  <a:pt x="30990" y="1146077"/>
                </a:lnTo>
                <a:lnTo>
                  <a:pt x="26605" y="1138769"/>
                </a:lnTo>
                <a:lnTo>
                  <a:pt x="22512" y="1131169"/>
                </a:lnTo>
                <a:lnTo>
                  <a:pt x="18711" y="1123568"/>
                </a:lnTo>
                <a:lnTo>
                  <a:pt x="15203" y="1115676"/>
                </a:lnTo>
                <a:lnTo>
                  <a:pt x="12279" y="1107783"/>
                </a:lnTo>
                <a:lnTo>
                  <a:pt x="9648" y="1099306"/>
                </a:lnTo>
                <a:lnTo>
                  <a:pt x="7017" y="1091121"/>
                </a:lnTo>
                <a:lnTo>
                  <a:pt x="4678" y="1082643"/>
                </a:lnTo>
                <a:lnTo>
                  <a:pt x="3216" y="1074166"/>
                </a:lnTo>
                <a:lnTo>
                  <a:pt x="1754" y="1065104"/>
                </a:lnTo>
                <a:lnTo>
                  <a:pt x="877" y="1056334"/>
                </a:lnTo>
                <a:lnTo>
                  <a:pt x="292" y="1047273"/>
                </a:lnTo>
                <a:lnTo>
                  <a:pt x="0" y="1038503"/>
                </a:lnTo>
                <a:lnTo>
                  <a:pt x="292" y="1028272"/>
                </a:lnTo>
                <a:lnTo>
                  <a:pt x="1170" y="1018333"/>
                </a:lnTo>
                <a:lnTo>
                  <a:pt x="2339" y="1008394"/>
                </a:lnTo>
                <a:lnTo>
                  <a:pt x="3801" y="998747"/>
                </a:lnTo>
                <a:lnTo>
                  <a:pt x="5847" y="989101"/>
                </a:lnTo>
                <a:lnTo>
                  <a:pt x="8771" y="979454"/>
                </a:lnTo>
                <a:lnTo>
                  <a:pt x="11695" y="970392"/>
                </a:lnTo>
                <a:lnTo>
                  <a:pt x="15203" y="961330"/>
                </a:lnTo>
                <a:lnTo>
                  <a:pt x="19004" y="952561"/>
                </a:lnTo>
                <a:lnTo>
                  <a:pt x="23389" y="944083"/>
                </a:lnTo>
                <a:lnTo>
                  <a:pt x="27774" y="935898"/>
                </a:lnTo>
                <a:lnTo>
                  <a:pt x="32745" y="927421"/>
                </a:lnTo>
                <a:lnTo>
                  <a:pt x="38007" y="919821"/>
                </a:lnTo>
                <a:lnTo>
                  <a:pt x="43854" y="912220"/>
                </a:lnTo>
                <a:lnTo>
                  <a:pt x="49994" y="904912"/>
                </a:lnTo>
                <a:lnTo>
                  <a:pt x="56426" y="898189"/>
                </a:lnTo>
                <a:lnTo>
                  <a:pt x="63150" y="891173"/>
                </a:lnTo>
                <a:lnTo>
                  <a:pt x="69874" y="885034"/>
                </a:lnTo>
                <a:lnTo>
                  <a:pt x="77476" y="878603"/>
                </a:lnTo>
                <a:lnTo>
                  <a:pt x="84785" y="873049"/>
                </a:lnTo>
                <a:lnTo>
                  <a:pt x="92679" y="867787"/>
                </a:lnTo>
                <a:lnTo>
                  <a:pt x="100865" y="862818"/>
                </a:lnTo>
                <a:lnTo>
                  <a:pt x="109343" y="858141"/>
                </a:lnTo>
                <a:lnTo>
                  <a:pt x="117529" y="853756"/>
                </a:lnTo>
                <a:lnTo>
                  <a:pt x="126592" y="850248"/>
                </a:lnTo>
                <a:lnTo>
                  <a:pt x="135363" y="846740"/>
                </a:lnTo>
                <a:lnTo>
                  <a:pt x="144719" y="843525"/>
                </a:lnTo>
                <a:lnTo>
                  <a:pt x="154074" y="840894"/>
                </a:lnTo>
                <a:lnTo>
                  <a:pt x="163722" y="838848"/>
                </a:lnTo>
                <a:lnTo>
                  <a:pt x="173370" y="837094"/>
                </a:lnTo>
                <a:lnTo>
                  <a:pt x="183310" y="835924"/>
                </a:lnTo>
                <a:lnTo>
                  <a:pt x="193251" y="835340"/>
                </a:lnTo>
                <a:lnTo>
                  <a:pt x="190912" y="828032"/>
                </a:lnTo>
                <a:lnTo>
                  <a:pt x="188573" y="821308"/>
                </a:lnTo>
                <a:lnTo>
                  <a:pt x="186819" y="814293"/>
                </a:lnTo>
                <a:lnTo>
                  <a:pt x="185357" y="806692"/>
                </a:lnTo>
                <a:lnTo>
                  <a:pt x="184188" y="799384"/>
                </a:lnTo>
                <a:lnTo>
                  <a:pt x="183310" y="791784"/>
                </a:lnTo>
                <a:lnTo>
                  <a:pt x="182726" y="784184"/>
                </a:lnTo>
                <a:lnTo>
                  <a:pt x="182433" y="776291"/>
                </a:lnTo>
                <a:lnTo>
                  <a:pt x="182726" y="768106"/>
                </a:lnTo>
                <a:lnTo>
                  <a:pt x="183310" y="759336"/>
                </a:lnTo>
                <a:lnTo>
                  <a:pt x="184480" y="751151"/>
                </a:lnTo>
                <a:lnTo>
                  <a:pt x="185942" y="742966"/>
                </a:lnTo>
                <a:lnTo>
                  <a:pt x="187696" y="735074"/>
                </a:lnTo>
                <a:lnTo>
                  <a:pt x="190035" y="727181"/>
                </a:lnTo>
                <a:lnTo>
                  <a:pt x="192666" y="719288"/>
                </a:lnTo>
                <a:lnTo>
                  <a:pt x="195590" y="711980"/>
                </a:lnTo>
                <a:lnTo>
                  <a:pt x="198806" y="704380"/>
                </a:lnTo>
                <a:lnTo>
                  <a:pt x="202606" y="697364"/>
                </a:lnTo>
                <a:lnTo>
                  <a:pt x="206699" y="690349"/>
                </a:lnTo>
                <a:lnTo>
                  <a:pt x="211085" y="683625"/>
                </a:lnTo>
                <a:lnTo>
                  <a:pt x="215470" y="677194"/>
                </a:lnTo>
                <a:lnTo>
                  <a:pt x="220440" y="670763"/>
                </a:lnTo>
                <a:lnTo>
                  <a:pt x="225703" y="664917"/>
                </a:lnTo>
                <a:lnTo>
                  <a:pt x="231258" y="659363"/>
                </a:lnTo>
                <a:lnTo>
                  <a:pt x="236813" y="653516"/>
                </a:lnTo>
                <a:lnTo>
                  <a:pt x="242952" y="648547"/>
                </a:lnTo>
                <a:lnTo>
                  <a:pt x="249384" y="643577"/>
                </a:lnTo>
                <a:lnTo>
                  <a:pt x="255816" y="638608"/>
                </a:lnTo>
                <a:lnTo>
                  <a:pt x="262540" y="634515"/>
                </a:lnTo>
                <a:lnTo>
                  <a:pt x="269265" y="630423"/>
                </a:lnTo>
                <a:lnTo>
                  <a:pt x="276574" y="626915"/>
                </a:lnTo>
                <a:lnTo>
                  <a:pt x="283883" y="623407"/>
                </a:lnTo>
                <a:lnTo>
                  <a:pt x="291776" y="620484"/>
                </a:lnTo>
                <a:lnTo>
                  <a:pt x="299085" y="617853"/>
                </a:lnTo>
                <a:lnTo>
                  <a:pt x="307272" y="615807"/>
                </a:lnTo>
                <a:lnTo>
                  <a:pt x="315165" y="613761"/>
                </a:lnTo>
                <a:lnTo>
                  <a:pt x="323351" y="612591"/>
                </a:lnTo>
                <a:lnTo>
                  <a:pt x="331538" y="611422"/>
                </a:lnTo>
                <a:lnTo>
                  <a:pt x="340308" y="610837"/>
                </a:lnTo>
                <a:lnTo>
                  <a:pt x="348494" y="610545"/>
                </a:lnTo>
                <a:lnTo>
                  <a:pt x="358142" y="610837"/>
                </a:lnTo>
                <a:lnTo>
                  <a:pt x="367498" y="611714"/>
                </a:lnTo>
                <a:lnTo>
                  <a:pt x="376854" y="612884"/>
                </a:lnTo>
                <a:lnTo>
                  <a:pt x="385624" y="614637"/>
                </a:lnTo>
                <a:lnTo>
                  <a:pt x="394688" y="616976"/>
                </a:lnTo>
                <a:lnTo>
                  <a:pt x="403166" y="619607"/>
                </a:lnTo>
                <a:lnTo>
                  <a:pt x="411644" y="622822"/>
                </a:lnTo>
                <a:lnTo>
                  <a:pt x="419538" y="626623"/>
                </a:lnTo>
                <a:lnTo>
                  <a:pt x="427724" y="630423"/>
                </a:lnTo>
                <a:lnTo>
                  <a:pt x="435326" y="634808"/>
                </a:lnTo>
                <a:lnTo>
                  <a:pt x="442927" y="639777"/>
                </a:lnTo>
                <a:lnTo>
                  <a:pt x="449944" y="645039"/>
                </a:lnTo>
                <a:lnTo>
                  <a:pt x="456960" y="650593"/>
                </a:lnTo>
                <a:lnTo>
                  <a:pt x="463392" y="656439"/>
                </a:lnTo>
                <a:lnTo>
                  <a:pt x="469532" y="662870"/>
                </a:lnTo>
                <a:lnTo>
                  <a:pt x="475672" y="669302"/>
                </a:lnTo>
                <a:lnTo>
                  <a:pt x="478887" y="655855"/>
                </a:lnTo>
                <a:lnTo>
                  <a:pt x="482688" y="642993"/>
                </a:lnTo>
                <a:lnTo>
                  <a:pt x="486781" y="630131"/>
                </a:lnTo>
                <a:lnTo>
                  <a:pt x="492044" y="617561"/>
                </a:lnTo>
                <a:lnTo>
                  <a:pt x="497306" y="604991"/>
                </a:lnTo>
                <a:lnTo>
                  <a:pt x="503153" y="593006"/>
                </a:lnTo>
                <a:lnTo>
                  <a:pt x="509585" y="581313"/>
                </a:lnTo>
                <a:lnTo>
                  <a:pt x="516310" y="569620"/>
                </a:lnTo>
                <a:lnTo>
                  <a:pt x="523911" y="558804"/>
                </a:lnTo>
                <a:lnTo>
                  <a:pt x="531512" y="547696"/>
                </a:lnTo>
                <a:lnTo>
                  <a:pt x="539699" y="537172"/>
                </a:lnTo>
                <a:lnTo>
                  <a:pt x="548177" y="527234"/>
                </a:lnTo>
                <a:lnTo>
                  <a:pt x="557240" y="517295"/>
                </a:lnTo>
                <a:lnTo>
                  <a:pt x="566596" y="507940"/>
                </a:lnTo>
                <a:lnTo>
                  <a:pt x="576536" y="498878"/>
                </a:lnTo>
                <a:lnTo>
                  <a:pt x="586476" y="490401"/>
                </a:lnTo>
                <a:lnTo>
                  <a:pt x="597001" y="482216"/>
                </a:lnTo>
                <a:lnTo>
                  <a:pt x="608111" y="474616"/>
                </a:lnTo>
                <a:lnTo>
                  <a:pt x="618928" y="467015"/>
                </a:lnTo>
                <a:lnTo>
                  <a:pt x="630623" y="460292"/>
                </a:lnTo>
                <a:lnTo>
                  <a:pt x="642317" y="453861"/>
                </a:lnTo>
                <a:lnTo>
                  <a:pt x="654596" y="448015"/>
                </a:lnTo>
                <a:lnTo>
                  <a:pt x="666876" y="442753"/>
                </a:lnTo>
                <a:lnTo>
                  <a:pt x="679447" y="437783"/>
                </a:lnTo>
                <a:lnTo>
                  <a:pt x="692311" y="433398"/>
                </a:lnTo>
                <a:lnTo>
                  <a:pt x="705467" y="429598"/>
                </a:lnTo>
                <a:lnTo>
                  <a:pt x="718624" y="426383"/>
                </a:lnTo>
                <a:lnTo>
                  <a:pt x="732365" y="423752"/>
                </a:lnTo>
                <a:lnTo>
                  <a:pt x="746106" y="421706"/>
                </a:lnTo>
                <a:lnTo>
                  <a:pt x="760139" y="419952"/>
                </a:lnTo>
                <a:lnTo>
                  <a:pt x="774172" y="419075"/>
                </a:lnTo>
                <a:lnTo>
                  <a:pt x="788498" y="418490"/>
                </a:lnTo>
                <a:lnTo>
                  <a:pt x="805162" y="419075"/>
                </a:lnTo>
                <a:lnTo>
                  <a:pt x="821242" y="420244"/>
                </a:lnTo>
                <a:lnTo>
                  <a:pt x="837322" y="422583"/>
                </a:lnTo>
                <a:lnTo>
                  <a:pt x="853110" y="425214"/>
                </a:lnTo>
                <a:lnTo>
                  <a:pt x="868312" y="428721"/>
                </a:lnTo>
                <a:lnTo>
                  <a:pt x="883808" y="433106"/>
                </a:lnTo>
                <a:lnTo>
                  <a:pt x="898718" y="438368"/>
                </a:lnTo>
                <a:lnTo>
                  <a:pt x="913336" y="443922"/>
                </a:lnTo>
                <a:lnTo>
                  <a:pt x="927369" y="450353"/>
                </a:lnTo>
                <a:lnTo>
                  <a:pt x="941403" y="457369"/>
                </a:lnTo>
                <a:lnTo>
                  <a:pt x="954851" y="464969"/>
                </a:lnTo>
                <a:lnTo>
                  <a:pt x="967423" y="473446"/>
                </a:lnTo>
                <a:lnTo>
                  <a:pt x="980287" y="482216"/>
                </a:lnTo>
                <a:lnTo>
                  <a:pt x="992274" y="491863"/>
                </a:lnTo>
                <a:lnTo>
                  <a:pt x="1003968" y="501802"/>
                </a:lnTo>
                <a:lnTo>
                  <a:pt x="1015078" y="512617"/>
                </a:lnTo>
                <a:lnTo>
                  <a:pt x="1025895" y="523726"/>
                </a:lnTo>
                <a:lnTo>
                  <a:pt x="1035835" y="535126"/>
                </a:lnTo>
                <a:lnTo>
                  <a:pt x="1045191" y="547404"/>
                </a:lnTo>
                <a:lnTo>
                  <a:pt x="1054254" y="559973"/>
                </a:lnTo>
                <a:lnTo>
                  <a:pt x="1062440" y="572836"/>
                </a:lnTo>
                <a:lnTo>
                  <a:pt x="1070334" y="586282"/>
                </a:lnTo>
                <a:lnTo>
                  <a:pt x="1077351" y="600314"/>
                </a:lnTo>
                <a:lnTo>
                  <a:pt x="1083783" y="614345"/>
                </a:lnTo>
                <a:lnTo>
                  <a:pt x="1089630" y="628961"/>
                </a:lnTo>
                <a:lnTo>
                  <a:pt x="1094600" y="643870"/>
                </a:lnTo>
                <a:lnTo>
                  <a:pt x="1098693" y="659070"/>
                </a:lnTo>
                <a:lnTo>
                  <a:pt x="1102494" y="674271"/>
                </a:lnTo>
                <a:lnTo>
                  <a:pt x="1105417" y="690056"/>
                </a:lnTo>
                <a:lnTo>
                  <a:pt x="1107464" y="706134"/>
                </a:lnTo>
                <a:lnTo>
                  <a:pt x="1108633" y="722504"/>
                </a:lnTo>
                <a:lnTo>
                  <a:pt x="1108926" y="738874"/>
                </a:lnTo>
                <a:lnTo>
                  <a:pt x="1108926" y="745013"/>
                </a:lnTo>
                <a:lnTo>
                  <a:pt x="1108926" y="750567"/>
                </a:lnTo>
                <a:lnTo>
                  <a:pt x="1108633" y="756121"/>
                </a:lnTo>
                <a:lnTo>
                  <a:pt x="1108341" y="761967"/>
                </a:lnTo>
                <a:lnTo>
                  <a:pt x="1107756" y="767521"/>
                </a:lnTo>
                <a:lnTo>
                  <a:pt x="1107172" y="773075"/>
                </a:lnTo>
                <a:lnTo>
                  <a:pt x="1106587" y="778630"/>
                </a:lnTo>
                <a:lnTo>
                  <a:pt x="1106002" y="784184"/>
                </a:lnTo>
                <a:lnTo>
                  <a:pt x="1117404" y="785353"/>
                </a:lnTo>
                <a:lnTo>
                  <a:pt x="1128806" y="786815"/>
                </a:lnTo>
                <a:lnTo>
                  <a:pt x="1138237" y="788749"/>
                </a:lnTo>
                <a:lnTo>
                  <a:pt x="1142985" y="785859"/>
                </a:lnTo>
                <a:lnTo>
                  <a:pt x="1149321" y="782818"/>
                </a:lnTo>
                <a:lnTo>
                  <a:pt x="1155656" y="779777"/>
                </a:lnTo>
                <a:lnTo>
                  <a:pt x="1162499" y="777243"/>
                </a:lnTo>
                <a:lnTo>
                  <a:pt x="1168835" y="774963"/>
                </a:lnTo>
                <a:lnTo>
                  <a:pt x="1175931" y="773189"/>
                </a:lnTo>
                <a:lnTo>
                  <a:pt x="1182773" y="771415"/>
                </a:lnTo>
                <a:lnTo>
                  <a:pt x="1189869" y="770402"/>
                </a:lnTo>
                <a:lnTo>
                  <a:pt x="1196965" y="769388"/>
                </a:lnTo>
                <a:lnTo>
                  <a:pt x="1204568" y="768881"/>
                </a:lnTo>
                <a:lnTo>
                  <a:pt x="1211664" y="768628"/>
                </a:lnTo>
                <a:lnTo>
                  <a:pt x="1220027" y="768881"/>
                </a:lnTo>
                <a:lnTo>
                  <a:pt x="1228137" y="769641"/>
                </a:lnTo>
                <a:lnTo>
                  <a:pt x="1236247" y="770655"/>
                </a:lnTo>
                <a:lnTo>
                  <a:pt x="1243849" y="772175"/>
                </a:lnTo>
                <a:lnTo>
                  <a:pt x="1251706" y="774203"/>
                </a:lnTo>
                <a:lnTo>
                  <a:pt x="1259055" y="776483"/>
                </a:lnTo>
                <a:lnTo>
                  <a:pt x="1266405" y="779270"/>
                </a:lnTo>
                <a:lnTo>
                  <a:pt x="1273247" y="782565"/>
                </a:lnTo>
                <a:lnTo>
                  <a:pt x="1280343" y="785859"/>
                </a:lnTo>
                <a:lnTo>
                  <a:pt x="1286932" y="789660"/>
                </a:lnTo>
                <a:lnTo>
                  <a:pt x="1293521" y="793967"/>
                </a:lnTo>
                <a:lnTo>
                  <a:pt x="1299604" y="798528"/>
                </a:lnTo>
                <a:lnTo>
                  <a:pt x="1305686" y="803343"/>
                </a:lnTo>
                <a:lnTo>
                  <a:pt x="1311261" y="808411"/>
                </a:lnTo>
                <a:lnTo>
                  <a:pt x="1316583" y="813985"/>
                </a:lnTo>
                <a:lnTo>
                  <a:pt x="1321905" y="819560"/>
                </a:lnTo>
                <a:lnTo>
                  <a:pt x="1324693" y="807904"/>
                </a:lnTo>
                <a:lnTo>
                  <a:pt x="1327988" y="796755"/>
                </a:lnTo>
                <a:lnTo>
                  <a:pt x="1331536" y="785605"/>
                </a:lnTo>
                <a:lnTo>
                  <a:pt x="1336097" y="774709"/>
                </a:lnTo>
                <a:lnTo>
                  <a:pt x="1340659" y="763813"/>
                </a:lnTo>
                <a:lnTo>
                  <a:pt x="1345728" y="753424"/>
                </a:lnTo>
                <a:lnTo>
                  <a:pt x="1351303" y="743288"/>
                </a:lnTo>
                <a:lnTo>
                  <a:pt x="1357132" y="733153"/>
                </a:lnTo>
                <a:lnTo>
                  <a:pt x="1363721" y="723777"/>
                </a:lnTo>
                <a:lnTo>
                  <a:pt x="1370310" y="714148"/>
                </a:lnTo>
                <a:lnTo>
                  <a:pt x="1377406" y="705026"/>
                </a:lnTo>
                <a:lnTo>
                  <a:pt x="1384756" y="696411"/>
                </a:lnTo>
                <a:lnTo>
                  <a:pt x="1392612" y="687795"/>
                </a:lnTo>
                <a:lnTo>
                  <a:pt x="1400722" y="679687"/>
                </a:lnTo>
                <a:lnTo>
                  <a:pt x="1409338" y="671831"/>
                </a:lnTo>
                <a:lnTo>
                  <a:pt x="1417955" y="664483"/>
                </a:lnTo>
                <a:lnTo>
                  <a:pt x="1427078" y="657388"/>
                </a:lnTo>
                <a:lnTo>
                  <a:pt x="1436709" y="650800"/>
                </a:lnTo>
                <a:lnTo>
                  <a:pt x="1446085" y="644211"/>
                </a:lnTo>
                <a:lnTo>
                  <a:pt x="1456223" y="638383"/>
                </a:lnTo>
                <a:lnTo>
                  <a:pt x="1466360" y="632809"/>
                </a:lnTo>
                <a:lnTo>
                  <a:pt x="1477004" y="627741"/>
                </a:lnTo>
                <a:lnTo>
                  <a:pt x="1487648" y="623180"/>
                </a:lnTo>
                <a:lnTo>
                  <a:pt x="1498545" y="618872"/>
                </a:lnTo>
                <a:lnTo>
                  <a:pt x="1509696" y="615071"/>
                </a:lnTo>
                <a:lnTo>
                  <a:pt x="1521100" y="611777"/>
                </a:lnTo>
                <a:lnTo>
                  <a:pt x="1532505" y="608990"/>
                </a:lnTo>
                <a:lnTo>
                  <a:pt x="1544416" y="606709"/>
                </a:lnTo>
                <a:lnTo>
                  <a:pt x="1556327" y="604935"/>
                </a:lnTo>
                <a:lnTo>
                  <a:pt x="1568491" y="603415"/>
                </a:lnTo>
                <a:lnTo>
                  <a:pt x="1580656" y="602655"/>
                </a:lnTo>
                <a:lnTo>
                  <a:pt x="1593074" y="602148"/>
                </a:lnTo>
                <a:lnTo>
                  <a:pt x="1597518" y="602304"/>
                </a:lnTo>
                <a:lnTo>
                  <a:pt x="1599725" y="600098"/>
                </a:lnTo>
                <a:lnTo>
                  <a:pt x="1603494" y="596131"/>
                </a:lnTo>
                <a:lnTo>
                  <a:pt x="1607660" y="592758"/>
                </a:lnTo>
                <a:lnTo>
                  <a:pt x="1612025" y="589386"/>
                </a:lnTo>
                <a:lnTo>
                  <a:pt x="1616390" y="586014"/>
                </a:lnTo>
                <a:lnTo>
                  <a:pt x="1620953" y="583237"/>
                </a:lnTo>
                <a:lnTo>
                  <a:pt x="1625516" y="580460"/>
                </a:lnTo>
                <a:lnTo>
                  <a:pt x="1630476" y="578079"/>
                </a:lnTo>
                <a:lnTo>
                  <a:pt x="1635436" y="575699"/>
                </a:lnTo>
                <a:lnTo>
                  <a:pt x="1640792" y="573715"/>
                </a:lnTo>
                <a:lnTo>
                  <a:pt x="1645752" y="571930"/>
                </a:lnTo>
                <a:lnTo>
                  <a:pt x="1651307" y="570541"/>
                </a:lnTo>
                <a:lnTo>
                  <a:pt x="1656664" y="569153"/>
                </a:lnTo>
                <a:lnTo>
                  <a:pt x="1662219" y="568359"/>
                </a:lnTo>
                <a:lnTo>
                  <a:pt x="1667774" y="567566"/>
                </a:lnTo>
                <a:lnTo>
                  <a:pt x="1673725" y="567169"/>
                </a:lnTo>
                <a:lnTo>
                  <a:pt x="1679281" y="566971"/>
                </a:lnTo>
                <a:lnTo>
                  <a:pt x="1685828" y="567169"/>
                </a:lnTo>
                <a:lnTo>
                  <a:pt x="1692176" y="567764"/>
                </a:lnTo>
                <a:lnTo>
                  <a:pt x="1698525" y="568558"/>
                </a:lnTo>
                <a:lnTo>
                  <a:pt x="1704477" y="569748"/>
                </a:lnTo>
                <a:lnTo>
                  <a:pt x="1710627" y="571335"/>
                </a:lnTo>
                <a:lnTo>
                  <a:pt x="1716380" y="573120"/>
                </a:lnTo>
                <a:lnTo>
                  <a:pt x="1722134" y="575302"/>
                </a:lnTo>
                <a:lnTo>
                  <a:pt x="1727490" y="577881"/>
                </a:lnTo>
                <a:lnTo>
                  <a:pt x="1733045" y="580460"/>
                </a:lnTo>
                <a:lnTo>
                  <a:pt x="1738204" y="583435"/>
                </a:lnTo>
                <a:lnTo>
                  <a:pt x="1743362" y="586807"/>
                </a:lnTo>
                <a:lnTo>
                  <a:pt x="1748123" y="590378"/>
                </a:lnTo>
                <a:lnTo>
                  <a:pt x="1752885" y="594147"/>
                </a:lnTo>
                <a:lnTo>
                  <a:pt x="1757249" y="598114"/>
                </a:lnTo>
                <a:lnTo>
                  <a:pt x="1761416" y="602479"/>
                </a:lnTo>
                <a:lnTo>
                  <a:pt x="1765582" y="606843"/>
                </a:lnTo>
                <a:lnTo>
                  <a:pt x="1767764" y="597718"/>
                </a:lnTo>
                <a:lnTo>
                  <a:pt x="1770343" y="588989"/>
                </a:lnTo>
                <a:lnTo>
                  <a:pt x="1773121" y="580261"/>
                </a:lnTo>
                <a:lnTo>
                  <a:pt x="1776692" y="571732"/>
                </a:lnTo>
                <a:lnTo>
                  <a:pt x="1780263" y="563202"/>
                </a:lnTo>
                <a:lnTo>
                  <a:pt x="1784231" y="555069"/>
                </a:lnTo>
                <a:lnTo>
                  <a:pt x="1788596" y="547134"/>
                </a:lnTo>
                <a:lnTo>
                  <a:pt x="1793159" y="539199"/>
                </a:lnTo>
                <a:lnTo>
                  <a:pt x="1798317" y="531860"/>
                </a:lnTo>
                <a:lnTo>
                  <a:pt x="1803475" y="524322"/>
                </a:lnTo>
                <a:lnTo>
                  <a:pt x="1809030" y="517181"/>
                </a:lnTo>
                <a:lnTo>
                  <a:pt x="1814784" y="510436"/>
                </a:lnTo>
                <a:lnTo>
                  <a:pt x="1820934" y="503692"/>
                </a:lnTo>
                <a:lnTo>
                  <a:pt x="1827282" y="497344"/>
                </a:lnTo>
                <a:lnTo>
                  <a:pt x="1834028" y="491195"/>
                </a:lnTo>
                <a:lnTo>
                  <a:pt x="1840773" y="485442"/>
                </a:lnTo>
                <a:lnTo>
                  <a:pt x="1847915" y="479888"/>
                </a:lnTo>
                <a:lnTo>
                  <a:pt x="1855454" y="474730"/>
                </a:lnTo>
                <a:lnTo>
                  <a:pt x="1862795" y="469573"/>
                </a:lnTo>
                <a:lnTo>
                  <a:pt x="1870731" y="465010"/>
                </a:lnTo>
                <a:lnTo>
                  <a:pt x="1878666" y="460646"/>
                </a:lnTo>
                <a:lnTo>
                  <a:pt x="1886999" y="456679"/>
                </a:lnTo>
                <a:lnTo>
                  <a:pt x="1895331" y="453108"/>
                </a:lnTo>
                <a:lnTo>
                  <a:pt x="1903862" y="449736"/>
                </a:lnTo>
                <a:lnTo>
                  <a:pt x="1912592" y="446761"/>
                </a:lnTo>
                <a:lnTo>
                  <a:pt x="1921519" y="444182"/>
                </a:lnTo>
                <a:lnTo>
                  <a:pt x="1930447" y="442000"/>
                </a:lnTo>
                <a:lnTo>
                  <a:pt x="1939772" y="440214"/>
                </a:lnTo>
                <a:lnTo>
                  <a:pt x="1949096" y="438826"/>
                </a:lnTo>
                <a:lnTo>
                  <a:pt x="1958619" y="437636"/>
                </a:lnTo>
                <a:lnTo>
                  <a:pt x="1968142" y="437041"/>
                </a:lnTo>
                <a:lnTo>
                  <a:pt x="1977863" y="436644"/>
                </a:lnTo>
                <a:lnTo>
                  <a:pt x="1989172" y="437041"/>
                </a:lnTo>
                <a:lnTo>
                  <a:pt x="2000083" y="437834"/>
                </a:lnTo>
                <a:lnTo>
                  <a:pt x="2010995" y="439421"/>
                </a:lnTo>
                <a:lnTo>
                  <a:pt x="2021708" y="441206"/>
                </a:lnTo>
                <a:lnTo>
                  <a:pt x="2032025" y="443587"/>
                </a:lnTo>
                <a:lnTo>
                  <a:pt x="2042540" y="446562"/>
                </a:lnTo>
                <a:lnTo>
                  <a:pt x="2052658" y="450133"/>
                </a:lnTo>
                <a:lnTo>
                  <a:pt x="2054993" y="451020"/>
                </a:lnTo>
                <a:lnTo>
                  <a:pt x="2181366" y="196910"/>
                </a:lnTo>
                <a:lnTo>
                  <a:pt x="2192145" y="202270"/>
                </a:lnTo>
                <a:lnTo>
                  <a:pt x="2193610" y="200774"/>
                </a:lnTo>
                <a:lnTo>
                  <a:pt x="2218746" y="183460"/>
                </a:lnTo>
                <a:lnTo>
                  <a:pt x="2233318" y="162761"/>
                </a:lnTo>
                <a:cubicBezTo>
                  <a:pt x="2251400" y="140827"/>
                  <a:pt x="2263879" y="136806"/>
                  <a:pt x="2281035" y="124387"/>
                </a:cubicBezTo>
                <a:cubicBezTo>
                  <a:pt x="2303910" y="107828"/>
                  <a:pt x="2325557" y="98195"/>
                  <a:pt x="2350233" y="92287"/>
                </a:cubicBezTo>
                <a:cubicBezTo>
                  <a:pt x="2374908" y="86379"/>
                  <a:pt x="2404212" y="84545"/>
                  <a:pt x="2429089" y="88935"/>
                </a:cubicBezTo>
                <a:cubicBezTo>
                  <a:pt x="2441527" y="91131"/>
                  <a:pt x="2456287" y="98471"/>
                  <a:pt x="2469758" y="105171"/>
                </a:cubicBezTo>
                <a:lnTo>
                  <a:pt x="2481729" y="109672"/>
                </a:lnTo>
                <a:lnTo>
                  <a:pt x="2485661" y="104243"/>
                </a:lnTo>
                <a:lnTo>
                  <a:pt x="2520017" y="79600"/>
                </a:lnTo>
                <a:lnTo>
                  <a:pt x="2541964" y="49291"/>
                </a:lnTo>
                <a:cubicBezTo>
                  <a:pt x="2552420" y="38971"/>
                  <a:pt x="2565364" y="29891"/>
                  <a:pt x="2579202" y="22582"/>
                </a:cubicBezTo>
                <a:cubicBezTo>
                  <a:pt x="2593039" y="15274"/>
                  <a:pt x="2610255" y="9203"/>
                  <a:pt x="2624989" y="5445"/>
                </a:cubicBezTo>
                <a:cubicBezTo>
                  <a:pt x="2639722" y="1688"/>
                  <a:pt x="2652684" y="-292"/>
                  <a:pt x="2667604" y="34"/>
                </a:cubicBezTo>
                <a:close/>
              </a:path>
            </a:pathLst>
          </a:custGeom>
          <a:solidFill>
            <a:schemeClr val="accent1"/>
          </a:solidFill>
          <a:ln>
            <a:noFill/>
          </a:ln>
          <a:effectLst>
            <a:outerShdw blurRad="50800" dist="38100" dir="18900000" algn="bl" rotWithShape="0">
              <a:srgbClr val="000000">
                <a:alpha val="39999"/>
              </a:srgbClr>
            </a:outerShdw>
          </a:effectLst>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7" name="Freeform 304"/>
          <p:cNvSpPr>
            <a:spLocks/>
          </p:cNvSpPr>
          <p:nvPr/>
        </p:nvSpPr>
        <p:spPr bwMode="auto">
          <a:xfrm>
            <a:off x="895350" y="3876675"/>
            <a:ext cx="3687763" cy="1712913"/>
          </a:xfrm>
          <a:custGeom>
            <a:avLst/>
            <a:gdLst>
              <a:gd name="T0" fmla="*/ 989 w 1504"/>
              <a:gd name="T1" fmla="*/ 0 h 697"/>
              <a:gd name="T2" fmla="*/ 131 w 1504"/>
              <a:gd name="T3" fmla="*/ 0 h 697"/>
              <a:gd name="T4" fmla="*/ 90 w 1504"/>
              <a:gd name="T5" fmla="*/ 11 h 697"/>
              <a:gd name="T6" fmla="*/ 53 w 1504"/>
              <a:gd name="T7" fmla="*/ 33 h 697"/>
              <a:gd name="T8" fmla="*/ 25 w 1504"/>
              <a:gd name="T9" fmla="*/ 64 h 697"/>
              <a:gd name="T10" fmla="*/ 6 w 1504"/>
              <a:gd name="T11" fmla="*/ 103 h 697"/>
              <a:gd name="T12" fmla="*/ 0 w 1504"/>
              <a:gd name="T13" fmla="*/ 147 h 697"/>
              <a:gd name="T14" fmla="*/ 0 w 1504"/>
              <a:gd name="T15" fmla="*/ 279 h 697"/>
              <a:gd name="T16" fmla="*/ 12 w 1504"/>
              <a:gd name="T17" fmla="*/ 321 h 697"/>
              <a:gd name="T18" fmla="*/ 33 w 1504"/>
              <a:gd name="T19" fmla="*/ 357 h 697"/>
              <a:gd name="T20" fmla="*/ 65 w 1504"/>
              <a:gd name="T21" fmla="*/ 385 h 697"/>
              <a:gd name="T22" fmla="*/ 103 w 1504"/>
              <a:gd name="T23" fmla="*/ 404 h 697"/>
              <a:gd name="T24" fmla="*/ 147 w 1504"/>
              <a:gd name="T25" fmla="*/ 411 h 697"/>
              <a:gd name="T26" fmla="*/ 588 w 1504"/>
              <a:gd name="T27" fmla="*/ 411 h 697"/>
              <a:gd name="T28" fmla="*/ 611 w 1504"/>
              <a:gd name="T29" fmla="*/ 416 h 697"/>
              <a:gd name="T30" fmla="*/ 636 w 1504"/>
              <a:gd name="T31" fmla="*/ 436 h 697"/>
              <a:gd name="T32" fmla="*/ 646 w 1504"/>
              <a:gd name="T33" fmla="*/ 470 h 697"/>
              <a:gd name="T34" fmla="*/ 642 w 1504"/>
              <a:gd name="T35" fmla="*/ 493 h 697"/>
              <a:gd name="T36" fmla="*/ 620 w 1504"/>
              <a:gd name="T37" fmla="*/ 519 h 697"/>
              <a:gd name="T38" fmla="*/ 588 w 1504"/>
              <a:gd name="T39" fmla="*/ 528 h 697"/>
              <a:gd name="T40" fmla="*/ 345 w 1504"/>
              <a:gd name="T41" fmla="*/ 529 h 697"/>
              <a:gd name="T42" fmla="*/ 327 w 1504"/>
              <a:gd name="T43" fmla="*/ 531 h 697"/>
              <a:gd name="T44" fmla="*/ 304 w 1504"/>
              <a:gd name="T45" fmla="*/ 540 h 697"/>
              <a:gd name="T46" fmla="*/ 286 w 1504"/>
              <a:gd name="T47" fmla="*/ 554 h 697"/>
              <a:gd name="T48" fmla="*/ 271 w 1504"/>
              <a:gd name="T49" fmla="*/ 573 h 697"/>
              <a:gd name="T50" fmla="*/ 263 w 1504"/>
              <a:gd name="T51" fmla="*/ 596 h 697"/>
              <a:gd name="T52" fmla="*/ 261 w 1504"/>
              <a:gd name="T53" fmla="*/ 614 h 697"/>
              <a:gd name="T54" fmla="*/ 265 w 1504"/>
              <a:gd name="T55" fmla="*/ 639 h 697"/>
              <a:gd name="T56" fmla="*/ 275 w 1504"/>
              <a:gd name="T57" fmla="*/ 661 h 697"/>
              <a:gd name="T58" fmla="*/ 291 w 1504"/>
              <a:gd name="T59" fmla="*/ 678 h 697"/>
              <a:gd name="T60" fmla="*/ 312 w 1504"/>
              <a:gd name="T61" fmla="*/ 691 h 697"/>
              <a:gd name="T62" fmla="*/ 336 w 1504"/>
              <a:gd name="T63" fmla="*/ 697 h 697"/>
              <a:gd name="T64" fmla="*/ 1150 w 1504"/>
              <a:gd name="T65" fmla="*/ 697 h 697"/>
              <a:gd name="T66" fmla="*/ 1175 w 1504"/>
              <a:gd name="T67" fmla="*/ 694 h 697"/>
              <a:gd name="T68" fmla="*/ 1197 w 1504"/>
              <a:gd name="T69" fmla="*/ 683 h 697"/>
              <a:gd name="T70" fmla="*/ 1214 w 1504"/>
              <a:gd name="T71" fmla="*/ 668 h 697"/>
              <a:gd name="T72" fmla="*/ 1227 w 1504"/>
              <a:gd name="T73" fmla="*/ 648 h 697"/>
              <a:gd name="T74" fmla="*/ 1233 w 1504"/>
              <a:gd name="T75" fmla="*/ 624 h 697"/>
              <a:gd name="T76" fmla="*/ 1234 w 1504"/>
              <a:gd name="T77" fmla="*/ 616 h 697"/>
              <a:gd name="T78" fmla="*/ 1235 w 1504"/>
              <a:gd name="T79" fmla="*/ 396 h 697"/>
              <a:gd name="T80" fmla="*/ 1248 w 1504"/>
              <a:gd name="T81" fmla="*/ 372 h 697"/>
              <a:gd name="T82" fmla="*/ 1271 w 1504"/>
              <a:gd name="T83" fmla="*/ 358 h 697"/>
              <a:gd name="T84" fmla="*/ 1406 w 1504"/>
              <a:gd name="T85" fmla="*/ 357 h 697"/>
              <a:gd name="T86" fmla="*/ 1435 w 1504"/>
              <a:gd name="T87" fmla="*/ 353 h 697"/>
              <a:gd name="T88" fmla="*/ 1460 w 1504"/>
              <a:gd name="T89" fmla="*/ 340 h 697"/>
              <a:gd name="T90" fmla="*/ 1481 w 1504"/>
              <a:gd name="T91" fmla="*/ 322 h 697"/>
              <a:gd name="T92" fmla="*/ 1496 w 1504"/>
              <a:gd name="T93" fmla="*/ 297 h 697"/>
              <a:gd name="T94" fmla="*/ 1503 w 1504"/>
              <a:gd name="T95" fmla="*/ 269 h 697"/>
              <a:gd name="T96" fmla="*/ 1504 w 1504"/>
              <a:gd name="T97" fmla="*/ 98 h 697"/>
              <a:gd name="T98" fmla="*/ 1499 w 1504"/>
              <a:gd name="T99" fmla="*/ 68 h 697"/>
              <a:gd name="T100" fmla="*/ 1488 w 1504"/>
              <a:gd name="T101" fmla="*/ 42 h 697"/>
              <a:gd name="T102" fmla="*/ 1468 w 1504"/>
              <a:gd name="T103" fmla="*/ 21 h 697"/>
              <a:gd name="T104" fmla="*/ 1444 w 1504"/>
              <a:gd name="T105" fmla="*/ 7 h 697"/>
              <a:gd name="T106" fmla="*/ 1416 w 1504"/>
              <a:gd name="T107" fmla="*/ 0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04" h="697">
                <a:moveTo>
                  <a:pt x="1406" y="0"/>
                </a:moveTo>
                <a:lnTo>
                  <a:pt x="1073" y="0"/>
                </a:lnTo>
                <a:lnTo>
                  <a:pt x="989" y="0"/>
                </a:lnTo>
                <a:lnTo>
                  <a:pt x="147" y="0"/>
                </a:lnTo>
                <a:lnTo>
                  <a:pt x="147" y="0"/>
                </a:lnTo>
                <a:lnTo>
                  <a:pt x="131" y="0"/>
                </a:lnTo>
                <a:lnTo>
                  <a:pt x="117" y="3"/>
                </a:lnTo>
                <a:lnTo>
                  <a:pt x="103" y="6"/>
                </a:lnTo>
                <a:lnTo>
                  <a:pt x="90" y="11"/>
                </a:lnTo>
                <a:lnTo>
                  <a:pt x="76" y="17"/>
                </a:lnTo>
                <a:lnTo>
                  <a:pt x="65" y="25"/>
                </a:lnTo>
                <a:lnTo>
                  <a:pt x="53" y="33"/>
                </a:lnTo>
                <a:lnTo>
                  <a:pt x="43" y="42"/>
                </a:lnTo>
                <a:lnTo>
                  <a:pt x="33" y="53"/>
                </a:lnTo>
                <a:lnTo>
                  <a:pt x="25" y="64"/>
                </a:lnTo>
                <a:lnTo>
                  <a:pt x="18" y="76"/>
                </a:lnTo>
                <a:lnTo>
                  <a:pt x="12" y="89"/>
                </a:lnTo>
                <a:lnTo>
                  <a:pt x="6" y="103"/>
                </a:lnTo>
                <a:lnTo>
                  <a:pt x="3" y="116"/>
                </a:lnTo>
                <a:lnTo>
                  <a:pt x="0" y="131"/>
                </a:lnTo>
                <a:lnTo>
                  <a:pt x="0" y="147"/>
                </a:lnTo>
                <a:lnTo>
                  <a:pt x="0" y="264"/>
                </a:lnTo>
                <a:lnTo>
                  <a:pt x="0" y="264"/>
                </a:lnTo>
                <a:lnTo>
                  <a:pt x="0" y="279"/>
                </a:lnTo>
                <a:lnTo>
                  <a:pt x="3" y="294"/>
                </a:lnTo>
                <a:lnTo>
                  <a:pt x="6" y="307"/>
                </a:lnTo>
                <a:lnTo>
                  <a:pt x="12" y="321"/>
                </a:lnTo>
                <a:lnTo>
                  <a:pt x="18" y="334"/>
                </a:lnTo>
                <a:lnTo>
                  <a:pt x="25" y="346"/>
                </a:lnTo>
                <a:lnTo>
                  <a:pt x="33" y="357"/>
                </a:lnTo>
                <a:lnTo>
                  <a:pt x="43" y="368"/>
                </a:lnTo>
                <a:lnTo>
                  <a:pt x="53" y="377"/>
                </a:lnTo>
                <a:lnTo>
                  <a:pt x="65" y="385"/>
                </a:lnTo>
                <a:lnTo>
                  <a:pt x="76" y="393"/>
                </a:lnTo>
                <a:lnTo>
                  <a:pt x="90" y="399"/>
                </a:lnTo>
                <a:lnTo>
                  <a:pt x="103" y="404"/>
                </a:lnTo>
                <a:lnTo>
                  <a:pt x="117" y="408"/>
                </a:lnTo>
                <a:lnTo>
                  <a:pt x="131" y="410"/>
                </a:lnTo>
                <a:lnTo>
                  <a:pt x="147" y="411"/>
                </a:lnTo>
                <a:lnTo>
                  <a:pt x="407" y="411"/>
                </a:lnTo>
                <a:lnTo>
                  <a:pt x="573" y="411"/>
                </a:lnTo>
                <a:lnTo>
                  <a:pt x="588" y="411"/>
                </a:lnTo>
                <a:lnTo>
                  <a:pt x="588" y="411"/>
                </a:lnTo>
                <a:lnTo>
                  <a:pt x="599" y="412"/>
                </a:lnTo>
                <a:lnTo>
                  <a:pt x="611" y="416"/>
                </a:lnTo>
                <a:lnTo>
                  <a:pt x="620" y="421"/>
                </a:lnTo>
                <a:lnTo>
                  <a:pt x="630" y="428"/>
                </a:lnTo>
                <a:lnTo>
                  <a:pt x="636" y="436"/>
                </a:lnTo>
                <a:lnTo>
                  <a:pt x="642" y="447"/>
                </a:lnTo>
                <a:lnTo>
                  <a:pt x="645" y="458"/>
                </a:lnTo>
                <a:lnTo>
                  <a:pt x="646" y="470"/>
                </a:lnTo>
                <a:lnTo>
                  <a:pt x="646" y="470"/>
                </a:lnTo>
                <a:lnTo>
                  <a:pt x="645" y="481"/>
                </a:lnTo>
                <a:lnTo>
                  <a:pt x="642" y="493"/>
                </a:lnTo>
                <a:lnTo>
                  <a:pt x="636" y="502"/>
                </a:lnTo>
                <a:lnTo>
                  <a:pt x="630" y="511"/>
                </a:lnTo>
                <a:lnTo>
                  <a:pt x="620" y="519"/>
                </a:lnTo>
                <a:lnTo>
                  <a:pt x="611" y="524"/>
                </a:lnTo>
                <a:lnTo>
                  <a:pt x="599" y="527"/>
                </a:lnTo>
                <a:lnTo>
                  <a:pt x="588" y="528"/>
                </a:lnTo>
                <a:lnTo>
                  <a:pt x="573" y="528"/>
                </a:lnTo>
                <a:lnTo>
                  <a:pt x="573" y="529"/>
                </a:lnTo>
                <a:lnTo>
                  <a:pt x="345" y="529"/>
                </a:lnTo>
                <a:lnTo>
                  <a:pt x="345" y="529"/>
                </a:lnTo>
                <a:lnTo>
                  <a:pt x="336" y="529"/>
                </a:lnTo>
                <a:lnTo>
                  <a:pt x="327" y="531"/>
                </a:lnTo>
                <a:lnTo>
                  <a:pt x="320" y="533"/>
                </a:lnTo>
                <a:lnTo>
                  <a:pt x="312" y="535"/>
                </a:lnTo>
                <a:lnTo>
                  <a:pt x="304" y="540"/>
                </a:lnTo>
                <a:lnTo>
                  <a:pt x="298" y="544"/>
                </a:lnTo>
                <a:lnTo>
                  <a:pt x="291" y="548"/>
                </a:lnTo>
                <a:lnTo>
                  <a:pt x="286" y="554"/>
                </a:lnTo>
                <a:lnTo>
                  <a:pt x="279" y="559"/>
                </a:lnTo>
                <a:lnTo>
                  <a:pt x="275" y="567"/>
                </a:lnTo>
                <a:lnTo>
                  <a:pt x="271" y="573"/>
                </a:lnTo>
                <a:lnTo>
                  <a:pt x="267" y="580"/>
                </a:lnTo>
                <a:lnTo>
                  <a:pt x="265" y="589"/>
                </a:lnTo>
                <a:lnTo>
                  <a:pt x="263" y="596"/>
                </a:lnTo>
                <a:lnTo>
                  <a:pt x="261" y="604"/>
                </a:lnTo>
                <a:lnTo>
                  <a:pt x="261" y="614"/>
                </a:lnTo>
                <a:lnTo>
                  <a:pt x="261" y="614"/>
                </a:lnTo>
                <a:lnTo>
                  <a:pt x="261" y="622"/>
                </a:lnTo>
                <a:lnTo>
                  <a:pt x="263" y="630"/>
                </a:lnTo>
                <a:lnTo>
                  <a:pt x="265" y="639"/>
                </a:lnTo>
                <a:lnTo>
                  <a:pt x="267" y="646"/>
                </a:lnTo>
                <a:lnTo>
                  <a:pt x="271" y="653"/>
                </a:lnTo>
                <a:lnTo>
                  <a:pt x="275" y="661"/>
                </a:lnTo>
                <a:lnTo>
                  <a:pt x="279" y="667"/>
                </a:lnTo>
                <a:lnTo>
                  <a:pt x="286" y="673"/>
                </a:lnTo>
                <a:lnTo>
                  <a:pt x="291" y="678"/>
                </a:lnTo>
                <a:lnTo>
                  <a:pt x="298" y="683"/>
                </a:lnTo>
                <a:lnTo>
                  <a:pt x="304" y="688"/>
                </a:lnTo>
                <a:lnTo>
                  <a:pt x="312" y="691"/>
                </a:lnTo>
                <a:lnTo>
                  <a:pt x="320" y="694"/>
                </a:lnTo>
                <a:lnTo>
                  <a:pt x="327" y="696"/>
                </a:lnTo>
                <a:lnTo>
                  <a:pt x="336" y="697"/>
                </a:lnTo>
                <a:lnTo>
                  <a:pt x="345" y="697"/>
                </a:lnTo>
                <a:lnTo>
                  <a:pt x="1150" y="697"/>
                </a:lnTo>
                <a:lnTo>
                  <a:pt x="1150" y="697"/>
                </a:lnTo>
                <a:lnTo>
                  <a:pt x="1158" y="697"/>
                </a:lnTo>
                <a:lnTo>
                  <a:pt x="1167" y="696"/>
                </a:lnTo>
                <a:lnTo>
                  <a:pt x="1175" y="694"/>
                </a:lnTo>
                <a:lnTo>
                  <a:pt x="1182" y="691"/>
                </a:lnTo>
                <a:lnTo>
                  <a:pt x="1189" y="688"/>
                </a:lnTo>
                <a:lnTo>
                  <a:pt x="1197" y="683"/>
                </a:lnTo>
                <a:lnTo>
                  <a:pt x="1203" y="679"/>
                </a:lnTo>
                <a:lnTo>
                  <a:pt x="1209" y="674"/>
                </a:lnTo>
                <a:lnTo>
                  <a:pt x="1214" y="668"/>
                </a:lnTo>
                <a:lnTo>
                  <a:pt x="1220" y="662"/>
                </a:lnTo>
                <a:lnTo>
                  <a:pt x="1224" y="655"/>
                </a:lnTo>
                <a:lnTo>
                  <a:pt x="1227" y="648"/>
                </a:lnTo>
                <a:lnTo>
                  <a:pt x="1230" y="640"/>
                </a:lnTo>
                <a:lnTo>
                  <a:pt x="1232" y="632"/>
                </a:lnTo>
                <a:lnTo>
                  <a:pt x="1233" y="624"/>
                </a:lnTo>
                <a:lnTo>
                  <a:pt x="1234" y="616"/>
                </a:lnTo>
                <a:lnTo>
                  <a:pt x="1234" y="616"/>
                </a:lnTo>
                <a:lnTo>
                  <a:pt x="1234" y="616"/>
                </a:lnTo>
                <a:lnTo>
                  <a:pt x="1234" y="405"/>
                </a:lnTo>
                <a:lnTo>
                  <a:pt x="1234" y="405"/>
                </a:lnTo>
                <a:lnTo>
                  <a:pt x="1235" y="396"/>
                </a:lnTo>
                <a:lnTo>
                  <a:pt x="1237" y="387"/>
                </a:lnTo>
                <a:lnTo>
                  <a:pt x="1242" y="379"/>
                </a:lnTo>
                <a:lnTo>
                  <a:pt x="1248" y="372"/>
                </a:lnTo>
                <a:lnTo>
                  <a:pt x="1254" y="367"/>
                </a:lnTo>
                <a:lnTo>
                  <a:pt x="1262" y="361"/>
                </a:lnTo>
                <a:lnTo>
                  <a:pt x="1271" y="358"/>
                </a:lnTo>
                <a:lnTo>
                  <a:pt x="1280" y="357"/>
                </a:lnTo>
                <a:lnTo>
                  <a:pt x="1406" y="357"/>
                </a:lnTo>
                <a:lnTo>
                  <a:pt x="1406" y="357"/>
                </a:lnTo>
                <a:lnTo>
                  <a:pt x="1416" y="356"/>
                </a:lnTo>
                <a:lnTo>
                  <a:pt x="1426" y="355"/>
                </a:lnTo>
                <a:lnTo>
                  <a:pt x="1435" y="353"/>
                </a:lnTo>
                <a:lnTo>
                  <a:pt x="1444" y="349"/>
                </a:lnTo>
                <a:lnTo>
                  <a:pt x="1452" y="345"/>
                </a:lnTo>
                <a:lnTo>
                  <a:pt x="1460" y="340"/>
                </a:lnTo>
                <a:lnTo>
                  <a:pt x="1468" y="334"/>
                </a:lnTo>
                <a:lnTo>
                  <a:pt x="1475" y="328"/>
                </a:lnTo>
                <a:lnTo>
                  <a:pt x="1481" y="322"/>
                </a:lnTo>
                <a:lnTo>
                  <a:pt x="1488" y="313"/>
                </a:lnTo>
                <a:lnTo>
                  <a:pt x="1492" y="306"/>
                </a:lnTo>
                <a:lnTo>
                  <a:pt x="1496" y="297"/>
                </a:lnTo>
                <a:lnTo>
                  <a:pt x="1499" y="288"/>
                </a:lnTo>
                <a:lnTo>
                  <a:pt x="1502" y="279"/>
                </a:lnTo>
                <a:lnTo>
                  <a:pt x="1503" y="269"/>
                </a:lnTo>
                <a:lnTo>
                  <a:pt x="1504" y="259"/>
                </a:lnTo>
                <a:lnTo>
                  <a:pt x="1504" y="98"/>
                </a:lnTo>
                <a:lnTo>
                  <a:pt x="1504" y="98"/>
                </a:lnTo>
                <a:lnTo>
                  <a:pt x="1503" y="87"/>
                </a:lnTo>
                <a:lnTo>
                  <a:pt x="1502" y="78"/>
                </a:lnTo>
                <a:lnTo>
                  <a:pt x="1499" y="68"/>
                </a:lnTo>
                <a:lnTo>
                  <a:pt x="1496" y="59"/>
                </a:lnTo>
                <a:lnTo>
                  <a:pt x="1492" y="51"/>
                </a:lnTo>
                <a:lnTo>
                  <a:pt x="1488" y="42"/>
                </a:lnTo>
                <a:lnTo>
                  <a:pt x="1481" y="35"/>
                </a:lnTo>
                <a:lnTo>
                  <a:pt x="1475" y="28"/>
                </a:lnTo>
                <a:lnTo>
                  <a:pt x="1468" y="21"/>
                </a:lnTo>
                <a:lnTo>
                  <a:pt x="1460" y="16"/>
                </a:lnTo>
                <a:lnTo>
                  <a:pt x="1452" y="11"/>
                </a:lnTo>
                <a:lnTo>
                  <a:pt x="1444" y="7"/>
                </a:lnTo>
                <a:lnTo>
                  <a:pt x="1435" y="4"/>
                </a:lnTo>
                <a:lnTo>
                  <a:pt x="1426" y="2"/>
                </a:lnTo>
                <a:lnTo>
                  <a:pt x="1416" y="0"/>
                </a:lnTo>
                <a:lnTo>
                  <a:pt x="14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grpSp>
        <p:nvGrpSpPr>
          <p:cNvPr id="3" name="Group 2"/>
          <p:cNvGrpSpPr>
            <a:grpSpLocks/>
          </p:cNvGrpSpPr>
          <p:nvPr/>
        </p:nvGrpSpPr>
        <p:grpSpPr bwMode="auto">
          <a:xfrm>
            <a:off x="895350" y="3789363"/>
            <a:ext cx="3687763" cy="1800225"/>
            <a:chOff x="895379" y="3788789"/>
            <a:chExt cx="3688484" cy="1800162"/>
          </a:xfrm>
        </p:grpSpPr>
        <p:sp>
          <p:nvSpPr>
            <p:cNvPr id="76" name="Freeform 303"/>
            <p:cNvSpPr>
              <a:spLocks/>
            </p:cNvSpPr>
            <p:nvPr/>
          </p:nvSpPr>
          <p:spPr bwMode="auto">
            <a:xfrm>
              <a:off x="895379" y="3877686"/>
              <a:ext cx="3688484" cy="1711265"/>
            </a:xfrm>
            <a:custGeom>
              <a:avLst/>
              <a:gdLst>
                <a:gd name="T0" fmla="*/ 989 w 1504"/>
                <a:gd name="T1" fmla="*/ 0 h 697"/>
                <a:gd name="T2" fmla="*/ 131 w 1504"/>
                <a:gd name="T3" fmla="*/ 0 h 697"/>
                <a:gd name="T4" fmla="*/ 90 w 1504"/>
                <a:gd name="T5" fmla="*/ 11 h 697"/>
                <a:gd name="T6" fmla="*/ 53 w 1504"/>
                <a:gd name="T7" fmla="*/ 33 h 697"/>
                <a:gd name="T8" fmla="*/ 25 w 1504"/>
                <a:gd name="T9" fmla="*/ 64 h 697"/>
                <a:gd name="T10" fmla="*/ 6 w 1504"/>
                <a:gd name="T11" fmla="*/ 103 h 697"/>
                <a:gd name="T12" fmla="*/ 0 w 1504"/>
                <a:gd name="T13" fmla="*/ 147 h 697"/>
                <a:gd name="T14" fmla="*/ 0 w 1504"/>
                <a:gd name="T15" fmla="*/ 279 h 697"/>
                <a:gd name="T16" fmla="*/ 12 w 1504"/>
                <a:gd name="T17" fmla="*/ 321 h 697"/>
                <a:gd name="T18" fmla="*/ 33 w 1504"/>
                <a:gd name="T19" fmla="*/ 357 h 697"/>
                <a:gd name="T20" fmla="*/ 65 w 1504"/>
                <a:gd name="T21" fmla="*/ 385 h 697"/>
                <a:gd name="T22" fmla="*/ 103 w 1504"/>
                <a:gd name="T23" fmla="*/ 404 h 697"/>
                <a:gd name="T24" fmla="*/ 147 w 1504"/>
                <a:gd name="T25" fmla="*/ 411 h 697"/>
                <a:gd name="T26" fmla="*/ 588 w 1504"/>
                <a:gd name="T27" fmla="*/ 411 h 697"/>
                <a:gd name="T28" fmla="*/ 611 w 1504"/>
                <a:gd name="T29" fmla="*/ 416 h 697"/>
                <a:gd name="T30" fmla="*/ 636 w 1504"/>
                <a:gd name="T31" fmla="*/ 436 h 697"/>
                <a:gd name="T32" fmla="*/ 646 w 1504"/>
                <a:gd name="T33" fmla="*/ 470 h 697"/>
                <a:gd name="T34" fmla="*/ 642 w 1504"/>
                <a:gd name="T35" fmla="*/ 493 h 697"/>
                <a:gd name="T36" fmla="*/ 620 w 1504"/>
                <a:gd name="T37" fmla="*/ 519 h 697"/>
                <a:gd name="T38" fmla="*/ 588 w 1504"/>
                <a:gd name="T39" fmla="*/ 528 h 697"/>
                <a:gd name="T40" fmla="*/ 345 w 1504"/>
                <a:gd name="T41" fmla="*/ 529 h 697"/>
                <a:gd name="T42" fmla="*/ 327 w 1504"/>
                <a:gd name="T43" fmla="*/ 531 h 697"/>
                <a:gd name="T44" fmla="*/ 304 w 1504"/>
                <a:gd name="T45" fmla="*/ 540 h 697"/>
                <a:gd name="T46" fmla="*/ 286 w 1504"/>
                <a:gd name="T47" fmla="*/ 554 h 697"/>
                <a:gd name="T48" fmla="*/ 271 w 1504"/>
                <a:gd name="T49" fmla="*/ 573 h 697"/>
                <a:gd name="T50" fmla="*/ 263 w 1504"/>
                <a:gd name="T51" fmla="*/ 596 h 697"/>
                <a:gd name="T52" fmla="*/ 261 w 1504"/>
                <a:gd name="T53" fmla="*/ 614 h 697"/>
                <a:gd name="T54" fmla="*/ 265 w 1504"/>
                <a:gd name="T55" fmla="*/ 639 h 697"/>
                <a:gd name="T56" fmla="*/ 275 w 1504"/>
                <a:gd name="T57" fmla="*/ 661 h 697"/>
                <a:gd name="T58" fmla="*/ 291 w 1504"/>
                <a:gd name="T59" fmla="*/ 678 h 697"/>
                <a:gd name="T60" fmla="*/ 312 w 1504"/>
                <a:gd name="T61" fmla="*/ 691 h 697"/>
                <a:gd name="T62" fmla="*/ 336 w 1504"/>
                <a:gd name="T63" fmla="*/ 697 h 697"/>
                <a:gd name="T64" fmla="*/ 1150 w 1504"/>
                <a:gd name="T65" fmla="*/ 697 h 697"/>
                <a:gd name="T66" fmla="*/ 1175 w 1504"/>
                <a:gd name="T67" fmla="*/ 694 h 697"/>
                <a:gd name="T68" fmla="*/ 1197 w 1504"/>
                <a:gd name="T69" fmla="*/ 683 h 697"/>
                <a:gd name="T70" fmla="*/ 1214 w 1504"/>
                <a:gd name="T71" fmla="*/ 668 h 697"/>
                <a:gd name="T72" fmla="*/ 1227 w 1504"/>
                <a:gd name="T73" fmla="*/ 648 h 697"/>
                <a:gd name="T74" fmla="*/ 1233 w 1504"/>
                <a:gd name="T75" fmla="*/ 624 h 697"/>
                <a:gd name="T76" fmla="*/ 1234 w 1504"/>
                <a:gd name="T77" fmla="*/ 616 h 697"/>
                <a:gd name="T78" fmla="*/ 1235 w 1504"/>
                <a:gd name="T79" fmla="*/ 396 h 697"/>
                <a:gd name="T80" fmla="*/ 1248 w 1504"/>
                <a:gd name="T81" fmla="*/ 372 h 697"/>
                <a:gd name="T82" fmla="*/ 1271 w 1504"/>
                <a:gd name="T83" fmla="*/ 358 h 697"/>
                <a:gd name="T84" fmla="*/ 1406 w 1504"/>
                <a:gd name="T85" fmla="*/ 357 h 697"/>
                <a:gd name="T86" fmla="*/ 1435 w 1504"/>
                <a:gd name="T87" fmla="*/ 353 h 697"/>
                <a:gd name="T88" fmla="*/ 1460 w 1504"/>
                <a:gd name="T89" fmla="*/ 340 h 697"/>
                <a:gd name="T90" fmla="*/ 1481 w 1504"/>
                <a:gd name="T91" fmla="*/ 322 h 697"/>
                <a:gd name="T92" fmla="*/ 1496 w 1504"/>
                <a:gd name="T93" fmla="*/ 297 h 697"/>
                <a:gd name="T94" fmla="*/ 1503 w 1504"/>
                <a:gd name="T95" fmla="*/ 269 h 697"/>
                <a:gd name="T96" fmla="*/ 1504 w 1504"/>
                <a:gd name="T97" fmla="*/ 98 h 697"/>
                <a:gd name="T98" fmla="*/ 1499 w 1504"/>
                <a:gd name="T99" fmla="*/ 68 h 697"/>
                <a:gd name="T100" fmla="*/ 1488 w 1504"/>
                <a:gd name="T101" fmla="*/ 42 h 697"/>
                <a:gd name="T102" fmla="*/ 1468 w 1504"/>
                <a:gd name="T103" fmla="*/ 21 h 697"/>
                <a:gd name="T104" fmla="*/ 1444 w 1504"/>
                <a:gd name="T105" fmla="*/ 7 h 697"/>
                <a:gd name="T106" fmla="*/ 1416 w 1504"/>
                <a:gd name="T107" fmla="*/ 0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04" h="697">
                  <a:moveTo>
                    <a:pt x="1406" y="0"/>
                  </a:moveTo>
                  <a:lnTo>
                    <a:pt x="1073" y="0"/>
                  </a:lnTo>
                  <a:lnTo>
                    <a:pt x="989" y="0"/>
                  </a:lnTo>
                  <a:lnTo>
                    <a:pt x="147" y="0"/>
                  </a:lnTo>
                  <a:lnTo>
                    <a:pt x="147" y="0"/>
                  </a:lnTo>
                  <a:lnTo>
                    <a:pt x="131" y="0"/>
                  </a:lnTo>
                  <a:lnTo>
                    <a:pt x="117" y="3"/>
                  </a:lnTo>
                  <a:lnTo>
                    <a:pt x="103" y="6"/>
                  </a:lnTo>
                  <a:lnTo>
                    <a:pt x="90" y="11"/>
                  </a:lnTo>
                  <a:lnTo>
                    <a:pt x="76" y="17"/>
                  </a:lnTo>
                  <a:lnTo>
                    <a:pt x="65" y="25"/>
                  </a:lnTo>
                  <a:lnTo>
                    <a:pt x="53" y="33"/>
                  </a:lnTo>
                  <a:lnTo>
                    <a:pt x="43" y="42"/>
                  </a:lnTo>
                  <a:lnTo>
                    <a:pt x="33" y="53"/>
                  </a:lnTo>
                  <a:lnTo>
                    <a:pt x="25" y="64"/>
                  </a:lnTo>
                  <a:lnTo>
                    <a:pt x="18" y="76"/>
                  </a:lnTo>
                  <a:lnTo>
                    <a:pt x="12" y="89"/>
                  </a:lnTo>
                  <a:lnTo>
                    <a:pt x="6" y="103"/>
                  </a:lnTo>
                  <a:lnTo>
                    <a:pt x="3" y="116"/>
                  </a:lnTo>
                  <a:lnTo>
                    <a:pt x="0" y="131"/>
                  </a:lnTo>
                  <a:lnTo>
                    <a:pt x="0" y="147"/>
                  </a:lnTo>
                  <a:lnTo>
                    <a:pt x="0" y="264"/>
                  </a:lnTo>
                  <a:lnTo>
                    <a:pt x="0" y="264"/>
                  </a:lnTo>
                  <a:lnTo>
                    <a:pt x="0" y="279"/>
                  </a:lnTo>
                  <a:lnTo>
                    <a:pt x="3" y="294"/>
                  </a:lnTo>
                  <a:lnTo>
                    <a:pt x="6" y="307"/>
                  </a:lnTo>
                  <a:lnTo>
                    <a:pt x="12" y="321"/>
                  </a:lnTo>
                  <a:lnTo>
                    <a:pt x="18" y="334"/>
                  </a:lnTo>
                  <a:lnTo>
                    <a:pt x="25" y="346"/>
                  </a:lnTo>
                  <a:lnTo>
                    <a:pt x="33" y="357"/>
                  </a:lnTo>
                  <a:lnTo>
                    <a:pt x="43" y="368"/>
                  </a:lnTo>
                  <a:lnTo>
                    <a:pt x="53" y="377"/>
                  </a:lnTo>
                  <a:lnTo>
                    <a:pt x="65" y="385"/>
                  </a:lnTo>
                  <a:lnTo>
                    <a:pt x="76" y="393"/>
                  </a:lnTo>
                  <a:lnTo>
                    <a:pt x="90" y="399"/>
                  </a:lnTo>
                  <a:lnTo>
                    <a:pt x="103" y="404"/>
                  </a:lnTo>
                  <a:lnTo>
                    <a:pt x="117" y="408"/>
                  </a:lnTo>
                  <a:lnTo>
                    <a:pt x="131" y="410"/>
                  </a:lnTo>
                  <a:lnTo>
                    <a:pt x="147" y="411"/>
                  </a:lnTo>
                  <a:lnTo>
                    <a:pt x="407" y="411"/>
                  </a:lnTo>
                  <a:lnTo>
                    <a:pt x="573" y="411"/>
                  </a:lnTo>
                  <a:lnTo>
                    <a:pt x="588" y="411"/>
                  </a:lnTo>
                  <a:lnTo>
                    <a:pt x="588" y="411"/>
                  </a:lnTo>
                  <a:lnTo>
                    <a:pt x="599" y="412"/>
                  </a:lnTo>
                  <a:lnTo>
                    <a:pt x="611" y="416"/>
                  </a:lnTo>
                  <a:lnTo>
                    <a:pt x="620" y="421"/>
                  </a:lnTo>
                  <a:lnTo>
                    <a:pt x="630" y="428"/>
                  </a:lnTo>
                  <a:lnTo>
                    <a:pt x="636" y="436"/>
                  </a:lnTo>
                  <a:lnTo>
                    <a:pt x="642" y="447"/>
                  </a:lnTo>
                  <a:lnTo>
                    <a:pt x="645" y="458"/>
                  </a:lnTo>
                  <a:lnTo>
                    <a:pt x="646" y="470"/>
                  </a:lnTo>
                  <a:lnTo>
                    <a:pt x="646" y="470"/>
                  </a:lnTo>
                  <a:lnTo>
                    <a:pt x="645" y="481"/>
                  </a:lnTo>
                  <a:lnTo>
                    <a:pt x="642" y="493"/>
                  </a:lnTo>
                  <a:lnTo>
                    <a:pt x="636" y="502"/>
                  </a:lnTo>
                  <a:lnTo>
                    <a:pt x="630" y="511"/>
                  </a:lnTo>
                  <a:lnTo>
                    <a:pt x="620" y="519"/>
                  </a:lnTo>
                  <a:lnTo>
                    <a:pt x="611" y="524"/>
                  </a:lnTo>
                  <a:lnTo>
                    <a:pt x="599" y="527"/>
                  </a:lnTo>
                  <a:lnTo>
                    <a:pt x="588" y="528"/>
                  </a:lnTo>
                  <a:lnTo>
                    <a:pt x="573" y="528"/>
                  </a:lnTo>
                  <a:lnTo>
                    <a:pt x="573" y="529"/>
                  </a:lnTo>
                  <a:lnTo>
                    <a:pt x="345" y="529"/>
                  </a:lnTo>
                  <a:lnTo>
                    <a:pt x="345" y="529"/>
                  </a:lnTo>
                  <a:lnTo>
                    <a:pt x="336" y="529"/>
                  </a:lnTo>
                  <a:lnTo>
                    <a:pt x="327" y="531"/>
                  </a:lnTo>
                  <a:lnTo>
                    <a:pt x="320" y="533"/>
                  </a:lnTo>
                  <a:lnTo>
                    <a:pt x="312" y="535"/>
                  </a:lnTo>
                  <a:lnTo>
                    <a:pt x="304" y="540"/>
                  </a:lnTo>
                  <a:lnTo>
                    <a:pt x="298" y="544"/>
                  </a:lnTo>
                  <a:lnTo>
                    <a:pt x="291" y="548"/>
                  </a:lnTo>
                  <a:lnTo>
                    <a:pt x="286" y="554"/>
                  </a:lnTo>
                  <a:lnTo>
                    <a:pt x="279" y="559"/>
                  </a:lnTo>
                  <a:lnTo>
                    <a:pt x="275" y="567"/>
                  </a:lnTo>
                  <a:lnTo>
                    <a:pt x="271" y="573"/>
                  </a:lnTo>
                  <a:lnTo>
                    <a:pt x="267" y="580"/>
                  </a:lnTo>
                  <a:lnTo>
                    <a:pt x="265" y="589"/>
                  </a:lnTo>
                  <a:lnTo>
                    <a:pt x="263" y="596"/>
                  </a:lnTo>
                  <a:lnTo>
                    <a:pt x="261" y="604"/>
                  </a:lnTo>
                  <a:lnTo>
                    <a:pt x="261" y="614"/>
                  </a:lnTo>
                  <a:lnTo>
                    <a:pt x="261" y="614"/>
                  </a:lnTo>
                  <a:lnTo>
                    <a:pt x="261" y="622"/>
                  </a:lnTo>
                  <a:lnTo>
                    <a:pt x="263" y="630"/>
                  </a:lnTo>
                  <a:lnTo>
                    <a:pt x="265" y="639"/>
                  </a:lnTo>
                  <a:lnTo>
                    <a:pt x="267" y="646"/>
                  </a:lnTo>
                  <a:lnTo>
                    <a:pt x="271" y="653"/>
                  </a:lnTo>
                  <a:lnTo>
                    <a:pt x="275" y="661"/>
                  </a:lnTo>
                  <a:lnTo>
                    <a:pt x="279" y="667"/>
                  </a:lnTo>
                  <a:lnTo>
                    <a:pt x="286" y="673"/>
                  </a:lnTo>
                  <a:lnTo>
                    <a:pt x="291" y="678"/>
                  </a:lnTo>
                  <a:lnTo>
                    <a:pt x="298" y="683"/>
                  </a:lnTo>
                  <a:lnTo>
                    <a:pt x="304" y="688"/>
                  </a:lnTo>
                  <a:lnTo>
                    <a:pt x="312" y="691"/>
                  </a:lnTo>
                  <a:lnTo>
                    <a:pt x="320" y="694"/>
                  </a:lnTo>
                  <a:lnTo>
                    <a:pt x="327" y="696"/>
                  </a:lnTo>
                  <a:lnTo>
                    <a:pt x="336" y="697"/>
                  </a:lnTo>
                  <a:lnTo>
                    <a:pt x="345" y="697"/>
                  </a:lnTo>
                  <a:lnTo>
                    <a:pt x="1150" y="697"/>
                  </a:lnTo>
                  <a:lnTo>
                    <a:pt x="1150" y="697"/>
                  </a:lnTo>
                  <a:lnTo>
                    <a:pt x="1158" y="697"/>
                  </a:lnTo>
                  <a:lnTo>
                    <a:pt x="1167" y="696"/>
                  </a:lnTo>
                  <a:lnTo>
                    <a:pt x="1175" y="694"/>
                  </a:lnTo>
                  <a:lnTo>
                    <a:pt x="1182" y="691"/>
                  </a:lnTo>
                  <a:lnTo>
                    <a:pt x="1189" y="688"/>
                  </a:lnTo>
                  <a:lnTo>
                    <a:pt x="1197" y="683"/>
                  </a:lnTo>
                  <a:lnTo>
                    <a:pt x="1203" y="679"/>
                  </a:lnTo>
                  <a:lnTo>
                    <a:pt x="1209" y="674"/>
                  </a:lnTo>
                  <a:lnTo>
                    <a:pt x="1214" y="668"/>
                  </a:lnTo>
                  <a:lnTo>
                    <a:pt x="1220" y="662"/>
                  </a:lnTo>
                  <a:lnTo>
                    <a:pt x="1224" y="655"/>
                  </a:lnTo>
                  <a:lnTo>
                    <a:pt x="1227" y="648"/>
                  </a:lnTo>
                  <a:lnTo>
                    <a:pt x="1230" y="640"/>
                  </a:lnTo>
                  <a:lnTo>
                    <a:pt x="1232" y="632"/>
                  </a:lnTo>
                  <a:lnTo>
                    <a:pt x="1233" y="624"/>
                  </a:lnTo>
                  <a:lnTo>
                    <a:pt x="1234" y="616"/>
                  </a:lnTo>
                  <a:lnTo>
                    <a:pt x="1234" y="616"/>
                  </a:lnTo>
                  <a:lnTo>
                    <a:pt x="1234" y="616"/>
                  </a:lnTo>
                  <a:lnTo>
                    <a:pt x="1234" y="405"/>
                  </a:lnTo>
                  <a:lnTo>
                    <a:pt x="1234" y="405"/>
                  </a:lnTo>
                  <a:lnTo>
                    <a:pt x="1235" y="396"/>
                  </a:lnTo>
                  <a:lnTo>
                    <a:pt x="1237" y="387"/>
                  </a:lnTo>
                  <a:lnTo>
                    <a:pt x="1242" y="379"/>
                  </a:lnTo>
                  <a:lnTo>
                    <a:pt x="1248" y="372"/>
                  </a:lnTo>
                  <a:lnTo>
                    <a:pt x="1254" y="367"/>
                  </a:lnTo>
                  <a:lnTo>
                    <a:pt x="1262" y="361"/>
                  </a:lnTo>
                  <a:lnTo>
                    <a:pt x="1271" y="358"/>
                  </a:lnTo>
                  <a:lnTo>
                    <a:pt x="1280" y="357"/>
                  </a:lnTo>
                  <a:lnTo>
                    <a:pt x="1406" y="357"/>
                  </a:lnTo>
                  <a:lnTo>
                    <a:pt x="1406" y="357"/>
                  </a:lnTo>
                  <a:lnTo>
                    <a:pt x="1416" y="356"/>
                  </a:lnTo>
                  <a:lnTo>
                    <a:pt x="1426" y="355"/>
                  </a:lnTo>
                  <a:lnTo>
                    <a:pt x="1435" y="353"/>
                  </a:lnTo>
                  <a:lnTo>
                    <a:pt x="1444" y="349"/>
                  </a:lnTo>
                  <a:lnTo>
                    <a:pt x="1452" y="345"/>
                  </a:lnTo>
                  <a:lnTo>
                    <a:pt x="1460" y="340"/>
                  </a:lnTo>
                  <a:lnTo>
                    <a:pt x="1468" y="334"/>
                  </a:lnTo>
                  <a:lnTo>
                    <a:pt x="1475" y="328"/>
                  </a:lnTo>
                  <a:lnTo>
                    <a:pt x="1481" y="322"/>
                  </a:lnTo>
                  <a:lnTo>
                    <a:pt x="1488" y="313"/>
                  </a:lnTo>
                  <a:lnTo>
                    <a:pt x="1492" y="306"/>
                  </a:lnTo>
                  <a:lnTo>
                    <a:pt x="1496" y="297"/>
                  </a:lnTo>
                  <a:lnTo>
                    <a:pt x="1499" y="288"/>
                  </a:lnTo>
                  <a:lnTo>
                    <a:pt x="1502" y="279"/>
                  </a:lnTo>
                  <a:lnTo>
                    <a:pt x="1503" y="269"/>
                  </a:lnTo>
                  <a:lnTo>
                    <a:pt x="1504" y="259"/>
                  </a:lnTo>
                  <a:lnTo>
                    <a:pt x="1504" y="98"/>
                  </a:lnTo>
                  <a:lnTo>
                    <a:pt x="1504" y="98"/>
                  </a:lnTo>
                  <a:lnTo>
                    <a:pt x="1503" y="87"/>
                  </a:lnTo>
                  <a:lnTo>
                    <a:pt x="1502" y="78"/>
                  </a:lnTo>
                  <a:lnTo>
                    <a:pt x="1499" y="68"/>
                  </a:lnTo>
                  <a:lnTo>
                    <a:pt x="1496" y="59"/>
                  </a:lnTo>
                  <a:lnTo>
                    <a:pt x="1492" y="51"/>
                  </a:lnTo>
                  <a:lnTo>
                    <a:pt x="1488" y="42"/>
                  </a:lnTo>
                  <a:lnTo>
                    <a:pt x="1481" y="35"/>
                  </a:lnTo>
                  <a:lnTo>
                    <a:pt x="1475" y="28"/>
                  </a:lnTo>
                  <a:lnTo>
                    <a:pt x="1468" y="21"/>
                  </a:lnTo>
                  <a:lnTo>
                    <a:pt x="1460" y="16"/>
                  </a:lnTo>
                  <a:lnTo>
                    <a:pt x="1452" y="11"/>
                  </a:lnTo>
                  <a:lnTo>
                    <a:pt x="1444" y="7"/>
                  </a:lnTo>
                  <a:lnTo>
                    <a:pt x="1435" y="4"/>
                  </a:lnTo>
                  <a:lnTo>
                    <a:pt x="1426" y="2"/>
                  </a:lnTo>
                  <a:lnTo>
                    <a:pt x="1416" y="0"/>
                  </a:lnTo>
                  <a:lnTo>
                    <a:pt x="1406" y="0"/>
                  </a:lnTo>
                  <a:close/>
                </a:path>
              </a:pathLst>
            </a:custGeom>
            <a:solidFill>
              <a:schemeClr val="bg1">
                <a:lumMod val="50000"/>
              </a:schemeClr>
            </a:solidFill>
            <a:ln>
              <a:noFill/>
            </a:ln>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78" name="Freeform 305"/>
            <p:cNvSpPr>
              <a:spLocks/>
            </p:cNvSpPr>
            <p:nvPr/>
          </p:nvSpPr>
          <p:spPr bwMode="auto">
            <a:xfrm>
              <a:off x="895379" y="3788789"/>
              <a:ext cx="3688484" cy="1711265"/>
            </a:xfrm>
            <a:custGeom>
              <a:avLst/>
              <a:gdLst>
                <a:gd name="T0" fmla="*/ 989 w 1504"/>
                <a:gd name="T1" fmla="*/ 0 h 699"/>
                <a:gd name="T2" fmla="*/ 131 w 1504"/>
                <a:gd name="T3" fmla="*/ 1 h 699"/>
                <a:gd name="T4" fmla="*/ 90 w 1504"/>
                <a:gd name="T5" fmla="*/ 12 h 699"/>
                <a:gd name="T6" fmla="*/ 53 w 1504"/>
                <a:gd name="T7" fmla="*/ 33 h 699"/>
                <a:gd name="T8" fmla="*/ 25 w 1504"/>
                <a:gd name="T9" fmla="*/ 65 h 699"/>
                <a:gd name="T10" fmla="*/ 6 w 1504"/>
                <a:gd name="T11" fmla="*/ 103 h 699"/>
                <a:gd name="T12" fmla="*/ 0 w 1504"/>
                <a:gd name="T13" fmla="*/ 147 h 699"/>
                <a:gd name="T14" fmla="*/ 0 w 1504"/>
                <a:gd name="T15" fmla="*/ 280 h 699"/>
                <a:gd name="T16" fmla="*/ 12 w 1504"/>
                <a:gd name="T17" fmla="*/ 322 h 699"/>
                <a:gd name="T18" fmla="*/ 33 w 1504"/>
                <a:gd name="T19" fmla="*/ 359 h 699"/>
                <a:gd name="T20" fmla="*/ 65 w 1504"/>
                <a:gd name="T21" fmla="*/ 387 h 699"/>
                <a:gd name="T22" fmla="*/ 103 w 1504"/>
                <a:gd name="T23" fmla="*/ 406 h 699"/>
                <a:gd name="T24" fmla="*/ 147 w 1504"/>
                <a:gd name="T25" fmla="*/ 412 h 699"/>
                <a:gd name="T26" fmla="*/ 588 w 1504"/>
                <a:gd name="T27" fmla="*/ 412 h 699"/>
                <a:gd name="T28" fmla="*/ 611 w 1504"/>
                <a:gd name="T29" fmla="*/ 416 h 699"/>
                <a:gd name="T30" fmla="*/ 636 w 1504"/>
                <a:gd name="T31" fmla="*/ 438 h 699"/>
                <a:gd name="T32" fmla="*/ 646 w 1504"/>
                <a:gd name="T33" fmla="*/ 470 h 699"/>
                <a:gd name="T34" fmla="*/ 642 w 1504"/>
                <a:gd name="T35" fmla="*/ 493 h 699"/>
                <a:gd name="T36" fmla="*/ 620 w 1504"/>
                <a:gd name="T37" fmla="*/ 519 h 699"/>
                <a:gd name="T38" fmla="*/ 588 w 1504"/>
                <a:gd name="T39" fmla="*/ 530 h 699"/>
                <a:gd name="T40" fmla="*/ 345 w 1504"/>
                <a:gd name="T41" fmla="*/ 530 h 699"/>
                <a:gd name="T42" fmla="*/ 327 w 1504"/>
                <a:gd name="T43" fmla="*/ 532 h 699"/>
                <a:gd name="T44" fmla="*/ 304 w 1504"/>
                <a:gd name="T45" fmla="*/ 540 h 699"/>
                <a:gd name="T46" fmla="*/ 286 w 1504"/>
                <a:gd name="T47" fmla="*/ 555 h 699"/>
                <a:gd name="T48" fmla="*/ 271 w 1504"/>
                <a:gd name="T49" fmla="*/ 575 h 699"/>
                <a:gd name="T50" fmla="*/ 263 w 1504"/>
                <a:gd name="T51" fmla="*/ 597 h 699"/>
                <a:gd name="T52" fmla="*/ 261 w 1504"/>
                <a:gd name="T53" fmla="*/ 614 h 699"/>
                <a:gd name="T54" fmla="*/ 265 w 1504"/>
                <a:gd name="T55" fmla="*/ 639 h 699"/>
                <a:gd name="T56" fmla="*/ 275 w 1504"/>
                <a:gd name="T57" fmla="*/ 661 h 699"/>
                <a:gd name="T58" fmla="*/ 291 w 1504"/>
                <a:gd name="T59" fmla="*/ 680 h 699"/>
                <a:gd name="T60" fmla="*/ 312 w 1504"/>
                <a:gd name="T61" fmla="*/ 692 h 699"/>
                <a:gd name="T62" fmla="*/ 336 w 1504"/>
                <a:gd name="T63" fmla="*/ 699 h 699"/>
                <a:gd name="T64" fmla="*/ 1150 w 1504"/>
                <a:gd name="T65" fmla="*/ 699 h 699"/>
                <a:gd name="T66" fmla="*/ 1175 w 1504"/>
                <a:gd name="T67" fmla="*/ 694 h 699"/>
                <a:gd name="T68" fmla="*/ 1197 w 1504"/>
                <a:gd name="T69" fmla="*/ 685 h 699"/>
                <a:gd name="T70" fmla="*/ 1214 w 1504"/>
                <a:gd name="T71" fmla="*/ 668 h 699"/>
                <a:gd name="T72" fmla="*/ 1227 w 1504"/>
                <a:gd name="T73" fmla="*/ 649 h 699"/>
                <a:gd name="T74" fmla="*/ 1233 w 1504"/>
                <a:gd name="T75" fmla="*/ 626 h 699"/>
                <a:gd name="T76" fmla="*/ 1234 w 1504"/>
                <a:gd name="T77" fmla="*/ 617 h 699"/>
                <a:gd name="T78" fmla="*/ 1235 w 1504"/>
                <a:gd name="T79" fmla="*/ 397 h 699"/>
                <a:gd name="T80" fmla="*/ 1248 w 1504"/>
                <a:gd name="T81" fmla="*/ 373 h 699"/>
                <a:gd name="T82" fmla="*/ 1271 w 1504"/>
                <a:gd name="T83" fmla="*/ 360 h 699"/>
                <a:gd name="T84" fmla="*/ 1406 w 1504"/>
                <a:gd name="T85" fmla="*/ 358 h 699"/>
                <a:gd name="T86" fmla="*/ 1435 w 1504"/>
                <a:gd name="T87" fmla="*/ 354 h 699"/>
                <a:gd name="T88" fmla="*/ 1460 w 1504"/>
                <a:gd name="T89" fmla="*/ 341 h 699"/>
                <a:gd name="T90" fmla="*/ 1481 w 1504"/>
                <a:gd name="T91" fmla="*/ 322 h 699"/>
                <a:gd name="T92" fmla="*/ 1496 w 1504"/>
                <a:gd name="T93" fmla="*/ 298 h 699"/>
                <a:gd name="T94" fmla="*/ 1503 w 1504"/>
                <a:gd name="T95" fmla="*/ 270 h 699"/>
                <a:gd name="T96" fmla="*/ 1504 w 1504"/>
                <a:gd name="T97" fmla="*/ 98 h 699"/>
                <a:gd name="T98" fmla="*/ 1499 w 1504"/>
                <a:gd name="T99" fmla="*/ 69 h 699"/>
                <a:gd name="T100" fmla="*/ 1488 w 1504"/>
                <a:gd name="T101" fmla="*/ 44 h 699"/>
                <a:gd name="T102" fmla="*/ 1468 w 1504"/>
                <a:gd name="T103" fmla="*/ 23 h 699"/>
                <a:gd name="T104" fmla="*/ 1444 w 1504"/>
                <a:gd name="T105" fmla="*/ 8 h 699"/>
                <a:gd name="T106" fmla="*/ 1416 w 1504"/>
                <a:gd name="T107" fmla="*/ 1 h 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04" h="699">
                  <a:moveTo>
                    <a:pt x="1406" y="0"/>
                  </a:moveTo>
                  <a:lnTo>
                    <a:pt x="1073" y="0"/>
                  </a:lnTo>
                  <a:lnTo>
                    <a:pt x="989" y="0"/>
                  </a:lnTo>
                  <a:lnTo>
                    <a:pt x="147" y="0"/>
                  </a:lnTo>
                  <a:lnTo>
                    <a:pt x="147" y="0"/>
                  </a:lnTo>
                  <a:lnTo>
                    <a:pt x="131" y="1"/>
                  </a:lnTo>
                  <a:lnTo>
                    <a:pt x="117" y="3"/>
                  </a:lnTo>
                  <a:lnTo>
                    <a:pt x="103" y="7"/>
                  </a:lnTo>
                  <a:lnTo>
                    <a:pt x="90" y="12"/>
                  </a:lnTo>
                  <a:lnTo>
                    <a:pt x="76" y="18"/>
                  </a:lnTo>
                  <a:lnTo>
                    <a:pt x="65" y="25"/>
                  </a:lnTo>
                  <a:lnTo>
                    <a:pt x="53" y="33"/>
                  </a:lnTo>
                  <a:lnTo>
                    <a:pt x="43" y="43"/>
                  </a:lnTo>
                  <a:lnTo>
                    <a:pt x="33" y="53"/>
                  </a:lnTo>
                  <a:lnTo>
                    <a:pt x="25" y="65"/>
                  </a:lnTo>
                  <a:lnTo>
                    <a:pt x="18" y="77"/>
                  </a:lnTo>
                  <a:lnTo>
                    <a:pt x="12" y="90"/>
                  </a:lnTo>
                  <a:lnTo>
                    <a:pt x="6" y="103"/>
                  </a:lnTo>
                  <a:lnTo>
                    <a:pt x="3" y="118"/>
                  </a:lnTo>
                  <a:lnTo>
                    <a:pt x="0" y="133"/>
                  </a:lnTo>
                  <a:lnTo>
                    <a:pt x="0" y="147"/>
                  </a:lnTo>
                  <a:lnTo>
                    <a:pt x="0" y="265"/>
                  </a:lnTo>
                  <a:lnTo>
                    <a:pt x="0" y="265"/>
                  </a:lnTo>
                  <a:lnTo>
                    <a:pt x="0" y="280"/>
                  </a:lnTo>
                  <a:lnTo>
                    <a:pt x="3" y="294"/>
                  </a:lnTo>
                  <a:lnTo>
                    <a:pt x="6" y="309"/>
                  </a:lnTo>
                  <a:lnTo>
                    <a:pt x="12" y="322"/>
                  </a:lnTo>
                  <a:lnTo>
                    <a:pt x="18" y="335"/>
                  </a:lnTo>
                  <a:lnTo>
                    <a:pt x="25" y="347"/>
                  </a:lnTo>
                  <a:lnTo>
                    <a:pt x="33" y="359"/>
                  </a:lnTo>
                  <a:lnTo>
                    <a:pt x="43" y="369"/>
                  </a:lnTo>
                  <a:lnTo>
                    <a:pt x="53" y="379"/>
                  </a:lnTo>
                  <a:lnTo>
                    <a:pt x="65" y="387"/>
                  </a:lnTo>
                  <a:lnTo>
                    <a:pt x="76" y="394"/>
                  </a:lnTo>
                  <a:lnTo>
                    <a:pt x="90" y="400"/>
                  </a:lnTo>
                  <a:lnTo>
                    <a:pt x="103" y="406"/>
                  </a:lnTo>
                  <a:lnTo>
                    <a:pt x="117" y="409"/>
                  </a:lnTo>
                  <a:lnTo>
                    <a:pt x="131" y="411"/>
                  </a:lnTo>
                  <a:lnTo>
                    <a:pt x="147" y="412"/>
                  </a:lnTo>
                  <a:lnTo>
                    <a:pt x="407" y="412"/>
                  </a:lnTo>
                  <a:lnTo>
                    <a:pt x="573" y="412"/>
                  </a:lnTo>
                  <a:lnTo>
                    <a:pt x="588" y="412"/>
                  </a:lnTo>
                  <a:lnTo>
                    <a:pt x="588" y="412"/>
                  </a:lnTo>
                  <a:lnTo>
                    <a:pt x="599" y="413"/>
                  </a:lnTo>
                  <a:lnTo>
                    <a:pt x="611" y="416"/>
                  </a:lnTo>
                  <a:lnTo>
                    <a:pt x="620" y="422"/>
                  </a:lnTo>
                  <a:lnTo>
                    <a:pt x="630" y="430"/>
                  </a:lnTo>
                  <a:lnTo>
                    <a:pt x="636" y="438"/>
                  </a:lnTo>
                  <a:lnTo>
                    <a:pt x="642" y="447"/>
                  </a:lnTo>
                  <a:lnTo>
                    <a:pt x="645" y="459"/>
                  </a:lnTo>
                  <a:lnTo>
                    <a:pt x="646" y="470"/>
                  </a:lnTo>
                  <a:lnTo>
                    <a:pt x="646" y="470"/>
                  </a:lnTo>
                  <a:lnTo>
                    <a:pt x="645" y="483"/>
                  </a:lnTo>
                  <a:lnTo>
                    <a:pt x="642" y="493"/>
                  </a:lnTo>
                  <a:lnTo>
                    <a:pt x="636" y="504"/>
                  </a:lnTo>
                  <a:lnTo>
                    <a:pt x="630" y="512"/>
                  </a:lnTo>
                  <a:lnTo>
                    <a:pt x="620" y="519"/>
                  </a:lnTo>
                  <a:lnTo>
                    <a:pt x="611" y="524"/>
                  </a:lnTo>
                  <a:lnTo>
                    <a:pt x="599" y="529"/>
                  </a:lnTo>
                  <a:lnTo>
                    <a:pt x="588" y="530"/>
                  </a:lnTo>
                  <a:lnTo>
                    <a:pt x="573" y="530"/>
                  </a:lnTo>
                  <a:lnTo>
                    <a:pt x="573" y="530"/>
                  </a:lnTo>
                  <a:lnTo>
                    <a:pt x="345" y="530"/>
                  </a:lnTo>
                  <a:lnTo>
                    <a:pt x="345" y="530"/>
                  </a:lnTo>
                  <a:lnTo>
                    <a:pt x="336" y="531"/>
                  </a:lnTo>
                  <a:lnTo>
                    <a:pt x="327" y="532"/>
                  </a:lnTo>
                  <a:lnTo>
                    <a:pt x="320" y="534"/>
                  </a:lnTo>
                  <a:lnTo>
                    <a:pt x="312" y="537"/>
                  </a:lnTo>
                  <a:lnTo>
                    <a:pt x="304" y="540"/>
                  </a:lnTo>
                  <a:lnTo>
                    <a:pt x="298" y="544"/>
                  </a:lnTo>
                  <a:lnTo>
                    <a:pt x="291" y="550"/>
                  </a:lnTo>
                  <a:lnTo>
                    <a:pt x="286" y="555"/>
                  </a:lnTo>
                  <a:lnTo>
                    <a:pt x="279" y="561"/>
                  </a:lnTo>
                  <a:lnTo>
                    <a:pt x="275" y="567"/>
                  </a:lnTo>
                  <a:lnTo>
                    <a:pt x="271" y="575"/>
                  </a:lnTo>
                  <a:lnTo>
                    <a:pt x="267" y="582"/>
                  </a:lnTo>
                  <a:lnTo>
                    <a:pt x="265" y="589"/>
                  </a:lnTo>
                  <a:lnTo>
                    <a:pt x="263" y="597"/>
                  </a:lnTo>
                  <a:lnTo>
                    <a:pt x="261" y="606"/>
                  </a:lnTo>
                  <a:lnTo>
                    <a:pt x="261" y="614"/>
                  </a:lnTo>
                  <a:lnTo>
                    <a:pt x="261" y="614"/>
                  </a:lnTo>
                  <a:lnTo>
                    <a:pt x="261" y="622"/>
                  </a:lnTo>
                  <a:lnTo>
                    <a:pt x="263" y="631"/>
                  </a:lnTo>
                  <a:lnTo>
                    <a:pt x="265" y="639"/>
                  </a:lnTo>
                  <a:lnTo>
                    <a:pt x="267" y="648"/>
                  </a:lnTo>
                  <a:lnTo>
                    <a:pt x="271" y="655"/>
                  </a:lnTo>
                  <a:lnTo>
                    <a:pt x="275" y="661"/>
                  </a:lnTo>
                  <a:lnTo>
                    <a:pt x="279" y="668"/>
                  </a:lnTo>
                  <a:lnTo>
                    <a:pt x="286" y="674"/>
                  </a:lnTo>
                  <a:lnTo>
                    <a:pt x="291" y="680"/>
                  </a:lnTo>
                  <a:lnTo>
                    <a:pt x="298" y="684"/>
                  </a:lnTo>
                  <a:lnTo>
                    <a:pt x="304" y="688"/>
                  </a:lnTo>
                  <a:lnTo>
                    <a:pt x="312" y="692"/>
                  </a:lnTo>
                  <a:lnTo>
                    <a:pt x="320" y="694"/>
                  </a:lnTo>
                  <a:lnTo>
                    <a:pt x="327" y="697"/>
                  </a:lnTo>
                  <a:lnTo>
                    <a:pt x="336" y="699"/>
                  </a:lnTo>
                  <a:lnTo>
                    <a:pt x="345" y="699"/>
                  </a:lnTo>
                  <a:lnTo>
                    <a:pt x="1150" y="699"/>
                  </a:lnTo>
                  <a:lnTo>
                    <a:pt x="1150" y="699"/>
                  </a:lnTo>
                  <a:lnTo>
                    <a:pt x="1158" y="699"/>
                  </a:lnTo>
                  <a:lnTo>
                    <a:pt x="1167" y="697"/>
                  </a:lnTo>
                  <a:lnTo>
                    <a:pt x="1175" y="694"/>
                  </a:lnTo>
                  <a:lnTo>
                    <a:pt x="1182" y="692"/>
                  </a:lnTo>
                  <a:lnTo>
                    <a:pt x="1189" y="689"/>
                  </a:lnTo>
                  <a:lnTo>
                    <a:pt x="1197" y="685"/>
                  </a:lnTo>
                  <a:lnTo>
                    <a:pt x="1203" y="680"/>
                  </a:lnTo>
                  <a:lnTo>
                    <a:pt x="1209" y="675"/>
                  </a:lnTo>
                  <a:lnTo>
                    <a:pt x="1214" y="668"/>
                  </a:lnTo>
                  <a:lnTo>
                    <a:pt x="1220" y="662"/>
                  </a:lnTo>
                  <a:lnTo>
                    <a:pt x="1224" y="656"/>
                  </a:lnTo>
                  <a:lnTo>
                    <a:pt x="1227" y="649"/>
                  </a:lnTo>
                  <a:lnTo>
                    <a:pt x="1230" y="641"/>
                  </a:lnTo>
                  <a:lnTo>
                    <a:pt x="1232" y="633"/>
                  </a:lnTo>
                  <a:lnTo>
                    <a:pt x="1233" y="626"/>
                  </a:lnTo>
                  <a:lnTo>
                    <a:pt x="1234" y="617"/>
                  </a:lnTo>
                  <a:lnTo>
                    <a:pt x="1234" y="617"/>
                  </a:lnTo>
                  <a:lnTo>
                    <a:pt x="1234" y="617"/>
                  </a:lnTo>
                  <a:lnTo>
                    <a:pt x="1234" y="407"/>
                  </a:lnTo>
                  <a:lnTo>
                    <a:pt x="1234" y="407"/>
                  </a:lnTo>
                  <a:lnTo>
                    <a:pt x="1235" y="397"/>
                  </a:lnTo>
                  <a:lnTo>
                    <a:pt x="1237" y="388"/>
                  </a:lnTo>
                  <a:lnTo>
                    <a:pt x="1242" y="381"/>
                  </a:lnTo>
                  <a:lnTo>
                    <a:pt x="1248" y="373"/>
                  </a:lnTo>
                  <a:lnTo>
                    <a:pt x="1254" y="367"/>
                  </a:lnTo>
                  <a:lnTo>
                    <a:pt x="1262" y="363"/>
                  </a:lnTo>
                  <a:lnTo>
                    <a:pt x="1271" y="360"/>
                  </a:lnTo>
                  <a:lnTo>
                    <a:pt x="1280" y="359"/>
                  </a:lnTo>
                  <a:lnTo>
                    <a:pt x="1406" y="358"/>
                  </a:lnTo>
                  <a:lnTo>
                    <a:pt x="1406" y="358"/>
                  </a:lnTo>
                  <a:lnTo>
                    <a:pt x="1416" y="358"/>
                  </a:lnTo>
                  <a:lnTo>
                    <a:pt x="1426" y="356"/>
                  </a:lnTo>
                  <a:lnTo>
                    <a:pt x="1435" y="354"/>
                  </a:lnTo>
                  <a:lnTo>
                    <a:pt x="1444" y="350"/>
                  </a:lnTo>
                  <a:lnTo>
                    <a:pt x="1452" y="346"/>
                  </a:lnTo>
                  <a:lnTo>
                    <a:pt x="1460" y="341"/>
                  </a:lnTo>
                  <a:lnTo>
                    <a:pt x="1468" y="336"/>
                  </a:lnTo>
                  <a:lnTo>
                    <a:pt x="1475" y="330"/>
                  </a:lnTo>
                  <a:lnTo>
                    <a:pt x="1481" y="322"/>
                  </a:lnTo>
                  <a:lnTo>
                    <a:pt x="1488" y="315"/>
                  </a:lnTo>
                  <a:lnTo>
                    <a:pt x="1492" y="307"/>
                  </a:lnTo>
                  <a:lnTo>
                    <a:pt x="1496" y="298"/>
                  </a:lnTo>
                  <a:lnTo>
                    <a:pt x="1499" y="289"/>
                  </a:lnTo>
                  <a:lnTo>
                    <a:pt x="1502" y="280"/>
                  </a:lnTo>
                  <a:lnTo>
                    <a:pt x="1503" y="270"/>
                  </a:lnTo>
                  <a:lnTo>
                    <a:pt x="1504" y="260"/>
                  </a:lnTo>
                  <a:lnTo>
                    <a:pt x="1504" y="98"/>
                  </a:lnTo>
                  <a:lnTo>
                    <a:pt x="1504" y="98"/>
                  </a:lnTo>
                  <a:lnTo>
                    <a:pt x="1503" y="89"/>
                  </a:lnTo>
                  <a:lnTo>
                    <a:pt x="1502" y="78"/>
                  </a:lnTo>
                  <a:lnTo>
                    <a:pt x="1499" y="69"/>
                  </a:lnTo>
                  <a:lnTo>
                    <a:pt x="1496" y="61"/>
                  </a:lnTo>
                  <a:lnTo>
                    <a:pt x="1492" y="51"/>
                  </a:lnTo>
                  <a:lnTo>
                    <a:pt x="1488" y="44"/>
                  </a:lnTo>
                  <a:lnTo>
                    <a:pt x="1481" y="36"/>
                  </a:lnTo>
                  <a:lnTo>
                    <a:pt x="1475" y="29"/>
                  </a:lnTo>
                  <a:lnTo>
                    <a:pt x="1468" y="23"/>
                  </a:lnTo>
                  <a:lnTo>
                    <a:pt x="1460" y="17"/>
                  </a:lnTo>
                  <a:lnTo>
                    <a:pt x="1452" y="13"/>
                  </a:lnTo>
                  <a:lnTo>
                    <a:pt x="1444" y="8"/>
                  </a:lnTo>
                  <a:lnTo>
                    <a:pt x="1435" y="4"/>
                  </a:lnTo>
                  <a:lnTo>
                    <a:pt x="1426" y="2"/>
                  </a:lnTo>
                  <a:lnTo>
                    <a:pt x="1416" y="1"/>
                  </a:lnTo>
                  <a:lnTo>
                    <a:pt x="1406" y="0"/>
                  </a:lnTo>
                  <a:close/>
                </a:path>
              </a:pathLst>
            </a:custGeom>
            <a:solidFill>
              <a:schemeClr val="bg1">
                <a:lumMod val="75000"/>
              </a:schemeClr>
            </a:solidFill>
            <a:ln>
              <a:noFill/>
            </a:ln>
            <a:extLst/>
          </p:spPr>
          <p:txBody>
            <a:bodyPr lIns="68580" tIns="34290" rIns="68580" bIns="34290"/>
            <a:lstStyle/>
            <a:p>
              <a:pPr eaLnBrk="1" fontAlgn="auto" hangingPunct="1">
                <a:spcBef>
                  <a:spcPts val="0"/>
                </a:spcBef>
                <a:spcAft>
                  <a:spcPts val="0"/>
                </a:spcAft>
                <a:defRPr/>
              </a:pPr>
              <a:endParaRPr lang="en-US" sz="1013">
                <a:latin typeface="+mn-lt"/>
              </a:endParaRPr>
            </a:p>
          </p:txBody>
        </p:sp>
      </p:grpSp>
      <p:sp>
        <p:nvSpPr>
          <p:cNvPr id="79" name="Freeform 306"/>
          <p:cNvSpPr>
            <a:spLocks/>
          </p:cNvSpPr>
          <p:nvPr/>
        </p:nvSpPr>
        <p:spPr bwMode="auto">
          <a:xfrm>
            <a:off x="895350" y="3789363"/>
            <a:ext cx="3687763" cy="1711325"/>
          </a:xfrm>
          <a:custGeom>
            <a:avLst/>
            <a:gdLst>
              <a:gd name="T0" fmla="*/ 989 w 1504"/>
              <a:gd name="T1" fmla="*/ 0 h 699"/>
              <a:gd name="T2" fmla="*/ 131 w 1504"/>
              <a:gd name="T3" fmla="*/ 1 h 699"/>
              <a:gd name="T4" fmla="*/ 90 w 1504"/>
              <a:gd name="T5" fmla="*/ 12 h 699"/>
              <a:gd name="T6" fmla="*/ 53 w 1504"/>
              <a:gd name="T7" fmla="*/ 33 h 699"/>
              <a:gd name="T8" fmla="*/ 25 w 1504"/>
              <a:gd name="T9" fmla="*/ 65 h 699"/>
              <a:gd name="T10" fmla="*/ 6 w 1504"/>
              <a:gd name="T11" fmla="*/ 103 h 699"/>
              <a:gd name="T12" fmla="*/ 0 w 1504"/>
              <a:gd name="T13" fmla="*/ 147 h 699"/>
              <a:gd name="T14" fmla="*/ 0 w 1504"/>
              <a:gd name="T15" fmla="*/ 280 h 699"/>
              <a:gd name="T16" fmla="*/ 12 w 1504"/>
              <a:gd name="T17" fmla="*/ 322 h 699"/>
              <a:gd name="T18" fmla="*/ 33 w 1504"/>
              <a:gd name="T19" fmla="*/ 359 h 699"/>
              <a:gd name="T20" fmla="*/ 65 w 1504"/>
              <a:gd name="T21" fmla="*/ 387 h 699"/>
              <a:gd name="T22" fmla="*/ 103 w 1504"/>
              <a:gd name="T23" fmla="*/ 406 h 699"/>
              <a:gd name="T24" fmla="*/ 147 w 1504"/>
              <a:gd name="T25" fmla="*/ 412 h 699"/>
              <a:gd name="T26" fmla="*/ 588 w 1504"/>
              <a:gd name="T27" fmla="*/ 412 h 699"/>
              <a:gd name="T28" fmla="*/ 611 w 1504"/>
              <a:gd name="T29" fmla="*/ 416 h 699"/>
              <a:gd name="T30" fmla="*/ 636 w 1504"/>
              <a:gd name="T31" fmla="*/ 438 h 699"/>
              <a:gd name="T32" fmla="*/ 646 w 1504"/>
              <a:gd name="T33" fmla="*/ 470 h 699"/>
              <a:gd name="T34" fmla="*/ 642 w 1504"/>
              <a:gd name="T35" fmla="*/ 493 h 699"/>
              <a:gd name="T36" fmla="*/ 620 w 1504"/>
              <a:gd name="T37" fmla="*/ 519 h 699"/>
              <a:gd name="T38" fmla="*/ 588 w 1504"/>
              <a:gd name="T39" fmla="*/ 530 h 699"/>
              <a:gd name="T40" fmla="*/ 345 w 1504"/>
              <a:gd name="T41" fmla="*/ 530 h 699"/>
              <a:gd name="T42" fmla="*/ 327 w 1504"/>
              <a:gd name="T43" fmla="*/ 532 h 699"/>
              <a:gd name="T44" fmla="*/ 304 w 1504"/>
              <a:gd name="T45" fmla="*/ 540 h 699"/>
              <a:gd name="T46" fmla="*/ 286 w 1504"/>
              <a:gd name="T47" fmla="*/ 555 h 699"/>
              <a:gd name="T48" fmla="*/ 271 w 1504"/>
              <a:gd name="T49" fmla="*/ 575 h 699"/>
              <a:gd name="T50" fmla="*/ 263 w 1504"/>
              <a:gd name="T51" fmla="*/ 597 h 699"/>
              <a:gd name="T52" fmla="*/ 261 w 1504"/>
              <a:gd name="T53" fmla="*/ 614 h 699"/>
              <a:gd name="T54" fmla="*/ 265 w 1504"/>
              <a:gd name="T55" fmla="*/ 639 h 699"/>
              <a:gd name="T56" fmla="*/ 275 w 1504"/>
              <a:gd name="T57" fmla="*/ 661 h 699"/>
              <a:gd name="T58" fmla="*/ 291 w 1504"/>
              <a:gd name="T59" fmla="*/ 680 h 699"/>
              <a:gd name="T60" fmla="*/ 312 w 1504"/>
              <a:gd name="T61" fmla="*/ 692 h 699"/>
              <a:gd name="T62" fmla="*/ 336 w 1504"/>
              <a:gd name="T63" fmla="*/ 699 h 699"/>
              <a:gd name="T64" fmla="*/ 1150 w 1504"/>
              <a:gd name="T65" fmla="*/ 699 h 699"/>
              <a:gd name="T66" fmla="*/ 1175 w 1504"/>
              <a:gd name="T67" fmla="*/ 694 h 699"/>
              <a:gd name="T68" fmla="*/ 1197 w 1504"/>
              <a:gd name="T69" fmla="*/ 685 h 699"/>
              <a:gd name="T70" fmla="*/ 1214 w 1504"/>
              <a:gd name="T71" fmla="*/ 668 h 699"/>
              <a:gd name="T72" fmla="*/ 1227 w 1504"/>
              <a:gd name="T73" fmla="*/ 649 h 699"/>
              <a:gd name="T74" fmla="*/ 1233 w 1504"/>
              <a:gd name="T75" fmla="*/ 626 h 699"/>
              <a:gd name="T76" fmla="*/ 1234 w 1504"/>
              <a:gd name="T77" fmla="*/ 617 h 699"/>
              <a:gd name="T78" fmla="*/ 1235 w 1504"/>
              <a:gd name="T79" fmla="*/ 397 h 699"/>
              <a:gd name="T80" fmla="*/ 1248 w 1504"/>
              <a:gd name="T81" fmla="*/ 373 h 699"/>
              <a:gd name="T82" fmla="*/ 1271 w 1504"/>
              <a:gd name="T83" fmla="*/ 360 h 699"/>
              <a:gd name="T84" fmla="*/ 1406 w 1504"/>
              <a:gd name="T85" fmla="*/ 358 h 699"/>
              <a:gd name="T86" fmla="*/ 1435 w 1504"/>
              <a:gd name="T87" fmla="*/ 354 h 699"/>
              <a:gd name="T88" fmla="*/ 1460 w 1504"/>
              <a:gd name="T89" fmla="*/ 341 h 699"/>
              <a:gd name="T90" fmla="*/ 1481 w 1504"/>
              <a:gd name="T91" fmla="*/ 322 h 699"/>
              <a:gd name="T92" fmla="*/ 1496 w 1504"/>
              <a:gd name="T93" fmla="*/ 298 h 699"/>
              <a:gd name="T94" fmla="*/ 1503 w 1504"/>
              <a:gd name="T95" fmla="*/ 270 h 699"/>
              <a:gd name="T96" fmla="*/ 1504 w 1504"/>
              <a:gd name="T97" fmla="*/ 98 h 699"/>
              <a:gd name="T98" fmla="*/ 1499 w 1504"/>
              <a:gd name="T99" fmla="*/ 69 h 699"/>
              <a:gd name="T100" fmla="*/ 1488 w 1504"/>
              <a:gd name="T101" fmla="*/ 44 h 699"/>
              <a:gd name="T102" fmla="*/ 1468 w 1504"/>
              <a:gd name="T103" fmla="*/ 23 h 699"/>
              <a:gd name="T104" fmla="*/ 1444 w 1504"/>
              <a:gd name="T105" fmla="*/ 8 h 699"/>
              <a:gd name="T106" fmla="*/ 1416 w 1504"/>
              <a:gd name="T107" fmla="*/ 1 h 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04" h="699">
                <a:moveTo>
                  <a:pt x="1406" y="0"/>
                </a:moveTo>
                <a:lnTo>
                  <a:pt x="1073" y="0"/>
                </a:lnTo>
                <a:lnTo>
                  <a:pt x="989" y="0"/>
                </a:lnTo>
                <a:lnTo>
                  <a:pt x="147" y="0"/>
                </a:lnTo>
                <a:lnTo>
                  <a:pt x="147" y="0"/>
                </a:lnTo>
                <a:lnTo>
                  <a:pt x="131" y="1"/>
                </a:lnTo>
                <a:lnTo>
                  <a:pt x="117" y="3"/>
                </a:lnTo>
                <a:lnTo>
                  <a:pt x="103" y="7"/>
                </a:lnTo>
                <a:lnTo>
                  <a:pt x="90" y="12"/>
                </a:lnTo>
                <a:lnTo>
                  <a:pt x="76" y="18"/>
                </a:lnTo>
                <a:lnTo>
                  <a:pt x="65" y="25"/>
                </a:lnTo>
                <a:lnTo>
                  <a:pt x="53" y="33"/>
                </a:lnTo>
                <a:lnTo>
                  <a:pt x="43" y="43"/>
                </a:lnTo>
                <a:lnTo>
                  <a:pt x="33" y="53"/>
                </a:lnTo>
                <a:lnTo>
                  <a:pt x="25" y="65"/>
                </a:lnTo>
                <a:lnTo>
                  <a:pt x="18" y="77"/>
                </a:lnTo>
                <a:lnTo>
                  <a:pt x="12" y="90"/>
                </a:lnTo>
                <a:lnTo>
                  <a:pt x="6" y="103"/>
                </a:lnTo>
                <a:lnTo>
                  <a:pt x="3" y="118"/>
                </a:lnTo>
                <a:lnTo>
                  <a:pt x="0" y="133"/>
                </a:lnTo>
                <a:lnTo>
                  <a:pt x="0" y="147"/>
                </a:lnTo>
                <a:lnTo>
                  <a:pt x="0" y="265"/>
                </a:lnTo>
                <a:lnTo>
                  <a:pt x="0" y="265"/>
                </a:lnTo>
                <a:lnTo>
                  <a:pt x="0" y="280"/>
                </a:lnTo>
                <a:lnTo>
                  <a:pt x="3" y="294"/>
                </a:lnTo>
                <a:lnTo>
                  <a:pt x="6" y="309"/>
                </a:lnTo>
                <a:lnTo>
                  <a:pt x="12" y="322"/>
                </a:lnTo>
                <a:lnTo>
                  <a:pt x="18" y="335"/>
                </a:lnTo>
                <a:lnTo>
                  <a:pt x="25" y="347"/>
                </a:lnTo>
                <a:lnTo>
                  <a:pt x="33" y="359"/>
                </a:lnTo>
                <a:lnTo>
                  <a:pt x="43" y="369"/>
                </a:lnTo>
                <a:lnTo>
                  <a:pt x="53" y="379"/>
                </a:lnTo>
                <a:lnTo>
                  <a:pt x="65" y="387"/>
                </a:lnTo>
                <a:lnTo>
                  <a:pt x="76" y="394"/>
                </a:lnTo>
                <a:lnTo>
                  <a:pt x="90" y="400"/>
                </a:lnTo>
                <a:lnTo>
                  <a:pt x="103" y="406"/>
                </a:lnTo>
                <a:lnTo>
                  <a:pt x="117" y="409"/>
                </a:lnTo>
                <a:lnTo>
                  <a:pt x="131" y="411"/>
                </a:lnTo>
                <a:lnTo>
                  <a:pt x="147" y="412"/>
                </a:lnTo>
                <a:lnTo>
                  <a:pt x="407" y="412"/>
                </a:lnTo>
                <a:lnTo>
                  <a:pt x="573" y="412"/>
                </a:lnTo>
                <a:lnTo>
                  <a:pt x="588" y="412"/>
                </a:lnTo>
                <a:lnTo>
                  <a:pt x="588" y="412"/>
                </a:lnTo>
                <a:lnTo>
                  <a:pt x="599" y="413"/>
                </a:lnTo>
                <a:lnTo>
                  <a:pt x="611" y="416"/>
                </a:lnTo>
                <a:lnTo>
                  <a:pt x="620" y="422"/>
                </a:lnTo>
                <a:lnTo>
                  <a:pt x="630" y="430"/>
                </a:lnTo>
                <a:lnTo>
                  <a:pt x="636" y="438"/>
                </a:lnTo>
                <a:lnTo>
                  <a:pt x="642" y="447"/>
                </a:lnTo>
                <a:lnTo>
                  <a:pt x="645" y="459"/>
                </a:lnTo>
                <a:lnTo>
                  <a:pt x="646" y="470"/>
                </a:lnTo>
                <a:lnTo>
                  <a:pt x="646" y="470"/>
                </a:lnTo>
                <a:lnTo>
                  <a:pt x="645" y="483"/>
                </a:lnTo>
                <a:lnTo>
                  <a:pt x="642" y="493"/>
                </a:lnTo>
                <a:lnTo>
                  <a:pt x="636" y="504"/>
                </a:lnTo>
                <a:lnTo>
                  <a:pt x="630" y="512"/>
                </a:lnTo>
                <a:lnTo>
                  <a:pt x="620" y="519"/>
                </a:lnTo>
                <a:lnTo>
                  <a:pt x="611" y="524"/>
                </a:lnTo>
                <a:lnTo>
                  <a:pt x="599" y="529"/>
                </a:lnTo>
                <a:lnTo>
                  <a:pt x="588" y="530"/>
                </a:lnTo>
                <a:lnTo>
                  <a:pt x="573" y="530"/>
                </a:lnTo>
                <a:lnTo>
                  <a:pt x="573" y="530"/>
                </a:lnTo>
                <a:lnTo>
                  <a:pt x="345" y="530"/>
                </a:lnTo>
                <a:lnTo>
                  <a:pt x="345" y="530"/>
                </a:lnTo>
                <a:lnTo>
                  <a:pt x="336" y="531"/>
                </a:lnTo>
                <a:lnTo>
                  <a:pt x="327" y="532"/>
                </a:lnTo>
                <a:lnTo>
                  <a:pt x="320" y="534"/>
                </a:lnTo>
                <a:lnTo>
                  <a:pt x="312" y="537"/>
                </a:lnTo>
                <a:lnTo>
                  <a:pt x="304" y="540"/>
                </a:lnTo>
                <a:lnTo>
                  <a:pt x="298" y="544"/>
                </a:lnTo>
                <a:lnTo>
                  <a:pt x="291" y="550"/>
                </a:lnTo>
                <a:lnTo>
                  <a:pt x="286" y="555"/>
                </a:lnTo>
                <a:lnTo>
                  <a:pt x="279" y="561"/>
                </a:lnTo>
                <a:lnTo>
                  <a:pt x="275" y="567"/>
                </a:lnTo>
                <a:lnTo>
                  <a:pt x="271" y="575"/>
                </a:lnTo>
                <a:lnTo>
                  <a:pt x="267" y="582"/>
                </a:lnTo>
                <a:lnTo>
                  <a:pt x="265" y="589"/>
                </a:lnTo>
                <a:lnTo>
                  <a:pt x="263" y="597"/>
                </a:lnTo>
                <a:lnTo>
                  <a:pt x="261" y="606"/>
                </a:lnTo>
                <a:lnTo>
                  <a:pt x="261" y="614"/>
                </a:lnTo>
                <a:lnTo>
                  <a:pt x="261" y="614"/>
                </a:lnTo>
                <a:lnTo>
                  <a:pt x="261" y="622"/>
                </a:lnTo>
                <a:lnTo>
                  <a:pt x="263" y="631"/>
                </a:lnTo>
                <a:lnTo>
                  <a:pt x="265" y="639"/>
                </a:lnTo>
                <a:lnTo>
                  <a:pt x="267" y="648"/>
                </a:lnTo>
                <a:lnTo>
                  <a:pt x="271" y="655"/>
                </a:lnTo>
                <a:lnTo>
                  <a:pt x="275" y="661"/>
                </a:lnTo>
                <a:lnTo>
                  <a:pt x="279" y="668"/>
                </a:lnTo>
                <a:lnTo>
                  <a:pt x="286" y="674"/>
                </a:lnTo>
                <a:lnTo>
                  <a:pt x="291" y="680"/>
                </a:lnTo>
                <a:lnTo>
                  <a:pt x="298" y="684"/>
                </a:lnTo>
                <a:lnTo>
                  <a:pt x="304" y="688"/>
                </a:lnTo>
                <a:lnTo>
                  <a:pt x="312" y="692"/>
                </a:lnTo>
                <a:lnTo>
                  <a:pt x="320" y="694"/>
                </a:lnTo>
                <a:lnTo>
                  <a:pt x="327" y="697"/>
                </a:lnTo>
                <a:lnTo>
                  <a:pt x="336" y="699"/>
                </a:lnTo>
                <a:lnTo>
                  <a:pt x="345" y="699"/>
                </a:lnTo>
                <a:lnTo>
                  <a:pt x="1150" y="699"/>
                </a:lnTo>
                <a:lnTo>
                  <a:pt x="1150" y="699"/>
                </a:lnTo>
                <a:lnTo>
                  <a:pt x="1158" y="699"/>
                </a:lnTo>
                <a:lnTo>
                  <a:pt x="1167" y="697"/>
                </a:lnTo>
                <a:lnTo>
                  <a:pt x="1175" y="694"/>
                </a:lnTo>
                <a:lnTo>
                  <a:pt x="1182" y="692"/>
                </a:lnTo>
                <a:lnTo>
                  <a:pt x="1189" y="689"/>
                </a:lnTo>
                <a:lnTo>
                  <a:pt x="1197" y="685"/>
                </a:lnTo>
                <a:lnTo>
                  <a:pt x="1203" y="680"/>
                </a:lnTo>
                <a:lnTo>
                  <a:pt x="1209" y="675"/>
                </a:lnTo>
                <a:lnTo>
                  <a:pt x="1214" y="668"/>
                </a:lnTo>
                <a:lnTo>
                  <a:pt x="1220" y="662"/>
                </a:lnTo>
                <a:lnTo>
                  <a:pt x="1224" y="656"/>
                </a:lnTo>
                <a:lnTo>
                  <a:pt x="1227" y="649"/>
                </a:lnTo>
                <a:lnTo>
                  <a:pt x="1230" y="641"/>
                </a:lnTo>
                <a:lnTo>
                  <a:pt x="1232" y="633"/>
                </a:lnTo>
                <a:lnTo>
                  <a:pt x="1233" y="626"/>
                </a:lnTo>
                <a:lnTo>
                  <a:pt x="1234" y="617"/>
                </a:lnTo>
                <a:lnTo>
                  <a:pt x="1234" y="617"/>
                </a:lnTo>
                <a:lnTo>
                  <a:pt x="1234" y="617"/>
                </a:lnTo>
                <a:lnTo>
                  <a:pt x="1234" y="407"/>
                </a:lnTo>
                <a:lnTo>
                  <a:pt x="1234" y="407"/>
                </a:lnTo>
                <a:lnTo>
                  <a:pt x="1235" y="397"/>
                </a:lnTo>
                <a:lnTo>
                  <a:pt x="1237" y="388"/>
                </a:lnTo>
                <a:lnTo>
                  <a:pt x="1242" y="381"/>
                </a:lnTo>
                <a:lnTo>
                  <a:pt x="1248" y="373"/>
                </a:lnTo>
                <a:lnTo>
                  <a:pt x="1254" y="367"/>
                </a:lnTo>
                <a:lnTo>
                  <a:pt x="1262" y="363"/>
                </a:lnTo>
                <a:lnTo>
                  <a:pt x="1271" y="360"/>
                </a:lnTo>
                <a:lnTo>
                  <a:pt x="1280" y="359"/>
                </a:lnTo>
                <a:lnTo>
                  <a:pt x="1406" y="358"/>
                </a:lnTo>
                <a:lnTo>
                  <a:pt x="1406" y="358"/>
                </a:lnTo>
                <a:lnTo>
                  <a:pt x="1416" y="358"/>
                </a:lnTo>
                <a:lnTo>
                  <a:pt x="1426" y="356"/>
                </a:lnTo>
                <a:lnTo>
                  <a:pt x="1435" y="354"/>
                </a:lnTo>
                <a:lnTo>
                  <a:pt x="1444" y="350"/>
                </a:lnTo>
                <a:lnTo>
                  <a:pt x="1452" y="346"/>
                </a:lnTo>
                <a:lnTo>
                  <a:pt x="1460" y="341"/>
                </a:lnTo>
                <a:lnTo>
                  <a:pt x="1468" y="336"/>
                </a:lnTo>
                <a:lnTo>
                  <a:pt x="1475" y="330"/>
                </a:lnTo>
                <a:lnTo>
                  <a:pt x="1481" y="322"/>
                </a:lnTo>
                <a:lnTo>
                  <a:pt x="1488" y="315"/>
                </a:lnTo>
                <a:lnTo>
                  <a:pt x="1492" y="307"/>
                </a:lnTo>
                <a:lnTo>
                  <a:pt x="1496" y="298"/>
                </a:lnTo>
                <a:lnTo>
                  <a:pt x="1499" y="289"/>
                </a:lnTo>
                <a:lnTo>
                  <a:pt x="1502" y="280"/>
                </a:lnTo>
                <a:lnTo>
                  <a:pt x="1503" y="270"/>
                </a:lnTo>
                <a:lnTo>
                  <a:pt x="1504" y="260"/>
                </a:lnTo>
                <a:lnTo>
                  <a:pt x="1504" y="98"/>
                </a:lnTo>
                <a:lnTo>
                  <a:pt x="1504" y="98"/>
                </a:lnTo>
                <a:lnTo>
                  <a:pt x="1503" y="89"/>
                </a:lnTo>
                <a:lnTo>
                  <a:pt x="1502" y="78"/>
                </a:lnTo>
                <a:lnTo>
                  <a:pt x="1499" y="69"/>
                </a:lnTo>
                <a:lnTo>
                  <a:pt x="1496" y="61"/>
                </a:lnTo>
                <a:lnTo>
                  <a:pt x="1492" y="51"/>
                </a:lnTo>
                <a:lnTo>
                  <a:pt x="1488" y="44"/>
                </a:lnTo>
                <a:lnTo>
                  <a:pt x="1481" y="36"/>
                </a:lnTo>
                <a:lnTo>
                  <a:pt x="1475" y="29"/>
                </a:lnTo>
                <a:lnTo>
                  <a:pt x="1468" y="23"/>
                </a:lnTo>
                <a:lnTo>
                  <a:pt x="1460" y="17"/>
                </a:lnTo>
                <a:lnTo>
                  <a:pt x="1452" y="13"/>
                </a:lnTo>
                <a:lnTo>
                  <a:pt x="1444" y="8"/>
                </a:lnTo>
                <a:lnTo>
                  <a:pt x="1435" y="4"/>
                </a:lnTo>
                <a:lnTo>
                  <a:pt x="1426" y="2"/>
                </a:lnTo>
                <a:lnTo>
                  <a:pt x="1416" y="1"/>
                </a:lnTo>
                <a:lnTo>
                  <a:pt x="14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grpSp>
        <p:nvGrpSpPr>
          <p:cNvPr id="219" name="Group 218"/>
          <p:cNvGrpSpPr/>
          <p:nvPr/>
        </p:nvGrpSpPr>
        <p:grpSpPr>
          <a:xfrm>
            <a:off x="1005595" y="2686650"/>
            <a:ext cx="1667897" cy="1271136"/>
            <a:chOff x="1005595" y="2686650"/>
            <a:chExt cx="1667897" cy="1271136"/>
          </a:xfrm>
          <a:effectLst>
            <a:outerShdw blurRad="50800" dist="38100" dir="16200000" rotWithShape="0">
              <a:prstClr val="black">
                <a:alpha val="40000"/>
              </a:prstClr>
            </a:outerShdw>
          </a:effectLst>
        </p:grpSpPr>
        <p:sp>
          <p:nvSpPr>
            <p:cNvPr id="61" name="Freeform 288"/>
            <p:cNvSpPr>
              <a:spLocks/>
            </p:cNvSpPr>
            <p:nvPr/>
          </p:nvSpPr>
          <p:spPr bwMode="auto">
            <a:xfrm>
              <a:off x="2328159" y="3200981"/>
              <a:ext cx="337989" cy="382075"/>
            </a:xfrm>
            <a:custGeom>
              <a:avLst/>
              <a:gdLst>
                <a:gd name="T0" fmla="*/ 123 w 137"/>
                <a:gd name="T1" fmla="*/ 0 h 156"/>
                <a:gd name="T2" fmla="*/ 0 w 137"/>
                <a:gd name="T3" fmla="*/ 133 h 156"/>
                <a:gd name="T4" fmla="*/ 0 w 137"/>
                <a:gd name="T5" fmla="*/ 156 h 156"/>
                <a:gd name="T6" fmla="*/ 137 w 137"/>
                <a:gd name="T7" fmla="*/ 8 h 156"/>
                <a:gd name="T8" fmla="*/ 137 w 137"/>
                <a:gd name="T9" fmla="*/ 8 h 156"/>
                <a:gd name="T10" fmla="*/ 130 w 137"/>
                <a:gd name="T11" fmla="*/ 3 h 156"/>
                <a:gd name="T12" fmla="*/ 123 w 137"/>
                <a:gd name="T13" fmla="*/ 0 h 156"/>
              </a:gdLst>
              <a:ahLst/>
              <a:cxnLst>
                <a:cxn ang="0">
                  <a:pos x="T0" y="T1"/>
                </a:cxn>
                <a:cxn ang="0">
                  <a:pos x="T2" y="T3"/>
                </a:cxn>
                <a:cxn ang="0">
                  <a:pos x="T4" y="T5"/>
                </a:cxn>
                <a:cxn ang="0">
                  <a:pos x="T6" y="T7"/>
                </a:cxn>
                <a:cxn ang="0">
                  <a:pos x="T8" y="T9"/>
                </a:cxn>
                <a:cxn ang="0">
                  <a:pos x="T10" y="T11"/>
                </a:cxn>
                <a:cxn ang="0">
                  <a:pos x="T12" y="T13"/>
                </a:cxn>
              </a:cxnLst>
              <a:rect l="0" t="0" r="r" b="b"/>
              <a:pathLst>
                <a:path w="137" h="156">
                  <a:moveTo>
                    <a:pt x="123" y="0"/>
                  </a:moveTo>
                  <a:lnTo>
                    <a:pt x="0" y="133"/>
                  </a:lnTo>
                  <a:lnTo>
                    <a:pt x="0" y="156"/>
                  </a:lnTo>
                  <a:lnTo>
                    <a:pt x="137" y="8"/>
                  </a:lnTo>
                  <a:lnTo>
                    <a:pt x="137" y="8"/>
                  </a:lnTo>
                  <a:lnTo>
                    <a:pt x="130" y="3"/>
                  </a:lnTo>
                  <a:lnTo>
                    <a:pt x="1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62" name="Freeform 289"/>
            <p:cNvSpPr>
              <a:spLocks/>
            </p:cNvSpPr>
            <p:nvPr/>
          </p:nvSpPr>
          <p:spPr bwMode="auto">
            <a:xfrm>
              <a:off x="2328159" y="3186286"/>
              <a:ext cx="227777" cy="242473"/>
            </a:xfrm>
            <a:custGeom>
              <a:avLst/>
              <a:gdLst>
                <a:gd name="T0" fmla="*/ 90 w 92"/>
                <a:gd name="T1" fmla="*/ 0 h 100"/>
                <a:gd name="T2" fmla="*/ 90 w 92"/>
                <a:gd name="T3" fmla="*/ 0 h 100"/>
                <a:gd name="T4" fmla="*/ 79 w 92"/>
                <a:gd name="T5" fmla="*/ 1 h 100"/>
                <a:gd name="T6" fmla="*/ 69 w 92"/>
                <a:gd name="T7" fmla="*/ 3 h 100"/>
                <a:gd name="T8" fmla="*/ 1 w 92"/>
                <a:gd name="T9" fmla="*/ 76 h 100"/>
                <a:gd name="T10" fmla="*/ 1 w 92"/>
                <a:gd name="T11" fmla="*/ 76 h 100"/>
                <a:gd name="T12" fmla="*/ 0 w 92"/>
                <a:gd name="T13" fmla="*/ 83 h 100"/>
                <a:gd name="T14" fmla="*/ 0 w 92"/>
                <a:gd name="T15" fmla="*/ 91 h 100"/>
                <a:gd name="T16" fmla="*/ 0 w 92"/>
                <a:gd name="T17" fmla="*/ 100 h 100"/>
                <a:gd name="T18" fmla="*/ 92 w 92"/>
                <a:gd name="T19" fmla="*/ 0 h 100"/>
                <a:gd name="T20" fmla="*/ 92 w 92"/>
                <a:gd name="T21" fmla="*/ 0 h 100"/>
                <a:gd name="T22" fmla="*/ 90 w 92"/>
                <a:gd name="T23"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100">
                  <a:moveTo>
                    <a:pt x="90" y="0"/>
                  </a:moveTo>
                  <a:lnTo>
                    <a:pt x="90" y="0"/>
                  </a:lnTo>
                  <a:lnTo>
                    <a:pt x="79" y="1"/>
                  </a:lnTo>
                  <a:lnTo>
                    <a:pt x="69" y="3"/>
                  </a:lnTo>
                  <a:lnTo>
                    <a:pt x="1" y="76"/>
                  </a:lnTo>
                  <a:lnTo>
                    <a:pt x="1" y="76"/>
                  </a:lnTo>
                  <a:lnTo>
                    <a:pt x="0" y="83"/>
                  </a:lnTo>
                  <a:lnTo>
                    <a:pt x="0" y="91"/>
                  </a:lnTo>
                  <a:lnTo>
                    <a:pt x="0" y="100"/>
                  </a:lnTo>
                  <a:lnTo>
                    <a:pt x="92" y="0"/>
                  </a:lnTo>
                  <a:lnTo>
                    <a:pt x="92" y="0"/>
                  </a:lnTo>
                  <a:lnTo>
                    <a:pt x="9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80" name="Freeform 307"/>
            <p:cNvSpPr>
              <a:spLocks/>
            </p:cNvSpPr>
            <p:nvPr/>
          </p:nvSpPr>
          <p:spPr bwMode="auto">
            <a:xfrm>
              <a:off x="1630137" y="3274457"/>
              <a:ext cx="213082" cy="176342"/>
            </a:xfrm>
            <a:custGeom>
              <a:avLst/>
              <a:gdLst>
                <a:gd name="T0" fmla="*/ 87 w 87"/>
                <a:gd name="T1" fmla="*/ 71 h 71"/>
                <a:gd name="T2" fmla="*/ 0 w 87"/>
                <a:gd name="T3" fmla="*/ 71 h 71"/>
                <a:gd name="T4" fmla="*/ 0 w 87"/>
                <a:gd name="T5" fmla="*/ 0 h 71"/>
                <a:gd name="T6" fmla="*/ 87 w 87"/>
                <a:gd name="T7" fmla="*/ 71 h 71"/>
              </a:gdLst>
              <a:ahLst/>
              <a:cxnLst>
                <a:cxn ang="0">
                  <a:pos x="T0" y="T1"/>
                </a:cxn>
                <a:cxn ang="0">
                  <a:pos x="T2" y="T3"/>
                </a:cxn>
                <a:cxn ang="0">
                  <a:pos x="T4" y="T5"/>
                </a:cxn>
                <a:cxn ang="0">
                  <a:pos x="T6" y="T7"/>
                </a:cxn>
              </a:cxnLst>
              <a:rect l="0" t="0" r="r" b="b"/>
              <a:pathLst>
                <a:path w="87" h="71">
                  <a:moveTo>
                    <a:pt x="87" y="71"/>
                  </a:moveTo>
                  <a:lnTo>
                    <a:pt x="0" y="71"/>
                  </a:lnTo>
                  <a:lnTo>
                    <a:pt x="0" y="0"/>
                  </a:lnTo>
                  <a:lnTo>
                    <a:pt x="87" y="71"/>
                  </a:lnTo>
                  <a:close/>
                </a:path>
              </a:pathLst>
            </a:custGeom>
            <a:solidFill>
              <a:srgbClr val="308582"/>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81" name="Freeform 308"/>
            <p:cNvSpPr>
              <a:spLocks/>
            </p:cNvSpPr>
            <p:nvPr/>
          </p:nvSpPr>
          <p:spPr bwMode="auto">
            <a:xfrm>
              <a:off x="1630137" y="3274457"/>
              <a:ext cx="323293" cy="161647"/>
            </a:xfrm>
            <a:custGeom>
              <a:avLst/>
              <a:gdLst>
                <a:gd name="T0" fmla="*/ 0 w 134"/>
                <a:gd name="T1" fmla="*/ 0 h 65"/>
                <a:gd name="T2" fmla="*/ 57 w 134"/>
                <a:gd name="T3" fmla="*/ 0 h 65"/>
                <a:gd name="T4" fmla="*/ 134 w 134"/>
                <a:gd name="T5" fmla="*/ 65 h 65"/>
                <a:gd name="T6" fmla="*/ 78 w 134"/>
                <a:gd name="T7" fmla="*/ 65 h 65"/>
                <a:gd name="T8" fmla="*/ 0 w 134"/>
                <a:gd name="T9" fmla="*/ 0 h 65"/>
              </a:gdLst>
              <a:ahLst/>
              <a:cxnLst>
                <a:cxn ang="0">
                  <a:pos x="T0" y="T1"/>
                </a:cxn>
                <a:cxn ang="0">
                  <a:pos x="T2" y="T3"/>
                </a:cxn>
                <a:cxn ang="0">
                  <a:pos x="T4" y="T5"/>
                </a:cxn>
                <a:cxn ang="0">
                  <a:pos x="T6" y="T7"/>
                </a:cxn>
                <a:cxn ang="0">
                  <a:pos x="T8" y="T9"/>
                </a:cxn>
              </a:cxnLst>
              <a:rect l="0" t="0" r="r" b="b"/>
              <a:pathLst>
                <a:path w="134" h="65">
                  <a:moveTo>
                    <a:pt x="0" y="0"/>
                  </a:moveTo>
                  <a:lnTo>
                    <a:pt x="57" y="0"/>
                  </a:lnTo>
                  <a:lnTo>
                    <a:pt x="134" y="65"/>
                  </a:lnTo>
                  <a:lnTo>
                    <a:pt x="78" y="65"/>
                  </a:lnTo>
                  <a:lnTo>
                    <a:pt x="0" y="0"/>
                  </a:lnTo>
                  <a:close/>
                </a:path>
              </a:pathLst>
            </a:custGeom>
            <a:solidFill>
              <a:srgbClr val="4D9C9A"/>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82" name="Freeform 309"/>
            <p:cNvSpPr>
              <a:spLocks/>
            </p:cNvSpPr>
            <p:nvPr/>
          </p:nvSpPr>
          <p:spPr bwMode="auto">
            <a:xfrm>
              <a:off x="1960780" y="3274457"/>
              <a:ext cx="213082" cy="176342"/>
            </a:xfrm>
            <a:custGeom>
              <a:avLst/>
              <a:gdLst>
                <a:gd name="T0" fmla="*/ 86 w 86"/>
                <a:gd name="T1" fmla="*/ 71 h 71"/>
                <a:gd name="T2" fmla="*/ 0 w 86"/>
                <a:gd name="T3" fmla="*/ 71 h 71"/>
                <a:gd name="T4" fmla="*/ 0 w 86"/>
                <a:gd name="T5" fmla="*/ 0 h 71"/>
                <a:gd name="T6" fmla="*/ 86 w 86"/>
                <a:gd name="T7" fmla="*/ 71 h 71"/>
              </a:gdLst>
              <a:ahLst/>
              <a:cxnLst>
                <a:cxn ang="0">
                  <a:pos x="T0" y="T1"/>
                </a:cxn>
                <a:cxn ang="0">
                  <a:pos x="T2" y="T3"/>
                </a:cxn>
                <a:cxn ang="0">
                  <a:pos x="T4" y="T5"/>
                </a:cxn>
                <a:cxn ang="0">
                  <a:pos x="T6" y="T7"/>
                </a:cxn>
              </a:cxnLst>
              <a:rect l="0" t="0" r="r" b="b"/>
              <a:pathLst>
                <a:path w="86" h="71">
                  <a:moveTo>
                    <a:pt x="86" y="71"/>
                  </a:moveTo>
                  <a:lnTo>
                    <a:pt x="0" y="71"/>
                  </a:lnTo>
                  <a:lnTo>
                    <a:pt x="0" y="0"/>
                  </a:lnTo>
                  <a:lnTo>
                    <a:pt x="86" y="71"/>
                  </a:lnTo>
                  <a:close/>
                </a:path>
              </a:pathLst>
            </a:custGeom>
            <a:solidFill>
              <a:srgbClr val="308582"/>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83" name="Freeform 310"/>
            <p:cNvSpPr>
              <a:spLocks/>
            </p:cNvSpPr>
            <p:nvPr/>
          </p:nvSpPr>
          <p:spPr bwMode="auto">
            <a:xfrm>
              <a:off x="1960780" y="3274457"/>
              <a:ext cx="323293" cy="161647"/>
            </a:xfrm>
            <a:custGeom>
              <a:avLst/>
              <a:gdLst>
                <a:gd name="T0" fmla="*/ 0 w 133"/>
                <a:gd name="T1" fmla="*/ 0 h 65"/>
                <a:gd name="T2" fmla="*/ 56 w 133"/>
                <a:gd name="T3" fmla="*/ 0 h 65"/>
                <a:gd name="T4" fmla="*/ 133 w 133"/>
                <a:gd name="T5" fmla="*/ 65 h 65"/>
                <a:gd name="T6" fmla="*/ 78 w 133"/>
                <a:gd name="T7" fmla="*/ 65 h 65"/>
                <a:gd name="T8" fmla="*/ 0 w 133"/>
                <a:gd name="T9" fmla="*/ 0 h 65"/>
              </a:gdLst>
              <a:ahLst/>
              <a:cxnLst>
                <a:cxn ang="0">
                  <a:pos x="T0" y="T1"/>
                </a:cxn>
                <a:cxn ang="0">
                  <a:pos x="T2" y="T3"/>
                </a:cxn>
                <a:cxn ang="0">
                  <a:pos x="T4" y="T5"/>
                </a:cxn>
                <a:cxn ang="0">
                  <a:pos x="T6" y="T7"/>
                </a:cxn>
                <a:cxn ang="0">
                  <a:pos x="T8" y="T9"/>
                </a:cxn>
              </a:cxnLst>
              <a:rect l="0" t="0" r="r" b="b"/>
              <a:pathLst>
                <a:path w="133" h="65">
                  <a:moveTo>
                    <a:pt x="0" y="0"/>
                  </a:moveTo>
                  <a:lnTo>
                    <a:pt x="56" y="0"/>
                  </a:lnTo>
                  <a:lnTo>
                    <a:pt x="133" y="65"/>
                  </a:lnTo>
                  <a:lnTo>
                    <a:pt x="78" y="65"/>
                  </a:lnTo>
                  <a:lnTo>
                    <a:pt x="0" y="0"/>
                  </a:lnTo>
                  <a:close/>
                </a:path>
              </a:pathLst>
            </a:custGeom>
            <a:solidFill>
              <a:srgbClr val="4D9C9A"/>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84" name="Freeform 311"/>
            <p:cNvSpPr>
              <a:spLocks/>
            </p:cNvSpPr>
            <p:nvPr/>
          </p:nvSpPr>
          <p:spPr bwMode="auto">
            <a:xfrm>
              <a:off x="2298769" y="3274457"/>
              <a:ext cx="213082" cy="176342"/>
            </a:xfrm>
            <a:custGeom>
              <a:avLst/>
              <a:gdLst>
                <a:gd name="T0" fmla="*/ 86 w 86"/>
                <a:gd name="T1" fmla="*/ 71 h 71"/>
                <a:gd name="T2" fmla="*/ 0 w 86"/>
                <a:gd name="T3" fmla="*/ 71 h 71"/>
                <a:gd name="T4" fmla="*/ 0 w 86"/>
                <a:gd name="T5" fmla="*/ 0 h 71"/>
                <a:gd name="T6" fmla="*/ 86 w 86"/>
                <a:gd name="T7" fmla="*/ 71 h 71"/>
              </a:gdLst>
              <a:ahLst/>
              <a:cxnLst>
                <a:cxn ang="0">
                  <a:pos x="T0" y="T1"/>
                </a:cxn>
                <a:cxn ang="0">
                  <a:pos x="T2" y="T3"/>
                </a:cxn>
                <a:cxn ang="0">
                  <a:pos x="T4" y="T5"/>
                </a:cxn>
                <a:cxn ang="0">
                  <a:pos x="T6" y="T7"/>
                </a:cxn>
              </a:cxnLst>
              <a:rect l="0" t="0" r="r" b="b"/>
              <a:pathLst>
                <a:path w="86" h="71">
                  <a:moveTo>
                    <a:pt x="86" y="71"/>
                  </a:moveTo>
                  <a:lnTo>
                    <a:pt x="0" y="71"/>
                  </a:lnTo>
                  <a:lnTo>
                    <a:pt x="0" y="0"/>
                  </a:lnTo>
                  <a:lnTo>
                    <a:pt x="86" y="71"/>
                  </a:lnTo>
                  <a:close/>
                </a:path>
              </a:pathLst>
            </a:custGeom>
            <a:solidFill>
              <a:srgbClr val="308582"/>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85" name="Freeform 312"/>
            <p:cNvSpPr>
              <a:spLocks/>
            </p:cNvSpPr>
            <p:nvPr/>
          </p:nvSpPr>
          <p:spPr bwMode="auto">
            <a:xfrm>
              <a:off x="2298769" y="3274457"/>
              <a:ext cx="330643" cy="161647"/>
            </a:xfrm>
            <a:custGeom>
              <a:avLst/>
              <a:gdLst>
                <a:gd name="T0" fmla="*/ 0 w 134"/>
                <a:gd name="T1" fmla="*/ 0 h 65"/>
                <a:gd name="T2" fmla="*/ 56 w 134"/>
                <a:gd name="T3" fmla="*/ 0 h 65"/>
                <a:gd name="T4" fmla="*/ 134 w 134"/>
                <a:gd name="T5" fmla="*/ 65 h 65"/>
                <a:gd name="T6" fmla="*/ 79 w 134"/>
                <a:gd name="T7" fmla="*/ 65 h 65"/>
                <a:gd name="T8" fmla="*/ 0 w 134"/>
                <a:gd name="T9" fmla="*/ 0 h 65"/>
              </a:gdLst>
              <a:ahLst/>
              <a:cxnLst>
                <a:cxn ang="0">
                  <a:pos x="T0" y="T1"/>
                </a:cxn>
                <a:cxn ang="0">
                  <a:pos x="T2" y="T3"/>
                </a:cxn>
                <a:cxn ang="0">
                  <a:pos x="T4" y="T5"/>
                </a:cxn>
                <a:cxn ang="0">
                  <a:pos x="T6" y="T7"/>
                </a:cxn>
                <a:cxn ang="0">
                  <a:pos x="T8" y="T9"/>
                </a:cxn>
              </a:cxnLst>
              <a:rect l="0" t="0" r="r" b="b"/>
              <a:pathLst>
                <a:path w="134" h="65">
                  <a:moveTo>
                    <a:pt x="0" y="0"/>
                  </a:moveTo>
                  <a:lnTo>
                    <a:pt x="56" y="0"/>
                  </a:lnTo>
                  <a:lnTo>
                    <a:pt x="134" y="65"/>
                  </a:lnTo>
                  <a:lnTo>
                    <a:pt x="79" y="65"/>
                  </a:lnTo>
                  <a:lnTo>
                    <a:pt x="0" y="0"/>
                  </a:lnTo>
                  <a:close/>
                </a:path>
              </a:pathLst>
            </a:custGeom>
            <a:solidFill>
              <a:srgbClr val="4D9C9A"/>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86" name="Freeform 313"/>
            <p:cNvSpPr>
              <a:spLocks/>
            </p:cNvSpPr>
            <p:nvPr/>
          </p:nvSpPr>
          <p:spPr bwMode="auto">
            <a:xfrm>
              <a:off x="1255413" y="3178941"/>
              <a:ext cx="367379" cy="257168"/>
            </a:xfrm>
            <a:custGeom>
              <a:avLst/>
              <a:gdLst>
                <a:gd name="T0" fmla="*/ 0 w 149"/>
                <a:gd name="T1" fmla="*/ 0 h 104"/>
                <a:gd name="T2" fmla="*/ 71 w 149"/>
                <a:gd name="T3" fmla="*/ 0 h 104"/>
                <a:gd name="T4" fmla="*/ 149 w 149"/>
                <a:gd name="T5" fmla="*/ 104 h 104"/>
                <a:gd name="T6" fmla="*/ 78 w 149"/>
                <a:gd name="T7" fmla="*/ 104 h 104"/>
                <a:gd name="T8" fmla="*/ 0 w 149"/>
                <a:gd name="T9" fmla="*/ 0 h 104"/>
              </a:gdLst>
              <a:ahLst/>
              <a:cxnLst>
                <a:cxn ang="0">
                  <a:pos x="T0" y="T1"/>
                </a:cxn>
                <a:cxn ang="0">
                  <a:pos x="T2" y="T3"/>
                </a:cxn>
                <a:cxn ang="0">
                  <a:pos x="T4" y="T5"/>
                </a:cxn>
                <a:cxn ang="0">
                  <a:pos x="T6" y="T7"/>
                </a:cxn>
                <a:cxn ang="0">
                  <a:pos x="T8" y="T9"/>
                </a:cxn>
              </a:cxnLst>
              <a:rect l="0" t="0" r="r" b="b"/>
              <a:pathLst>
                <a:path w="149" h="104">
                  <a:moveTo>
                    <a:pt x="0" y="0"/>
                  </a:moveTo>
                  <a:lnTo>
                    <a:pt x="71" y="0"/>
                  </a:lnTo>
                  <a:lnTo>
                    <a:pt x="149" y="104"/>
                  </a:lnTo>
                  <a:lnTo>
                    <a:pt x="78" y="104"/>
                  </a:lnTo>
                  <a:lnTo>
                    <a:pt x="0" y="0"/>
                  </a:lnTo>
                  <a:close/>
                </a:path>
              </a:pathLst>
            </a:custGeom>
            <a:solidFill>
              <a:srgbClr val="308582"/>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87" name="Rectangle 314"/>
            <p:cNvSpPr>
              <a:spLocks noChangeArrowheads="1"/>
            </p:cNvSpPr>
            <p:nvPr/>
          </p:nvSpPr>
          <p:spPr bwMode="auto">
            <a:xfrm>
              <a:off x="1292148" y="3487540"/>
              <a:ext cx="1307869" cy="470246"/>
            </a:xfrm>
            <a:prstGeom prst="rect">
              <a:avLst/>
            </a:prstGeom>
            <a:solidFill>
              <a:srgbClr val="30858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88" name="Rectangle 315"/>
            <p:cNvSpPr>
              <a:spLocks noChangeArrowheads="1"/>
            </p:cNvSpPr>
            <p:nvPr/>
          </p:nvSpPr>
          <p:spPr bwMode="auto">
            <a:xfrm>
              <a:off x="1218672" y="3428759"/>
              <a:ext cx="1454820" cy="117561"/>
            </a:xfrm>
            <a:prstGeom prst="rect">
              <a:avLst/>
            </a:prstGeom>
            <a:solidFill>
              <a:srgbClr val="C7401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89" name="Rectangle 316"/>
            <p:cNvSpPr>
              <a:spLocks noChangeArrowheads="1"/>
            </p:cNvSpPr>
            <p:nvPr/>
          </p:nvSpPr>
          <p:spPr bwMode="auto">
            <a:xfrm>
              <a:off x="1255413" y="2760126"/>
              <a:ext cx="191037" cy="690674"/>
            </a:xfrm>
            <a:prstGeom prst="rect">
              <a:avLst/>
            </a:prstGeom>
            <a:solidFill>
              <a:srgbClr val="4D9C9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90" name="Rectangle 317"/>
            <p:cNvSpPr>
              <a:spLocks noChangeArrowheads="1"/>
            </p:cNvSpPr>
            <p:nvPr/>
          </p:nvSpPr>
          <p:spPr bwMode="auto">
            <a:xfrm>
              <a:off x="1233368" y="2686650"/>
              <a:ext cx="242472" cy="80826"/>
            </a:xfrm>
            <a:prstGeom prst="rect">
              <a:avLst/>
            </a:prstGeom>
            <a:solidFill>
              <a:srgbClr val="E85B3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91" name="Freeform 318"/>
            <p:cNvSpPr>
              <a:spLocks/>
            </p:cNvSpPr>
            <p:nvPr/>
          </p:nvSpPr>
          <p:spPr bwMode="auto">
            <a:xfrm>
              <a:off x="1064376" y="2980554"/>
              <a:ext cx="154301" cy="470246"/>
            </a:xfrm>
            <a:custGeom>
              <a:avLst/>
              <a:gdLst>
                <a:gd name="T0" fmla="*/ 10 w 63"/>
                <a:gd name="T1" fmla="*/ 0 h 190"/>
                <a:gd name="T2" fmla="*/ 53 w 63"/>
                <a:gd name="T3" fmla="*/ 0 h 190"/>
                <a:gd name="T4" fmla="*/ 63 w 63"/>
                <a:gd name="T5" fmla="*/ 190 h 190"/>
                <a:gd name="T6" fmla="*/ 0 w 63"/>
                <a:gd name="T7" fmla="*/ 190 h 190"/>
                <a:gd name="T8" fmla="*/ 10 w 63"/>
                <a:gd name="T9" fmla="*/ 0 h 190"/>
              </a:gdLst>
              <a:ahLst/>
              <a:cxnLst>
                <a:cxn ang="0">
                  <a:pos x="T0" y="T1"/>
                </a:cxn>
                <a:cxn ang="0">
                  <a:pos x="T2" y="T3"/>
                </a:cxn>
                <a:cxn ang="0">
                  <a:pos x="T4" y="T5"/>
                </a:cxn>
                <a:cxn ang="0">
                  <a:pos x="T6" y="T7"/>
                </a:cxn>
                <a:cxn ang="0">
                  <a:pos x="T8" y="T9"/>
                </a:cxn>
              </a:cxnLst>
              <a:rect l="0" t="0" r="r" b="b"/>
              <a:pathLst>
                <a:path w="63" h="190">
                  <a:moveTo>
                    <a:pt x="10" y="0"/>
                  </a:moveTo>
                  <a:lnTo>
                    <a:pt x="53" y="0"/>
                  </a:lnTo>
                  <a:lnTo>
                    <a:pt x="63" y="190"/>
                  </a:lnTo>
                  <a:lnTo>
                    <a:pt x="0" y="190"/>
                  </a:lnTo>
                  <a:lnTo>
                    <a:pt x="10" y="0"/>
                  </a:lnTo>
                  <a:close/>
                </a:path>
              </a:pathLst>
            </a:custGeom>
            <a:solidFill>
              <a:srgbClr val="4D9C9A"/>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92" name="Rectangle 319"/>
            <p:cNvSpPr>
              <a:spLocks noChangeArrowheads="1"/>
            </p:cNvSpPr>
            <p:nvPr/>
          </p:nvSpPr>
          <p:spPr bwMode="auto">
            <a:xfrm>
              <a:off x="1079071" y="2907078"/>
              <a:ext cx="132256" cy="88171"/>
            </a:xfrm>
            <a:prstGeom prst="rect">
              <a:avLst/>
            </a:prstGeom>
            <a:solidFill>
              <a:srgbClr val="E85B3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93" name="Rectangle 320"/>
            <p:cNvSpPr>
              <a:spLocks noChangeArrowheads="1"/>
            </p:cNvSpPr>
            <p:nvPr/>
          </p:nvSpPr>
          <p:spPr bwMode="auto">
            <a:xfrm>
              <a:off x="1079071" y="3487540"/>
              <a:ext cx="1307869" cy="470246"/>
            </a:xfrm>
            <a:prstGeom prst="rect">
              <a:avLst/>
            </a:prstGeom>
            <a:solidFill>
              <a:srgbClr val="4D9C9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94" name="Rectangle 321"/>
            <p:cNvSpPr>
              <a:spLocks noChangeArrowheads="1"/>
            </p:cNvSpPr>
            <p:nvPr/>
          </p:nvSpPr>
          <p:spPr bwMode="auto">
            <a:xfrm>
              <a:off x="1005595" y="3428759"/>
              <a:ext cx="1454820" cy="117561"/>
            </a:xfrm>
            <a:prstGeom prst="rect">
              <a:avLst/>
            </a:prstGeom>
            <a:solidFill>
              <a:srgbClr val="E85B3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95" name="Rectangle 322"/>
            <p:cNvSpPr>
              <a:spLocks noChangeArrowheads="1"/>
            </p:cNvSpPr>
            <p:nvPr/>
          </p:nvSpPr>
          <p:spPr bwMode="auto">
            <a:xfrm>
              <a:off x="1145197" y="3590406"/>
              <a:ext cx="102866" cy="110216"/>
            </a:xfrm>
            <a:prstGeom prst="rect">
              <a:avLst/>
            </a:prstGeom>
            <a:solidFill>
              <a:srgbClr val="56534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96" name="Rectangle 323"/>
            <p:cNvSpPr>
              <a:spLocks noChangeArrowheads="1"/>
            </p:cNvSpPr>
            <p:nvPr/>
          </p:nvSpPr>
          <p:spPr bwMode="auto">
            <a:xfrm>
              <a:off x="1314193" y="3590406"/>
              <a:ext cx="102866" cy="110216"/>
            </a:xfrm>
            <a:prstGeom prst="rect">
              <a:avLst/>
            </a:prstGeom>
            <a:solidFill>
              <a:srgbClr val="56534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97" name="Rectangle 324"/>
            <p:cNvSpPr>
              <a:spLocks noChangeArrowheads="1"/>
            </p:cNvSpPr>
            <p:nvPr/>
          </p:nvSpPr>
          <p:spPr bwMode="auto">
            <a:xfrm>
              <a:off x="1483185" y="3590406"/>
              <a:ext cx="95521" cy="110216"/>
            </a:xfrm>
            <a:prstGeom prst="rect">
              <a:avLst/>
            </a:prstGeom>
            <a:solidFill>
              <a:srgbClr val="56534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98" name="Rectangle 325"/>
            <p:cNvSpPr>
              <a:spLocks noChangeArrowheads="1"/>
            </p:cNvSpPr>
            <p:nvPr/>
          </p:nvSpPr>
          <p:spPr bwMode="auto">
            <a:xfrm>
              <a:off x="1652182" y="3590406"/>
              <a:ext cx="95521" cy="110216"/>
            </a:xfrm>
            <a:prstGeom prst="rect">
              <a:avLst/>
            </a:prstGeom>
            <a:solidFill>
              <a:srgbClr val="56534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99" name="Rectangle 326"/>
            <p:cNvSpPr>
              <a:spLocks noChangeArrowheads="1"/>
            </p:cNvSpPr>
            <p:nvPr/>
          </p:nvSpPr>
          <p:spPr bwMode="auto">
            <a:xfrm>
              <a:off x="1145197" y="3744703"/>
              <a:ext cx="102866" cy="117561"/>
            </a:xfrm>
            <a:prstGeom prst="rect">
              <a:avLst/>
            </a:prstGeom>
            <a:solidFill>
              <a:srgbClr val="56534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00" name="Rectangle 327"/>
            <p:cNvSpPr>
              <a:spLocks noChangeArrowheads="1"/>
            </p:cNvSpPr>
            <p:nvPr/>
          </p:nvSpPr>
          <p:spPr bwMode="auto">
            <a:xfrm>
              <a:off x="1314193" y="3744703"/>
              <a:ext cx="102866" cy="117561"/>
            </a:xfrm>
            <a:prstGeom prst="rect">
              <a:avLst/>
            </a:prstGeom>
            <a:solidFill>
              <a:srgbClr val="56534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01" name="Rectangle 328"/>
            <p:cNvSpPr>
              <a:spLocks noChangeArrowheads="1"/>
            </p:cNvSpPr>
            <p:nvPr/>
          </p:nvSpPr>
          <p:spPr bwMode="auto">
            <a:xfrm>
              <a:off x="1483185" y="3744703"/>
              <a:ext cx="95521" cy="117561"/>
            </a:xfrm>
            <a:prstGeom prst="rect">
              <a:avLst/>
            </a:prstGeom>
            <a:solidFill>
              <a:srgbClr val="56534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02" name="Rectangle 329"/>
            <p:cNvSpPr>
              <a:spLocks noChangeArrowheads="1"/>
            </p:cNvSpPr>
            <p:nvPr/>
          </p:nvSpPr>
          <p:spPr bwMode="auto">
            <a:xfrm>
              <a:off x="1652182" y="3744703"/>
              <a:ext cx="95521" cy="117561"/>
            </a:xfrm>
            <a:prstGeom prst="rect">
              <a:avLst/>
            </a:prstGeom>
            <a:solidFill>
              <a:srgbClr val="56534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03" name="Rectangle 330"/>
            <p:cNvSpPr>
              <a:spLocks noChangeArrowheads="1"/>
            </p:cNvSpPr>
            <p:nvPr/>
          </p:nvSpPr>
          <p:spPr bwMode="auto">
            <a:xfrm>
              <a:off x="2056296" y="3590406"/>
              <a:ext cx="102866" cy="110216"/>
            </a:xfrm>
            <a:prstGeom prst="rect">
              <a:avLst/>
            </a:prstGeom>
            <a:solidFill>
              <a:srgbClr val="56534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04" name="Rectangle 331"/>
            <p:cNvSpPr>
              <a:spLocks noChangeArrowheads="1"/>
            </p:cNvSpPr>
            <p:nvPr/>
          </p:nvSpPr>
          <p:spPr bwMode="auto">
            <a:xfrm>
              <a:off x="2225293" y="3590406"/>
              <a:ext cx="102866" cy="110216"/>
            </a:xfrm>
            <a:prstGeom prst="rect">
              <a:avLst/>
            </a:prstGeom>
            <a:solidFill>
              <a:srgbClr val="56534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05" name="Rectangle 332"/>
            <p:cNvSpPr>
              <a:spLocks noChangeArrowheads="1"/>
            </p:cNvSpPr>
            <p:nvPr/>
          </p:nvSpPr>
          <p:spPr bwMode="auto">
            <a:xfrm>
              <a:off x="2056296" y="3744703"/>
              <a:ext cx="102866" cy="117561"/>
            </a:xfrm>
            <a:prstGeom prst="rect">
              <a:avLst/>
            </a:prstGeom>
            <a:solidFill>
              <a:srgbClr val="56534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06" name="Rectangle 333"/>
            <p:cNvSpPr>
              <a:spLocks noChangeArrowheads="1"/>
            </p:cNvSpPr>
            <p:nvPr/>
          </p:nvSpPr>
          <p:spPr bwMode="auto">
            <a:xfrm>
              <a:off x="2225293" y="3744703"/>
              <a:ext cx="102866" cy="117561"/>
            </a:xfrm>
            <a:prstGeom prst="rect">
              <a:avLst/>
            </a:prstGeom>
            <a:solidFill>
              <a:srgbClr val="56534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07" name="Freeform 334"/>
            <p:cNvSpPr>
              <a:spLocks/>
            </p:cNvSpPr>
            <p:nvPr/>
          </p:nvSpPr>
          <p:spPr bwMode="auto">
            <a:xfrm>
              <a:off x="1821174" y="3627142"/>
              <a:ext cx="168997" cy="323294"/>
            </a:xfrm>
            <a:custGeom>
              <a:avLst/>
              <a:gdLst>
                <a:gd name="T0" fmla="*/ 68 w 68"/>
                <a:gd name="T1" fmla="*/ 7 h 132"/>
                <a:gd name="T2" fmla="*/ 68 w 68"/>
                <a:gd name="T3" fmla="*/ 7 h 132"/>
                <a:gd name="T4" fmla="*/ 67 w 68"/>
                <a:gd name="T5" fmla="*/ 5 h 132"/>
                <a:gd name="T6" fmla="*/ 66 w 68"/>
                <a:gd name="T7" fmla="*/ 3 h 132"/>
                <a:gd name="T8" fmla="*/ 64 w 68"/>
                <a:gd name="T9" fmla="*/ 2 h 132"/>
                <a:gd name="T10" fmla="*/ 62 w 68"/>
                <a:gd name="T11" fmla="*/ 0 h 132"/>
                <a:gd name="T12" fmla="*/ 7 w 68"/>
                <a:gd name="T13" fmla="*/ 0 h 132"/>
                <a:gd name="T14" fmla="*/ 7 w 68"/>
                <a:gd name="T15" fmla="*/ 0 h 132"/>
                <a:gd name="T16" fmla="*/ 5 w 68"/>
                <a:gd name="T17" fmla="*/ 2 h 132"/>
                <a:gd name="T18" fmla="*/ 3 w 68"/>
                <a:gd name="T19" fmla="*/ 3 h 132"/>
                <a:gd name="T20" fmla="*/ 2 w 68"/>
                <a:gd name="T21" fmla="*/ 5 h 132"/>
                <a:gd name="T22" fmla="*/ 0 w 68"/>
                <a:gd name="T23" fmla="*/ 7 h 132"/>
                <a:gd name="T24" fmla="*/ 0 w 68"/>
                <a:gd name="T25" fmla="*/ 125 h 132"/>
                <a:gd name="T26" fmla="*/ 0 w 68"/>
                <a:gd name="T27" fmla="*/ 125 h 132"/>
                <a:gd name="T28" fmla="*/ 2 w 68"/>
                <a:gd name="T29" fmla="*/ 128 h 132"/>
                <a:gd name="T30" fmla="*/ 3 w 68"/>
                <a:gd name="T31" fmla="*/ 130 h 132"/>
                <a:gd name="T32" fmla="*/ 5 w 68"/>
                <a:gd name="T33" fmla="*/ 131 h 132"/>
                <a:gd name="T34" fmla="*/ 7 w 68"/>
                <a:gd name="T35" fmla="*/ 132 h 132"/>
                <a:gd name="T36" fmla="*/ 62 w 68"/>
                <a:gd name="T37" fmla="*/ 132 h 132"/>
                <a:gd name="T38" fmla="*/ 62 w 68"/>
                <a:gd name="T39" fmla="*/ 132 h 132"/>
                <a:gd name="T40" fmla="*/ 64 w 68"/>
                <a:gd name="T41" fmla="*/ 131 h 132"/>
                <a:gd name="T42" fmla="*/ 66 w 68"/>
                <a:gd name="T43" fmla="*/ 130 h 132"/>
                <a:gd name="T44" fmla="*/ 67 w 68"/>
                <a:gd name="T45" fmla="*/ 128 h 132"/>
                <a:gd name="T46" fmla="*/ 68 w 68"/>
                <a:gd name="T47" fmla="*/ 125 h 132"/>
                <a:gd name="T48" fmla="*/ 68 w 68"/>
                <a:gd name="T49" fmla="*/ 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132">
                  <a:moveTo>
                    <a:pt x="68" y="7"/>
                  </a:moveTo>
                  <a:lnTo>
                    <a:pt x="68" y="7"/>
                  </a:lnTo>
                  <a:lnTo>
                    <a:pt x="67" y="5"/>
                  </a:lnTo>
                  <a:lnTo>
                    <a:pt x="66" y="3"/>
                  </a:lnTo>
                  <a:lnTo>
                    <a:pt x="64" y="2"/>
                  </a:lnTo>
                  <a:lnTo>
                    <a:pt x="62" y="0"/>
                  </a:lnTo>
                  <a:lnTo>
                    <a:pt x="7" y="0"/>
                  </a:lnTo>
                  <a:lnTo>
                    <a:pt x="7" y="0"/>
                  </a:lnTo>
                  <a:lnTo>
                    <a:pt x="5" y="2"/>
                  </a:lnTo>
                  <a:lnTo>
                    <a:pt x="3" y="3"/>
                  </a:lnTo>
                  <a:lnTo>
                    <a:pt x="2" y="5"/>
                  </a:lnTo>
                  <a:lnTo>
                    <a:pt x="0" y="7"/>
                  </a:lnTo>
                  <a:lnTo>
                    <a:pt x="0" y="125"/>
                  </a:lnTo>
                  <a:lnTo>
                    <a:pt x="0" y="125"/>
                  </a:lnTo>
                  <a:lnTo>
                    <a:pt x="2" y="128"/>
                  </a:lnTo>
                  <a:lnTo>
                    <a:pt x="3" y="130"/>
                  </a:lnTo>
                  <a:lnTo>
                    <a:pt x="5" y="131"/>
                  </a:lnTo>
                  <a:lnTo>
                    <a:pt x="7" y="132"/>
                  </a:lnTo>
                  <a:lnTo>
                    <a:pt x="62" y="132"/>
                  </a:lnTo>
                  <a:lnTo>
                    <a:pt x="62" y="132"/>
                  </a:lnTo>
                  <a:lnTo>
                    <a:pt x="64" y="131"/>
                  </a:lnTo>
                  <a:lnTo>
                    <a:pt x="66" y="130"/>
                  </a:lnTo>
                  <a:lnTo>
                    <a:pt x="67" y="128"/>
                  </a:lnTo>
                  <a:lnTo>
                    <a:pt x="68" y="125"/>
                  </a:lnTo>
                  <a:lnTo>
                    <a:pt x="68" y="7"/>
                  </a:lnTo>
                  <a:close/>
                </a:path>
              </a:pathLst>
            </a:custGeom>
            <a:solidFill>
              <a:srgbClr val="56534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08" name="Rectangle 335"/>
            <p:cNvSpPr>
              <a:spLocks noChangeArrowheads="1"/>
            </p:cNvSpPr>
            <p:nvPr/>
          </p:nvSpPr>
          <p:spPr bwMode="auto">
            <a:xfrm>
              <a:off x="1857914" y="3715313"/>
              <a:ext cx="22045" cy="1322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grpSp>
      <p:grpSp>
        <p:nvGrpSpPr>
          <p:cNvPr id="5" name="Group 4"/>
          <p:cNvGrpSpPr>
            <a:grpSpLocks/>
          </p:cNvGrpSpPr>
          <p:nvPr/>
        </p:nvGrpSpPr>
        <p:grpSpPr bwMode="auto">
          <a:xfrm>
            <a:off x="1063625" y="4141788"/>
            <a:ext cx="706438" cy="506412"/>
            <a:chOff x="1064376" y="4141473"/>
            <a:chExt cx="705367" cy="506986"/>
          </a:xfrm>
        </p:grpSpPr>
        <p:sp>
          <p:nvSpPr>
            <p:cNvPr id="109" name="Freeform 336"/>
            <p:cNvSpPr>
              <a:spLocks/>
            </p:cNvSpPr>
            <p:nvPr/>
          </p:nvSpPr>
          <p:spPr bwMode="auto">
            <a:xfrm>
              <a:off x="1329087" y="4141473"/>
              <a:ext cx="351891" cy="146216"/>
            </a:xfrm>
            <a:custGeom>
              <a:avLst/>
              <a:gdLst>
                <a:gd name="T0" fmla="*/ 143 w 143"/>
                <a:gd name="T1" fmla="*/ 59 h 59"/>
                <a:gd name="T2" fmla="*/ 90 w 143"/>
                <a:gd name="T3" fmla="*/ 0 h 59"/>
                <a:gd name="T4" fmla="*/ 65 w 143"/>
                <a:gd name="T5" fmla="*/ 23 h 59"/>
                <a:gd name="T6" fmla="*/ 43 w 143"/>
                <a:gd name="T7" fmla="*/ 17 h 59"/>
                <a:gd name="T8" fmla="*/ 0 w 143"/>
                <a:gd name="T9" fmla="*/ 59 h 59"/>
                <a:gd name="T10" fmla="*/ 143 w 143"/>
                <a:gd name="T11" fmla="*/ 59 h 59"/>
              </a:gdLst>
              <a:ahLst/>
              <a:cxnLst>
                <a:cxn ang="0">
                  <a:pos x="T0" y="T1"/>
                </a:cxn>
                <a:cxn ang="0">
                  <a:pos x="T2" y="T3"/>
                </a:cxn>
                <a:cxn ang="0">
                  <a:pos x="T4" y="T5"/>
                </a:cxn>
                <a:cxn ang="0">
                  <a:pos x="T6" y="T7"/>
                </a:cxn>
                <a:cxn ang="0">
                  <a:pos x="T8" y="T9"/>
                </a:cxn>
                <a:cxn ang="0">
                  <a:pos x="T10" y="T11"/>
                </a:cxn>
              </a:cxnLst>
              <a:rect l="0" t="0" r="r" b="b"/>
              <a:pathLst>
                <a:path w="143" h="59">
                  <a:moveTo>
                    <a:pt x="143" y="59"/>
                  </a:moveTo>
                  <a:lnTo>
                    <a:pt x="90" y="0"/>
                  </a:lnTo>
                  <a:lnTo>
                    <a:pt x="65" y="23"/>
                  </a:lnTo>
                  <a:lnTo>
                    <a:pt x="43" y="17"/>
                  </a:lnTo>
                  <a:lnTo>
                    <a:pt x="0" y="59"/>
                  </a:lnTo>
                  <a:lnTo>
                    <a:pt x="143" y="59"/>
                  </a:lnTo>
                  <a:close/>
                </a:path>
              </a:pathLst>
            </a:custGeom>
            <a:solidFill>
              <a:srgbClr val="56534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10" name="Freeform 337"/>
            <p:cNvSpPr>
              <a:spLocks/>
            </p:cNvSpPr>
            <p:nvPr/>
          </p:nvSpPr>
          <p:spPr bwMode="auto">
            <a:xfrm>
              <a:off x="1256173" y="4259081"/>
              <a:ext cx="483453" cy="184359"/>
            </a:xfrm>
            <a:custGeom>
              <a:avLst/>
              <a:gdLst>
                <a:gd name="T0" fmla="*/ 0 w 196"/>
                <a:gd name="T1" fmla="*/ 0 h 75"/>
                <a:gd name="T2" fmla="*/ 196 w 196"/>
                <a:gd name="T3" fmla="*/ 1 h 75"/>
                <a:gd name="T4" fmla="*/ 151 w 196"/>
                <a:gd name="T5" fmla="*/ 61 h 75"/>
                <a:gd name="T6" fmla="*/ 108 w 196"/>
                <a:gd name="T7" fmla="*/ 75 h 75"/>
                <a:gd name="T8" fmla="*/ 27 w 196"/>
                <a:gd name="T9" fmla="*/ 46 h 75"/>
                <a:gd name="T10" fmla="*/ 0 w 196"/>
                <a:gd name="T11" fmla="*/ 0 h 75"/>
              </a:gdLst>
              <a:ahLst/>
              <a:cxnLst>
                <a:cxn ang="0">
                  <a:pos x="T0" y="T1"/>
                </a:cxn>
                <a:cxn ang="0">
                  <a:pos x="T2" y="T3"/>
                </a:cxn>
                <a:cxn ang="0">
                  <a:pos x="T4" y="T5"/>
                </a:cxn>
                <a:cxn ang="0">
                  <a:pos x="T6" y="T7"/>
                </a:cxn>
                <a:cxn ang="0">
                  <a:pos x="T8" y="T9"/>
                </a:cxn>
                <a:cxn ang="0">
                  <a:pos x="T10" y="T11"/>
                </a:cxn>
              </a:cxnLst>
              <a:rect l="0" t="0" r="r" b="b"/>
              <a:pathLst>
                <a:path w="196" h="75">
                  <a:moveTo>
                    <a:pt x="0" y="0"/>
                  </a:moveTo>
                  <a:lnTo>
                    <a:pt x="196" y="1"/>
                  </a:lnTo>
                  <a:lnTo>
                    <a:pt x="151" y="61"/>
                  </a:lnTo>
                  <a:lnTo>
                    <a:pt x="108" y="75"/>
                  </a:lnTo>
                  <a:lnTo>
                    <a:pt x="27" y="46"/>
                  </a:lnTo>
                  <a:lnTo>
                    <a:pt x="0" y="0"/>
                  </a:lnTo>
                  <a:close/>
                </a:path>
              </a:pathLst>
            </a:custGeom>
            <a:solidFill>
              <a:srgbClr val="FFF1CA"/>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11" name="Freeform 338"/>
            <p:cNvSpPr>
              <a:spLocks/>
            </p:cNvSpPr>
            <p:nvPr/>
          </p:nvSpPr>
          <p:spPr bwMode="auto">
            <a:xfrm>
              <a:off x="1064376" y="4267027"/>
              <a:ext cx="543687" cy="271771"/>
            </a:xfrm>
            <a:custGeom>
              <a:avLst/>
              <a:gdLst>
                <a:gd name="T0" fmla="*/ 209 w 220"/>
                <a:gd name="T1" fmla="*/ 110 h 110"/>
                <a:gd name="T2" fmla="*/ 209 w 220"/>
                <a:gd name="T3" fmla="*/ 110 h 110"/>
                <a:gd name="T4" fmla="*/ 213 w 220"/>
                <a:gd name="T5" fmla="*/ 109 h 110"/>
                <a:gd name="T6" fmla="*/ 216 w 220"/>
                <a:gd name="T7" fmla="*/ 107 h 110"/>
                <a:gd name="T8" fmla="*/ 218 w 220"/>
                <a:gd name="T9" fmla="*/ 105 h 110"/>
                <a:gd name="T10" fmla="*/ 220 w 220"/>
                <a:gd name="T11" fmla="*/ 102 h 110"/>
                <a:gd name="T12" fmla="*/ 220 w 220"/>
                <a:gd name="T13" fmla="*/ 102 h 110"/>
                <a:gd name="T14" fmla="*/ 220 w 220"/>
                <a:gd name="T15" fmla="*/ 98 h 110"/>
                <a:gd name="T16" fmla="*/ 219 w 220"/>
                <a:gd name="T17" fmla="*/ 94 h 110"/>
                <a:gd name="T18" fmla="*/ 217 w 220"/>
                <a:gd name="T19" fmla="*/ 91 h 110"/>
                <a:gd name="T20" fmla="*/ 213 w 220"/>
                <a:gd name="T21" fmla="*/ 89 h 110"/>
                <a:gd name="T22" fmla="*/ 92 w 220"/>
                <a:gd name="T23" fmla="*/ 45 h 110"/>
                <a:gd name="T24" fmla="*/ 69 w 220"/>
                <a:gd name="T25" fmla="*/ 5 h 110"/>
                <a:gd name="T26" fmla="*/ 69 w 220"/>
                <a:gd name="T27" fmla="*/ 5 h 110"/>
                <a:gd name="T28" fmla="*/ 67 w 220"/>
                <a:gd name="T29" fmla="*/ 3 h 110"/>
                <a:gd name="T30" fmla="*/ 65 w 220"/>
                <a:gd name="T31" fmla="*/ 1 h 110"/>
                <a:gd name="T32" fmla="*/ 62 w 220"/>
                <a:gd name="T33" fmla="*/ 0 h 110"/>
                <a:gd name="T34" fmla="*/ 59 w 220"/>
                <a:gd name="T35" fmla="*/ 0 h 110"/>
                <a:gd name="T36" fmla="*/ 11 w 220"/>
                <a:gd name="T37" fmla="*/ 0 h 110"/>
                <a:gd name="T38" fmla="*/ 11 w 220"/>
                <a:gd name="T39" fmla="*/ 0 h 110"/>
                <a:gd name="T40" fmla="*/ 7 w 220"/>
                <a:gd name="T41" fmla="*/ 1 h 110"/>
                <a:gd name="T42" fmla="*/ 3 w 220"/>
                <a:gd name="T43" fmla="*/ 3 h 110"/>
                <a:gd name="T44" fmla="*/ 1 w 220"/>
                <a:gd name="T45" fmla="*/ 6 h 110"/>
                <a:gd name="T46" fmla="*/ 0 w 220"/>
                <a:gd name="T47" fmla="*/ 11 h 110"/>
                <a:gd name="T48" fmla="*/ 0 w 220"/>
                <a:gd name="T49" fmla="*/ 11 h 110"/>
                <a:gd name="T50" fmla="*/ 1 w 220"/>
                <a:gd name="T51" fmla="*/ 15 h 110"/>
                <a:gd name="T52" fmla="*/ 3 w 220"/>
                <a:gd name="T53" fmla="*/ 19 h 110"/>
                <a:gd name="T54" fmla="*/ 7 w 220"/>
                <a:gd name="T55" fmla="*/ 21 h 110"/>
                <a:gd name="T56" fmla="*/ 11 w 220"/>
                <a:gd name="T57" fmla="*/ 22 h 110"/>
                <a:gd name="T58" fmla="*/ 53 w 220"/>
                <a:gd name="T59" fmla="*/ 22 h 110"/>
                <a:gd name="T60" fmla="*/ 75 w 220"/>
                <a:gd name="T61" fmla="*/ 60 h 110"/>
                <a:gd name="T62" fmla="*/ 75 w 220"/>
                <a:gd name="T63" fmla="*/ 60 h 110"/>
                <a:gd name="T64" fmla="*/ 77 w 220"/>
                <a:gd name="T65" fmla="*/ 62 h 110"/>
                <a:gd name="T66" fmla="*/ 81 w 220"/>
                <a:gd name="T67" fmla="*/ 64 h 110"/>
                <a:gd name="T68" fmla="*/ 206 w 220"/>
                <a:gd name="T69" fmla="*/ 109 h 110"/>
                <a:gd name="T70" fmla="*/ 206 w 220"/>
                <a:gd name="T71" fmla="*/ 109 h 110"/>
                <a:gd name="T72" fmla="*/ 209 w 220"/>
                <a:gd name="T7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0" h="110">
                  <a:moveTo>
                    <a:pt x="209" y="110"/>
                  </a:moveTo>
                  <a:lnTo>
                    <a:pt x="209" y="110"/>
                  </a:lnTo>
                  <a:lnTo>
                    <a:pt x="213" y="109"/>
                  </a:lnTo>
                  <a:lnTo>
                    <a:pt x="216" y="107"/>
                  </a:lnTo>
                  <a:lnTo>
                    <a:pt x="218" y="105"/>
                  </a:lnTo>
                  <a:lnTo>
                    <a:pt x="220" y="102"/>
                  </a:lnTo>
                  <a:lnTo>
                    <a:pt x="220" y="102"/>
                  </a:lnTo>
                  <a:lnTo>
                    <a:pt x="220" y="98"/>
                  </a:lnTo>
                  <a:lnTo>
                    <a:pt x="219" y="94"/>
                  </a:lnTo>
                  <a:lnTo>
                    <a:pt x="217" y="91"/>
                  </a:lnTo>
                  <a:lnTo>
                    <a:pt x="213" y="89"/>
                  </a:lnTo>
                  <a:lnTo>
                    <a:pt x="92" y="45"/>
                  </a:lnTo>
                  <a:lnTo>
                    <a:pt x="69" y="5"/>
                  </a:lnTo>
                  <a:lnTo>
                    <a:pt x="69" y="5"/>
                  </a:lnTo>
                  <a:lnTo>
                    <a:pt x="67" y="3"/>
                  </a:lnTo>
                  <a:lnTo>
                    <a:pt x="65" y="1"/>
                  </a:lnTo>
                  <a:lnTo>
                    <a:pt x="62" y="0"/>
                  </a:lnTo>
                  <a:lnTo>
                    <a:pt x="59" y="0"/>
                  </a:lnTo>
                  <a:lnTo>
                    <a:pt x="11" y="0"/>
                  </a:lnTo>
                  <a:lnTo>
                    <a:pt x="11" y="0"/>
                  </a:lnTo>
                  <a:lnTo>
                    <a:pt x="7" y="1"/>
                  </a:lnTo>
                  <a:lnTo>
                    <a:pt x="3" y="3"/>
                  </a:lnTo>
                  <a:lnTo>
                    <a:pt x="1" y="6"/>
                  </a:lnTo>
                  <a:lnTo>
                    <a:pt x="0" y="11"/>
                  </a:lnTo>
                  <a:lnTo>
                    <a:pt x="0" y="11"/>
                  </a:lnTo>
                  <a:lnTo>
                    <a:pt x="1" y="15"/>
                  </a:lnTo>
                  <a:lnTo>
                    <a:pt x="3" y="19"/>
                  </a:lnTo>
                  <a:lnTo>
                    <a:pt x="7" y="21"/>
                  </a:lnTo>
                  <a:lnTo>
                    <a:pt x="11" y="22"/>
                  </a:lnTo>
                  <a:lnTo>
                    <a:pt x="53" y="22"/>
                  </a:lnTo>
                  <a:lnTo>
                    <a:pt x="75" y="60"/>
                  </a:lnTo>
                  <a:lnTo>
                    <a:pt x="75" y="60"/>
                  </a:lnTo>
                  <a:lnTo>
                    <a:pt x="77" y="62"/>
                  </a:lnTo>
                  <a:lnTo>
                    <a:pt x="81" y="64"/>
                  </a:lnTo>
                  <a:lnTo>
                    <a:pt x="206" y="109"/>
                  </a:lnTo>
                  <a:lnTo>
                    <a:pt x="206" y="109"/>
                  </a:lnTo>
                  <a:lnTo>
                    <a:pt x="209" y="110"/>
                  </a:lnTo>
                  <a:close/>
                </a:path>
              </a:pathLst>
            </a:custGeom>
            <a:solidFill>
              <a:srgbClr val="56534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12" name="Freeform 339"/>
            <p:cNvSpPr>
              <a:spLocks/>
            </p:cNvSpPr>
            <p:nvPr/>
          </p:nvSpPr>
          <p:spPr bwMode="auto">
            <a:xfrm>
              <a:off x="1064376" y="4267027"/>
              <a:ext cx="543687" cy="271771"/>
            </a:xfrm>
            <a:custGeom>
              <a:avLst/>
              <a:gdLst>
                <a:gd name="T0" fmla="*/ 209 w 220"/>
                <a:gd name="T1" fmla="*/ 110 h 110"/>
                <a:gd name="T2" fmla="*/ 209 w 220"/>
                <a:gd name="T3" fmla="*/ 110 h 110"/>
                <a:gd name="T4" fmla="*/ 213 w 220"/>
                <a:gd name="T5" fmla="*/ 109 h 110"/>
                <a:gd name="T6" fmla="*/ 216 w 220"/>
                <a:gd name="T7" fmla="*/ 107 h 110"/>
                <a:gd name="T8" fmla="*/ 218 w 220"/>
                <a:gd name="T9" fmla="*/ 105 h 110"/>
                <a:gd name="T10" fmla="*/ 220 w 220"/>
                <a:gd name="T11" fmla="*/ 102 h 110"/>
                <a:gd name="T12" fmla="*/ 220 w 220"/>
                <a:gd name="T13" fmla="*/ 102 h 110"/>
                <a:gd name="T14" fmla="*/ 220 w 220"/>
                <a:gd name="T15" fmla="*/ 98 h 110"/>
                <a:gd name="T16" fmla="*/ 219 w 220"/>
                <a:gd name="T17" fmla="*/ 94 h 110"/>
                <a:gd name="T18" fmla="*/ 217 w 220"/>
                <a:gd name="T19" fmla="*/ 91 h 110"/>
                <a:gd name="T20" fmla="*/ 213 w 220"/>
                <a:gd name="T21" fmla="*/ 89 h 110"/>
                <a:gd name="T22" fmla="*/ 92 w 220"/>
                <a:gd name="T23" fmla="*/ 45 h 110"/>
                <a:gd name="T24" fmla="*/ 69 w 220"/>
                <a:gd name="T25" fmla="*/ 5 h 110"/>
                <a:gd name="T26" fmla="*/ 69 w 220"/>
                <a:gd name="T27" fmla="*/ 5 h 110"/>
                <a:gd name="T28" fmla="*/ 67 w 220"/>
                <a:gd name="T29" fmla="*/ 3 h 110"/>
                <a:gd name="T30" fmla="*/ 65 w 220"/>
                <a:gd name="T31" fmla="*/ 1 h 110"/>
                <a:gd name="T32" fmla="*/ 62 w 220"/>
                <a:gd name="T33" fmla="*/ 0 h 110"/>
                <a:gd name="T34" fmla="*/ 59 w 220"/>
                <a:gd name="T35" fmla="*/ 0 h 110"/>
                <a:gd name="T36" fmla="*/ 11 w 220"/>
                <a:gd name="T37" fmla="*/ 0 h 110"/>
                <a:gd name="T38" fmla="*/ 11 w 220"/>
                <a:gd name="T39" fmla="*/ 0 h 110"/>
                <a:gd name="T40" fmla="*/ 7 w 220"/>
                <a:gd name="T41" fmla="*/ 1 h 110"/>
                <a:gd name="T42" fmla="*/ 3 w 220"/>
                <a:gd name="T43" fmla="*/ 3 h 110"/>
                <a:gd name="T44" fmla="*/ 1 w 220"/>
                <a:gd name="T45" fmla="*/ 6 h 110"/>
                <a:gd name="T46" fmla="*/ 0 w 220"/>
                <a:gd name="T47" fmla="*/ 11 h 110"/>
                <a:gd name="T48" fmla="*/ 0 w 220"/>
                <a:gd name="T49" fmla="*/ 11 h 110"/>
                <a:gd name="T50" fmla="*/ 1 w 220"/>
                <a:gd name="T51" fmla="*/ 15 h 110"/>
                <a:gd name="T52" fmla="*/ 3 w 220"/>
                <a:gd name="T53" fmla="*/ 19 h 110"/>
                <a:gd name="T54" fmla="*/ 7 w 220"/>
                <a:gd name="T55" fmla="*/ 21 h 110"/>
                <a:gd name="T56" fmla="*/ 11 w 220"/>
                <a:gd name="T57" fmla="*/ 22 h 110"/>
                <a:gd name="T58" fmla="*/ 53 w 220"/>
                <a:gd name="T59" fmla="*/ 22 h 110"/>
                <a:gd name="T60" fmla="*/ 75 w 220"/>
                <a:gd name="T61" fmla="*/ 60 h 110"/>
                <a:gd name="T62" fmla="*/ 75 w 220"/>
                <a:gd name="T63" fmla="*/ 60 h 110"/>
                <a:gd name="T64" fmla="*/ 77 w 220"/>
                <a:gd name="T65" fmla="*/ 62 h 110"/>
                <a:gd name="T66" fmla="*/ 81 w 220"/>
                <a:gd name="T67" fmla="*/ 64 h 110"/>
                <a:gd name="T68" fmla="*/ 206 w 220"/>
                <a:gd name="T69" fmla="*/ 109 h 110"/>
                <a:gd name="T70" fmla="*/ 206 w 220"/>
                <a:gd name="T71" fmla="*/ 109 h 110"/>
                <a:gd name="T72" fmla="*/ 209 w 220"/>
                <a:gd name="T7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0" h="110">
                  <a:moveTo>
                    <a:pt x="209" y="110"/>
                  </a:moveTo>
                  <a:lnTo>
                    <a:pt x="209" y="110"/>
                  </a:lnTo>
                  <a:lnTo>
                    <a:pt x="213" y="109"/>
                  </a:lnTo>
                  <a:lnTo>
                    <a:pt x="216" y="107"/>
                  </a:lnTo>
                  <a:lnTo>
                    <a:pt x="218" y="105"/>
                  </a:lnTo>
                  <a:lnTo>
                    <a:pt x="220" y="102"/>
                  </a:lnTo>
                  <a:lnTo>
                    <a:pt x="220" y="102"/>
                  </a:lnTo>
                  <a:lnTo>
                    <a:pt x="220" y="98"/>
                  </a:lnTo>
                  <a:lnTo>
                    <a:pt x="219" y="94"/>
                  </a:lnTo>
                  <a:lnTo>
                    <a:pt x="217" y="91"/>
                  </a:lnTo>
                  <a:lnTo>
                    <a:pt x="213" y="89"/>
                  </a:lnTo>
                  <a:lnTo>
                    <a:pt x="92" y="45"/>
                  </a:lnTo>
                  <a:lnTo>
                    <a:pt x="69" y="5"/>
                  </a:lnTo>
                  <a:lnTo>
                    <a:pt x="69" y="5"/>
                  </a:lnTo>
                  <a:lnTo>
                    <a:pt x="67" y="3"/>
                  </a:lnTo>
                  <a:lnTo>
                    <a:pt x="65" y="1"/>
                  </a:lnTo>
                  <a:lnTo>
                    <a:pt x="62" y="0"/>
                  </a:lnTo>
                  <a:lnTo>
                    <a:pt x="59" y="0"/>
                  </a:lnTo>
                  <a:lnTo>
                    <a:pt x="11" y="0"/>
                  </a:lnTo>
                  <a:lnTo>
                    <a:pt x="11" y="0"/>
                  </a:lnTo>
                  <a:lnTo>
                    <a:pt x="7" y="1"/>
                  </a:lnTo>
                  <a:lnTo>
                    <a:pt x="3" y="3"/>
                  </a:lnTo>
                  <a:lnTo>
                    <a:pt x="1" y="6"/>
                  </a:lnTo>
                  <a:lnTo>
                    <a:pt x="0" y="11"/>
                  </a:lnTo>
                  <a:lnTo>
                    <a:pt x="0" y="11"/>
                  </a:lnTo>
                  <a:lnTo>
                    <a:pt x="1" y="15"/>
                  </a:lnTo>
                  <a:lnTo>
                    <a:pt x="3" y="19"/>
                  </a:lnTo>
                  <a:lnTo>
                    <a:pt x="7" y="21"/>
                  </a:lnTo>
                  <a:lnTo>
                    <a:pt x="11" y="22"/>
                  </a:lnTo>
                  <a:lnTo>
                    <a:pt x="53" y="22"/>
                  </a:lnTo>
                  <a:lnTo>
                    <a:pt x="75" y="60"/>
                  </a:lnTo>
                  <a:lnTo>
                    <a:pt x="75" y="60"/>
                  </a:lnTo>
                  <a:lnTo>
                    <a:pt x="77" y="62"/>
                  </a:lnTo>
                  <a:lnTo>
                    <a:pt x="81" y="64"/>
                  </a:lnTo>
                  <a:lnTo>
                    <a:pt x="206" y="109"/>
                  </a:lnTo>
                  <a:lnTo>
                    <a:pt x="206" y="109"/>
                  </a:lnTo>
                  <a:lnTo>
                    <a:pt x="209" y="1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14" name="Freeform 341"/>
            <p:cNvSpPr>
              <a:spLocks/>
            </p:cNvSpPr>
            <p:nvPr/>
          </p:nvSpPr>
          <p:spPr bwMode="auto">
            <a:xfrm>
              <a:off x="1248247" y="4545155"/>
              <a:ext cx="521496" cy="103304"/>
            </a:xfrm>
            <a:custGeom>
              <a:avLst/>
              <a:gdLst>
                <a:gd name="T0" fmla="*/ 106 w 213"/>
                <a:gd name="T1" fmla="*/ 0 h 40"/>
                <a:gd name="T2" fmla="*/ 106 w 213"/>
                <a:gd name="T3" fmla="*/ 0 h 40"/>
                <a:gd name="T4" fmla="*/ 85 w 213"/>
                <a:gd name="T5" fmla="*/ 1 h 40"/>
                <a:gd name="T6" fmla="*/ 66 w 213"/>
                <a:gd name="T7" fmla="*/ 2 h 40"/>
                <a:gd name="T8" fmla="*/ 47 w 213"/>
                <a:gd name="T9" fmla="*/ 4 h 40"/>
                <a:gd name="T10" fmla="*/ 31 w 213"/>
                <a:gd name="T11" fmla="*/ 6 h 40"/>
                <a:gd name="T12" fmla="*/ 19 w 213"/>
                <a:gd name="T13" fmla="*/ 9 h 40"/>
                <a:gd name="T14" fmla="*/ 8 w 213"/>
                <a:gd name="T15" fmla="*/ 12 h 40"/>
                <a:gd name="T16" fmla="*/ 3 w 213"/>
                <a:gd name="T17" fmla="*/ 16 h 40"/>
                <a:gd name="T18" fmla="*/ 1 w 213"/>
                <a:gd name="T19" fmla="*/ 19 h 40"/>
                <a:gd name="T20" fmla="*/ 0 w 213"/>
                <a:gd name="T21" fmla="*/ 21 h 40"/>
                <a:gd name="T22" fmla="*/ 0 w 213"/>
                <a:gd name="T23" fmla="*/ 21 h 40"/>
                <a:gd name="T24" fmla="*/ 1 w 213"/>
                <a:gd name="T25" fmla="*/ 23 h 40"/>
                <a:gd name="T26" fmla="*/ 3 w 213"/>
                <a:gd name="T27" fmla="*/ 24 h 40"/>
                <a:gd name="T28" fmla="*/ 8 w 213"/>
                <a:gd name="T29" fmla="*/ 28 h 40"/>
                <a:gd name="T30" fmla="*/ 19 w 213"/>
                <a:gd name="T31" fmla="*/ 31 h 40"/>
                <a:gd name="T32" fmla="*/ 31 w 213"/>
                <a:gd name="T33" fmla="*/ 34 h 40"/>
                <a:gd name="T34" fmla="*/ 47 w 213"/>
                <a:gd name="T35" fmla="*/ 37 h 40"/>
                <a:gd name="T36" fmla="*/ 66 w 213"/>
                <a:gd name="T37" fmla="*/ 38 h 40"/>
                <a:gd name="T38" fmla="*/ 85 w 213"/>
                <a:gd name="T39" fmla="*/ 40 h 40"/>
                <a:gd name="T40" fmla="*/ 106 w 213"/>
                <a:gd name="T41" fmla="*/ 40 h 40"/>
                <a:gd name="T42" fmla="*/ 106 w 213"/>
                <a:gd name="T43" fmla="*/ 40 h 40"/>
                <a:gd name="T44" fmla="*/ 128 w 213"/>
                <a:gd name="T45" fmla="*/ 40 h 40"/>
                <a:gd name="T46" fmla="*/ 148 w 213"/>
                <a:gd name="T47" fmla="*/ 38 h 40"/>
                <a:gd name="T48" fmla="*/ 166 w 213"/>
                <a:gd name="T49" fmla="*/ 37 h 40"/>
                <a:gd name="T50" fmla="*/ 182 w 213"/>
                <a:gd name="T51" fmla="*/ 34 h 40"/>
                <a:gd name="T52" fmla="*/ 195 w 213"/>
                <a:gd name="T53" fmla="*/ 31 h 40"/>
                <a:gd name="T54" fmla="*/ 204 w 213"/>
                <a:gd name="T55" fmla="*/ 28 h 40"/>
                <a:gd name="T56" fmla="*/ 210 w 213"/>
                <a:gd name="T57" fmla="*/ 24 h 40"/>
                <a:gd name="T58" fmla="*/ 213 w 213"/>
                <a:gd name="T59" fmla="*/ 23 h 40"/>
                <a:gd name="T60" fmla="*/ 213 w 213"/>
                <a:gd name="T61" fmla="*/ 21 h 40"/>
                <a:gd name="T62" fmla="*/ 213 w 213"/>
                <a:gd name="T63" fmla="*/ 21 h 40"/>
                <a:gd name="T64" fmla="*/ 213 w 213"/>
                <a:gd name="T65" fmla="*/ 19 h 40"/>
                <a:gd name="T66" fmla="*/ 210 w 213"/>
                <a:gd name="T67" fmla="*/ 16 h 40"/>
                <a:gd name="T68" fmla="*/ 204 w 213"/>
                <a:gd name="T69" fmla="*/ 12 h 40"/>
                <a:gd name="T70" fmla="*/ 195 w 213"/>
                <a:gd name="T71" fmla="*/ 9 h 40"/>
                <a:gd name="T72" fmla="*/ 182 w 213"/>
                <a:gd name="T73" fmla="*/ 6 h 40"/>
                <a:gd name="T74" fmla="*/ 166 w 213"/>
                <a:gd name="T75" fmla="*/ 4 h 40"/>
                <a:gd name="T76" fmla="*/ 148 w 213"/>
                <a:gd name="T77" fmla="*/ 2 h 40"/>
                <a:gd name="T78" fmla="*/ 128 w 213"/>
                <a:gd name="T79" fmla="*/ 1 h 40"/>
                <a:gd name="T80" fmla="*/ 106 w 213"/>
                <a:gd name="T8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3" h="40">
                  <a:moveTo>
                    <a:pt x="106" y="0"/>
                  </a:moveTo>
                  <a:lnTo>
                    <a:pt x="106" y="0"/>
                  </a:lnTo>
                  <a:lnTo>
                    <a:pt x="85" y="1"/>
                  </a:lnTo>
                  <a:lnTo>
                    <a:pt x="66" y="2"/>
                  </a:lnTo>
                  <a:lnTo>
                    <a:pt x="47" y="4"/>
                  </a:lnTo>
                  <a:lnTo>
                    <a:pt x="31" y="6"/>
                  </a:lnTo>
                  <a:lnTo>
                    <a:pt x="19" y="9"/>
                  </a:lnTo>
                  <a:lnTo>
                    <a:pt x="8" y="12"/>
                  </a:lnTo>
                  <a:lnTo>
                    <a:pt x="3" y="16"/>
                  </a:lnTo>
                  <a:lnTo>
                    <a:pt x="1" y="19"/>
                  </a:lnTo>
                  <a:lnTo>
                    <a:pt x="0" y="21"/>
                  </a:lnTo>
                  <a:lnTo>
                    <a:pt x="0" y="21"/>
                  </a:lnTo>
                  <a:lnTo>
                    <a:pt x="1" y="23"/>
                  </a:lnTo>
                  <a:lnTo>
                    <a:pt x="3" y="24"/>
                  </a:lnTo>
                  <a:lnTo>
                    <a:pt x="8" y="28"/>
                  </a:lnTo>
                  <a:lnTo>
                    <a:pt x="19" y="31"/>
                  </a:lnTo>
                  <a:lnTo>
                    <a:pt x="31" y="34"/>
                  </a:lnTo>
                  <a:lnTo>
                    <a:pt x="47" y="37"/>
                  </a:lnTo>
                  <a:lnTo>
                    <a:pt x="66" y="38"/>
                  </a:lnTo>
                  <a:lnTo>
                    <a:pt x="85" y="40"/>
                  </a:lnTo>
                  <a:lnTo>
                    <a:pt x="106" y="40"/>
                  </a:lnTo>
                  <a:lnTo>
                    <a:pt x="106" y="40"/>
                  </a:lnTo>
                  <a:lnTo>
                    <a:pt x="128" y="40"/>
                  </a:lnTo>
                  <a:lnTo>
                    <a:pt x="148" y="38"/>
                  </a:lnTo>
                  <a:lnTo>
                    <a:pt x="166" y="37"/>
                  </a:lnTo>
                  <a:lnTo>
                    <a:pt x="182" y="34"/>
                  </a:lnTo>
                  <a:lnTo>
                    <a:pt x="195" y="31"/>
                  </a:lnTo>
                  <a:lnTo>
                    <a:pt x="204" y="28"/>
                  </a:lnTo>
                  <a:lnTo>
                    <a:pt x="210" y="24"/>
                  </a:lnTo>
                  <a:lnTo>
                    <a:pt x="213" y="23"/>
                  </a:lnTo>
                  <a:lnTo>
                    <a:pt x="213" y="21"/>
                  </a:lnTo>
                  <a:lnTo>
                    <a:pt x="213" y="21"/>
                  </a:lnTo>
                  <a:lnTo>
                    <a:pt x="213" y="19"/>
                  </a:lnTo>
                  <a:lnTo>
                    <a:pt x="210" y="16"/>
                  </a:lnTo>
                  <a:lnTo>
                    <a:pt x="204" y="12"/>
                  </a:lnTo>
                  <a:lnTo>
                    <a:pt x="195" y="9"/>
                  </a:lnTo>
                  <a:lnTo>
                    <a:pt x="182" y="6"/>
                  </a:lnTo>
                  <a:lnTo>
                    <a:pt x="166" y="4"/>
                  </a:lnTo>
                  <a:lnTo>
                    <a:pt x="148" y="2"/>
                  </a:lnTo>
                  <a:lnTo>
                    <a:pt x="128" y="1"/>
                  </a:lnTo>
                  <a:lnTo>
                    <a:pt x="1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15" name="Freeform 342"/>
            <p:cNvSpPr>
              <a:spLocks noEditPoints="1"/>
            </p:cNvSpPr>
            <p:nvPr/>
          </p:nvSpPr>
          <p:spPr bwMode="auto">
            <a:xfrm>
              <a:off x="1468575" y="4384635"/>
              <a:ext cx="242519" cy="241574"/>
            </a:xfrm>
            <a:custGeom>
              <a:avLst/>
              <a:gdLst>
                <a:gd name="T0" fmla="*/ 0 w 98"/>
                <a:gd name="T1" fmla="*/ 49 h 98"/>
                <a:gd name="T2" fmla="*/ 4 w 98"/>
                <a:gd name="T3" fmla="*/ 29 h 98"/>
                <a:gd name="T4" fmla="*/ 14 w 98"/>
                <a:gd name="T5" fmla="*/ 14 h 98"/>
                <a:gd name="T6" fmla="*/ 30 w 98"/>
                <a:gd name="T7" fmla="*/ 3 h 98"/>
                <a:gd name="T8" fmla="*/ 49 w 98"/>
                <a:gd name="T9" fmla="*/ 0 h 98"/>
                <a:gd name="T10" fmla="*/ 59 w 98"/>
                <a:gd name="T11" fmla="*/ 1 h 98"/>
                <a:gd name="T12" fmla="*/ 77 w 98"/>
                <a:gd name="T13" fmla="*/ 8 h 98"/>
                <a:gd name="T14" fmla="*/ 89 w 98"/>
                <a:gd name="T15" fmla="*/ 21 h 98"/>
                <a:gd name="T16" fmla="*/ 97 w 98"/>
                <a:gd name="T17" fmla="*/ 39 h 98"/>
                <a:gd name="T18" fmla="*/ 98 w 98"/>
                <a:gd name="T19" fmla="*/ 49 h 98"/>
                <a:gd name="T20" fmla="*/ 94 w 98"/>
                <a:gd name="T21" fmla="*/ 68 h 98"/>
                <a:gd name="T22" fmla="*/ 84 w 98"/>
                <a:gd name="T23" fmla="*/ 83 h 98"/>
                <a:gd name="T24" fmla="*/ 68 w 98"/>
                <a:gd name="T25" fmla="*/ 94 h 98"/>
                <a:gd name="T26" fmla="*/ 49 w 98"/>
                <a:gd name="T27" fmla="*/ 98 h 98"/>
                <a:gd name="T28" fmla="*/ 39 w 98"/>
                <a:gd name="T29" fmla="*/ 97 h 98"/>
                <a:gd name="T30" fmla="*/ 21 w 98"/>
                <a:gd name="T31" fmla="*/ 90 h 98"/>
                <a:gd name="T32" fmla="*/ 8 w 98"/>
                <a:gd name="T33" fmla="*/ 76 h 98"/>
                <a:gd name="T34" fmla="*/ 1 w 98"/>
                <a:gd name="T35" fmla="*/ 58 h 98"/>
                <a:gd name="T36" fmla="*/ 0 w 98"/>
                <a:gd name="T37" fmla="*/ 49 h 98"/>
                <a:gd name="T38" fmla="*/ 21 w 98"/>
                <a:gd name="T39" fmla="*/ 49 h 98"/>
                <a:gd name="T40" fmla="*/ 24 w 98"/>
                <a:gd name="T41" fmla="*/ 59 h 98"/>
                <a:gd name="T42" fmla="*/ 30 w 98"/>
                <a:gd name="T43" fmla="*/ 69 h 98"/>
                <a:gd name="T44" fmla="*/ 38 w 98"/>
                <a:gd name="T45" fmla="*/ 74 h 98"/>
                <a:gd name="T46" fmla="*/ 49 w 98"/>
                <a:gd name="T47" fmla="*/ 76 h 98"/>
                <a:gd name="T48" fmla="*/ 55 w 98"/>
                <a:gd name="T49" fmla="*/ 76 h 98"/>
                <a:gd name="T50" fmla="*/ 64 w 98"/>
                <a:gd name="T51" fmla="*/ 72 h 98"/>
                <a:gd name="T52" fmla="*/ 72 w 98"/>
                <a:gd name="T53" fmla="*/ 65 h 98"/>
                <a:gd name="T54" fmla="*/ 76 w 98"/>
                <a:gd name="T55" fmla="*/ 54 h 98"/>
                <a:gd name="T56" fmla="*/ 77 w 98"/>
                <a:gd name="T57" fmla="*/ 49 h 98"/>
                <a:gd name="T58" fmla="*/ 75 w 98"/>
                <a:gd name="T59" fmla="*/ 38 h 98"/>
                <a:gd name="T60" fmla="*/ 68 w 98"/>
                <a:gd name="T61" fmla="*/ 29 h 98"/>
                <a:gd name="T62" fmla="*/ 60 w 98"/>
                <a:gd name="T63" fmla="*/ 23 h 98"/>
                <a:gd name="T64" fmla="*/ 49 w 98"/>
                <a:gd name="T65" fmla="*/ 21 h 98"/>
                <a:gd name="T66" fmla="*/ 43 w 98"/>
                <a:gd name="T67" fmla="*/ 22 h 98"/>
                <a:gd name="T68" fmla="*/ 33 w 98"/>
                <a:gd name="T69" fmla="*/ 26 h 98"/>
                <a:gd name="T70" fmla="*/ 26 w 98"/>
                <a:gd name="T71" fmla="*/ 33 h 98"/>
                <a:gd name="T72" fmla="*/ 21 w 98"/>
                <a:gd name="T73" fmla="*/ 43 h 98"/>
                <a:gd name="T74" fmla="*/ 21 w 98"/>
                <a:gd name="T75" fmla="*/ 4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8" h="98">
                  <a:moveTo>
                    <a:pt x="0" y="49"/>
                  </a:moveTo>
                  <a:lnTo>
                    <a:pt x="0" y="49"/>
                  </a:lnTo>
                  <a:lnTo>
                    <a:pt x="1" y="39"/>
                  </a:lnTo>
                  <a:lnTo>
                    <a:pt x="4" y="29"/>
                  </a:lnTo>
                  <a:lnTo>
                    <a:pt x="8" y="21"/>
                  </a:lnTo>
                  <a:lnTo>
                    <a:pt x="14" y="14"/>
                  </a:lnTo>
                  <a:lnTo>
                    <a:pt x="21" y="8"/>
                  </a:lnTo>
                  <a:lnTo>
                    <a:pt x="30" y="3"/>
                  </a:lnTo>
                  <a:lnTo>
                    <a:pt x="39" y="1"/>
                  </a:lnTo>
                  <a:lnTo>
                    <a:pt x="49" y="0"/>
                  </a:lnTo>
                  <a:lnTo>
                    <a:pt x="49" y="0"/>
                  </a:lnTo>
                  <a:lnTo>
                    <a:pt x="59" y="1"/>
                  </a:lnTo>
                  <a:lnTo>
                    <a:pt x="68" y="3"/>
                  </a:lnTo>
                  <a:lnTo>
                    <a:pt x="77" y="8"/>
                  </a:lnTo>
                  <a:lnTo>
                    <a:pt x="84" y="14"/>
                  </a:lnTo>
                  <a:lnTo>
                    <a:pt x="89" y="21"/>
                  </a:lnTo>
                  <a:lnTo>
                    <a:pt x="94" y="29"/>
                  </a:lnTo>
                  <a:lnTo>
                    <a:pt x="97" y="39"/>
                  </a:lnTo>
                  <a:lnTo>
                    <a:pt x="98" y="49"/>
                  </a:lnTo>
                  <a:lnTo>
                    <a:pt x="98" y="49"/>
                  </a:lnTo>
                  <a:lnTo>
                    <a:pt x="97" y="58"/>
                  </a:lnTo>
                  <a:lnTo>
                    <a:pt x="94" y="68"/>
                  </a:lnTo>
                  <a:lnTo>
                    <a:pt x="89" y="76"/>
                  </a:lnTo>
                  <a:lnTo>
                    <a:pt x="84" y="83"/>
                  </a:lnTo>
                  <a:lnTo>
                    <a:pt x="77" y="90"/>
                  </a:lnTo>
                  <a:lnTo>
                    <a:pt x="68" y="94"/>
                  </a:lnTo>
                  <a:lnTo>
                    <a:pt x="59" y="97"/>
                  </a:lnTo>
                  <a:lnTo>
                    <a:pt x="49" y="98"/>
                  </a:lnTo>
                  <a:lnTo>
                    <a:pt x="49" y="98"/>
                  </a:lnTo>
                  <a:lnTo>
                    <a:pt x="39" y="97"/>
                  </a:lnTo>
                  <a:lnTo>
                    <a:pt x="30" y="94"/>
                  </a:lnTo>
                  <a:lnTo>
                    <a:pt x="21" y="90"/>
                  </a:lnTo>
                  <a:lnTo>
                    <a:pt x="14" y="83"/>
                  </a:lnTo>
                  <a:lnTo>
                    <a:pt x="8" y="76"/>
                  </a:lnTo>
                  <a:lnTo>
                    <a:pt x="4" y="68"/>
                  </a:lnTo>
                  <a:lnTo>
                    <a:pt x="1" y="58"/>
                  </a:lnTo>
                  <a:lnTo>
                    <a:pt x="0" y="49"/>
                  </a:lnTo>
                  <a:lnTo>
                    <a:pt x="0" y="49"/>
                  </a:lnTo>
                  <a:close/>
                  <a:moveTo>
                    <a:pt x="21" y="49"/>
                  </a:moveTo>
                  <a:lnTo>
                    <a:pt x="21" y="49"/>
                  </a:lnTo>
                  <a:lnTo>
                    <a:pt x="21" y="54"/>
                  </a:lnTo>
                  <a:lnTo>
                    <a:pt x="24" y="59"/>
                  </a:lnTo>
                  <a:lnTo>
                    <a:pt x="26" y="65"/>
                  </a:lnTo>
                  <a:lnTo>
                    <a:pt x="30" y="69"/>
                  </a:lnTo>
                  <a:lnTo>
                    <a:pt x="33" y="72"/>
                  </a:lnTo>
                  <a:lnTo>
                    <a:pt x="38" y="74"/>
                  </a:lnTo>
                  <a:lnTo>
                    <a:pt x="43" y="76"/>
                  </a:lnTo>
                  <a:lnTo>
                    <a:pt x="49" y="76"/>
                  </a:lnTo>
                  <a:lnTo>
                    <a:pt x="49" y="76"/>
                  </a:lnTo>
                  <a:lnTo>
                    <a:pt x="55" y="76"/>
                  </a:lnTo>
                  <a:lnTo>
                    <a:pt x="60" y="74"/>
                  </a:lnTo>
                  <a:lnTo>
                    <a:pt x="64" y="72"/>
                  </a:lnTo>
                  <a:lnTo>
                    <a:pt x="68" y="69"/>
                  </a:lnTo>
                  <a:lnTo>
                    <a:pt x="72" y="65"/>
                  </a:lnTo>
                  <a:lnTo>
                    <a:pt x="75" y="59"/>
                  </a:lnTo>
                  <a:lnTo>
                    <a:pt x="76" y="54"/>
                  </a:lnTo>
                  <a:lnTo>
                    <a:pt x="77" y="49"/>
                  </a:lnTo>
                  <a:lnTo>
                    <a:pt x="77" y="49"/>
                  </a:lnTo>
                  <a:lnTo>
                    <a:pt x="76" y="43"/>
                  </a:lnTo>
                  <a:lnTo>
                    <a:pt x="75" y="38"/>
                  </a:lnTo>
                  <a:lnTo>
                    <a:pt x="72" y="33"/>
                  </a:lnTo>
                  <a:lnTo>
                    <a:pt x="68" y="29"/>
                  </a:lnTo>
                  <a:lnTo>
                    <a:pt x="64" y="26"/>
                  </a:lnTo>
                  <a:lnTo>
                    <a:pt x="60" y="23"/>
                  </a:lnTo>
                  <a:lnTo>
                    <a:pt x="55" y="22"/>
                  </a:lnTo>
                  <a:lnTo>
                    <a:pt x="49" y="21"/>
                  </a:lnTo>
                  <a:lnTo>
                    <a:pt x="49" y="21"/>
                  </a:lnTo>
                  <a:lnTo>
                    <a:pt x="43" y="22"/>
                  </a:lnTo>
                  <a:lnTo>
                    <a:pt x="38" y="23"/>
                  </a:lnTo>
                  <a:lnTo>
                    <a:pt x="33" y="26"/>
                  </a:lnTo>
                  <a:lnTo>
                    <a:pt x="30" y="29"/>
                  </a:lnTo>
                  <a:lnTo>
                    <a:pt x="26" y="33"/>
                  </a:lnTo>
                  <a:lnTo>
                    <a:pt x="24" y="38"/>
                  </a:lnTo>
                  <a:lnTo>
                    <a:pt x="21" y="43"/>
                  </a:lnTo>
                  <a:lnTo>
                    <a:pt x="21" y="49"/>
                  </a:lnTo>
                  <a:lnTo>
                    <a:pt x="21" y="49"/>
                  </a:lnTo>
                  <a:close/>
                </a:path>
              </a:pathLst>
            </a:custGeom>
            <a:solidFill>
              <a:srgbClr val="56534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16" name="Freeform 343"/>
            <p:cNvSpPr>
              <a:spLocks/>
            </p:cNvSpPr>
            <p:nvPr/>
          </p:nvSpPr>
          <p:spPr bwMode="auto">
            <a:xfrm>
              <a:off x="1298970" y="4398939"/>
              <a:ext cx="191797" cy="198662"/>
            </a:xfrm>
            <a:custGeom>
              <a:avLst/>
              <a:gdLst>
                <a:gd name="T0" fmla="*/ 15 w 80"/>
                <a:gd name="T1" fmla="*/ 79 h 79"/>
                <a:gd name="T2" fmla="*/ 15 w 80"/>
                <a:gd name="T3" fmla="*/ 79 h 79"/>
                <a:gd name="T4" fmla="*/ 17 w 80"/>
                <a:gd name="T5" fmla="*/ 79 h 79"/>
                <a:gd name="T6" fmla="*/ 20 w 80"/>
                <a:gd name="T7" fmla="*/ 77 h 79"/>
                <a:gd name="T8" fmla="*/ 77 w 80"/>
                <a:gd name="T9" fmla="*/ 38 h 79"/>
                <a:gd name="T10" fmla="*/ 77 w 80"/>
                <a:gd name="T11" fmla="*/ 38 h 79"/>
                <a:gd name="T12" fmla="*/ 79 w 80"/>
                <a:gd name="T13" fmla="*/ 36 h 79"/>
                <a:gd name="T14" fmla="*/ 80 w 80"/>
                <a:gd name="T15" fmla="*/ 34 h 79"/>
                <a:gd name="T16" fmla="*/ 80 w 80"/>
                <a:gd name="T17" fmla="*/ 31 h 79"/>
                <a:gd name="T18" fmla="*/ 79 w 80"/>
                <a:gd name="T19" fmla="*/ 28 h 79"/>
                <a:gd name="T20" fmla="*/ 79 w 80"/>
                <a:gd name="T21" fmla="*/ 28 h 79"/>
                <a:gd name="T22" fmla="*/ 77 w 80"/>
                <a:gd name="T23" fmla="*/ 26 h 79"/>
                <a:gd name="T24" fmla="*/ 74 w 80"/>
                <a:gd name="T25" fmla="*/ 25 h 79"/>
                <a:gd name="T26" fmla="*/ 71 w 80"/>
                <a:gd name="T27" fmla="*/ 25 h 79"/>
                <a:gd name="T28" fmla="*/ 68 w 80"/>
                <a:gd name="T29" fmla="*/ 26 h 79"/>
                <a:gd name="T30" fmla="*/ 21 w 80"/>
                <a:gd name="T31" fmla="*/ 59 h 79"/>
                <a:gd name="T32" fmla="*/ 13 w 80"/>
                <a:gd name="T33" fmla="*/ 6 h 79"/>
                <a:gd name="T34" fmla="*/ 13 w 80"/>
                <a:gd name="T35" fmla="*/ 6 h 79"/>
                <a:gd name="T36" fmla="*/ 12 w 80"/>
                <a:gd name="T37" fmla="*/ 3 h 79"/>
                <a:gd name="T38" fmla="*/ 11 w 80"/>
                <a:gd name="T39" fmla="*/ 1 h 79"/>
                <a:gd name="T40" fmla="*/ 8 w 80"/>
                <a:gd name="T41" fmla="*/ 0 h 79"/>
                <a:gd name="T42" fmla="*/ 5 w 80"/>
                <a:gd name="T43" fmla="*/ 0 h 79"/>
                <a:gd name="T44" fmla="*/ 5 w 80"/>
                <a:gd name="T45" fmla="*/ 0 h 79"/>
                <a:gd name="T46" fmla="*/ 3 w 80"/>
                <a:gd name="T47" fmla="*/ 0 h 79"/>
                <a:gd name="T48" fmla="*/ 1 w 80"/>
                <a:gd name="T49" fmla="*/ 2 h 79"/>
                <a:gd name="T50" fmla="*/ 0 w 80"/>
                <a:gd name="T51" fmla="*/ 6 h 79"/>
                <a:gd name="T52" fmla="*/ 0 w 80"/>
                <a:gd name="T53" fmla="*/ 8 h 79"/>
                <a:gd name="T54" fmla="*/ 8 w 80"/>
                <a:gd name="T55" fmla="*/ 72 h 79"/>
                <a:gd name="T56" fmla="*/ 8 w 80"/>
                <a:gd name="T57" fmla="*/ 72 h 79"/>
                <a:gd name="T58" fmla="*/ 10 w 80"/>
                <a:gd name="T59" fmla="*/ 75 h 79"/>
                <a:gd name="T60" fmla="*/ 12 w 80"/>
                <a:gd name="T61" fmla="*/ 77 h 79"/>
                <a:gd name="T62" fmla="*/ 12 w 80"/>
                <a:gd name="T63" fmla="*/ 77 h 79"/>
                <a:gd name="T64" fmla="*/ 15 w 80"/>
                <a:gd name="T65" fmla="*/ 79 h 79"/>
                <a:gd name="T66" fmla="*/ 15 w 80"/>
                <a:gd name="T6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0" h="79">
                  <a:moveTo>
                    <a:pt x="15" y="79"/>
                  </a:moveTo>
                  <a:lnTo>
                    <a:pt x="15" y="79"/>
                  </a:lnTo>
                  <a:lnTo>
                    <a:pt x="17" y="79"/>
                  </a:lnTo>
                  <a:lnTo>
                    <a:pt x="20" y="77"/>
                  </a:lnTo>
                  <a:lnTo>
                    <a:pt x="77" y="38"/>
                  </a:lnTo>
                  <a:lnTo>
                    <a:pt x="77" y="38"/>
                  </a:lnTo>
                  <a:lnTo>
                    <a:pt x="79" y="36"/>
                  </a:lnTo>
                  <a:lnTo>
                    <a:pt x="80" y="34"/>
                  </a:lnTo>
                  <a:lnTo>
                    <a:pt x="80" y="31"/>
                  </a:lnTo>
                  <a:lnTo>
                    <a:pt x="79" y="28"/>
                  </a:lnTo>
                  <a:lnTo>
                    <a:pt x="79" y="28"/>
                  </a:lnTo>
                  <a:lnTo>
                    <a:pt x="77" y="26"/>
                  </a:lnTo>
                  <a:lnTo>
                    <a:pt x="74" y="25"/>
                  </a:lnTo>
                  <a:lnTo>
                    <a:pt x="71" y="25"/>
                  </a:lnTo>
                  <a:lnTo>
                    <a:pt x="68" y="26"/>
                  </a:lnTo>
                  <a:lnTo>
                    <a:pt x="21" y="59"/>
                  </a:lnTo>
                  <a:lnTo>
                    <a:pt x="13" y="6"/>
                  </a:lnTo>
                  <a:lnTo>
                    <a:pt x="13" y="6"/>
                  </a:lnTo>
                  <a:lnTo>
                    <a:pt x="12" y="3"/>
                  </a:lnTo>
                  <a:lnTo>
                    <a:pt x="11" y="1"/>
                  </a:lnTo>
                  <a:lnTo>
                    <a:pt x="8" y="0"/>
                  </a:lnTo>
                  <a:lnTo>
                    <a:pt x="5" y="0"/>
                  </a:lnTo>
                  <a:lnTo>
                    <a:pt x="5" y="0"/>
                  </a:lnTo>
                  <a:lnTo>
                    <a:pt x="3" y="0"/>
                  </a:lnTo>
                  <a:lnTo>
                    <a:pt x="1" y="2"/>
                  </a:lnTo>
                  <a:lnTo>
                    <a:pt x="0" y="6"/>
                  </a:lnTo>
                  <a:lnTo>
                    <a:pt x="0" y="8"/>
                  </a:lnTo>
                  <a:lnTo>
                    <a:pt x="8" y="72"/>
                  </a:lnTo>
                  <a:lnTo>
                    <a:pt x="8" y="72"/>
                  </a:lnTo>
                  <a:lnTo>
                    <a:pt x="10" y="75"/>
                  </a:lnTo>
                  <a:lnTo>
                    <a:pt x="12" y="77"/>
                  </a:lnTo>
                  <a:lnTo>
                    <a:pt x="12" y="77"/>
                  </a:lnTo>
                  <a:lnTo>
                    <a:pt x="15" y="79"/>
                  </a:lnTo>
                  <a:lnTo>
                    <a:pt x="15" y="79"/>
                  </a:lnTo>
                  <a:close/>
                </a:path>
              </a:pathLst>
            </a:custGeom>
            <a:solidFill>
              <a:srgbClr val="56534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grpSp>
      <p:grpSp>
        <p:nvGrpSpPr>
          <p:cNvPr id="11" name="Group 10"/>
          <p:cNvGrpSpPr>
            <a:grpSpLocks/>
          </p:cNvGrpSpPr>
          <p:nvPr/>
        </p:nvGrpSpPr>
        <p:grpSpPr bwMode="auto">
          <a:xfrm>
            <a:off x="2474913" y="4700588"/>
            <a:ext cx="1241425" cy="1189037"/>
            <a:chOff x="2475111" y="4699890"/>
            <a:chExt cx="1241742" cy="1190310"/>
          </a:xfrm>
        </p:grpSpPr>
        <p:sp>
          <p:nvSpPr>
            <p:cNvPr id="117" name="Rectangle 344"/>
            <p:cNvSpPr>
              <a:spLocks noChangeArrowheads="1"/>
            </p:cNvSpPr>
            <p:nvPr/>
          </p:nvSpPr>
          <p:spPr bwMode="auto">
            <a:xfrm>
              <a:off x="2533863" y="5478598"/>
              <a:ext cx="712970" cy="66746"/>
            </a:xfrm>
            <a:prstGeom prst="rect">
              <a:avLst/>
            </a:prstGeom>
            <a:solidFill>
              <a:srgbClr val="56534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18" name="Freeform 345"/>
            <p:cNvSpPr>
              <a:spLocks/>
            </p:cNvSpPr>
            <p:nvPr/>
          </p:nvSpPr>
          <p:spPr bwMode="auto">
            <a:xfrm>
              <a:off x="2511632" y="5206844"/>
              <a:ext cx="565294" cy="205007"/>
            </a:xfrm>
            <a:custGeom>
              <a:avLst/>
              <a:gdLst>
                <a:gd name="T0" fmla="*/ 18 w 232"/>
                <a:gd name="T1" fmla="*/ 52 h 85"/>
                <a:gd name="T2" fmla="*/ 18 w 232"/>
                <a:gd name="T3" fmla="*/ 52 h 85"/>
                <a:gd name="T4" fmla="*/ 21 w 232"/>
                <a:gd name="T5" fmla="*/ 46 h 85"/>
                <a:gd name="T6" fmla="*/ 28 w 232"/>
                <a:gd name="T7" fmla="*/ 33 h 85"/>
                <a:gd name="T8" fmla="*/ 33 w 232"/>
                <a:gd name="T9" fmla="*/ 26 h 85"/>
                <a:gd name="T10" fmla="*/ 39 w 232"/>
                <a:gd name="T11" fmla="*/ 17 h 85"/>
                <a:gd name="T12" fmla="*/ 48 w 232"/>
                <a:gd name="T13" fmla="*/ 11 h 85"/>
                <a:gd name="T14" fmla="*/ 58 w 232"/>
                <a:gd name="T15" fmla="*/ 5 h 85"/>
                <a:gd name="T16" fmla="*/ 58 w 232"/>
                <a:gd name="T17" fmla="*/ 5 h 85"/>
                <a:gd name="T18" fmla="*/ 69 w 232"/>
                <a:gd name="T19" fmla="*/ 2 h 85"/>
                <a:gd name="T20" fmla="*/ 79 w 232"/>
                <a:gd name="T21" fmla="*/ 0 h 85"/>
                <a:gd name="T22" fmla="*/ 88 w 232"/>
                <a:gd name="T23" fmla="*/ 0 h 85"/>
                <a:gd name="T24" fmla="*/ 99 w 232"/>
                <a:gd name="T25" fmla="*/ 2 h 85"/>
                <a:gd name="T26" fmla="*/ 107 w 232"/>
                <a:gd name="T27" fmla="*/ 5 h 85"/>
                <a:gd name="T28" fmla="*/ 115 w 232"/>
                <a:gd name="T29" fmla="*/ 9 h 85"/>
                <a:gd name="T30" fmla="*/ 121 w 232"/>
                <a:gd name="T31" fmla="*/ 14 h 85"/>
                <a:gd name="T32" fmla="*/ 125 w 232"/>
                <a:gd name="T33" fmla="*/ 21 h 85"/>
                <a:gd name="T34" fmla="*/ 125 w 232"/>
                <a:gd name="T35" fmla="*/ 21 h 85"/>
                <a:gd name="T36" fmla="*/ 127 w 232"/>
                <a:gd name="T37" fmla="*/ 24 h 85"/>
                <a:gd name="T38" fmla="*/ 129 w 232"/>
                <a:gd name="T39" fmla="*/ 25 h 85"/>
                <a:gd name="T40" fmla="*/ 131 w 232"/>
                <a:gd name="T41" fmla="*/ 25 h 85"/>
                <a:gd name="T42" fmla="*/ 134 w 232"/>
                <a:gd name="T43" fmla="*/ 25 h 85"/>
                <a:gd name="T44" fmla="*/ 141 w 232"/>
                <a:gd name="T45" fmla="*/ 22 h 85"/>
                <a:gd name="T46" fmla="*/ 147 w 232"/>
                <a:gd name="T47" fmla="*/ 16 h 85"/>
                <a:gd name="T48" fmla="*/ 155 w 232"/>
                <a:gd name="T49" fmla="*/ 12 h 85"/>
                <a:gd name="T50" fmla="*/ 158 w 232"/>
                <a:gd name="T51" fmla="*/ 10 h 85"/>
                <a:gd name="T52" fmla="*/ 162 w 232"/>
                <a:gd name="T53" fmla="*/ 9 h 85"/>
                <a:gd name="T54" fmla="*/ 167 w 232"/>
                <a:gd name="T55" fmla="*/ 9 h 85"/>
                <a:gd name="T56" fmla="*/ 172 w 232"/>
                <a:gd name="T57" fmla="*/ 9 h 85"/>
                <a:gd name="T58" fmla="*/ 176 w 232"/>
                <a:gd name="T59" fmla="*/ 11 h 85"/>
                <a:gd name="T60" fmla="*/ 180 w 232"/>
                <a:gd name="T61" fmla="*/ 14 h 85"/>
                <a:gd name="T62" fmla="*/ 180 w 232"/>
                <a:gd name="T63" fmla="*/ 14 h 85"/>
                <a:gd name="T64" fmla="*/ 190 w 232"/>
                <a:gd name="T65" fmla="*/ 24 h 85"/>
                <a:gd name="T66" fmla="*/ 199 w 232"/>
                <a:gd name="T67" fmla="*/ 34 h 85"/>
                <a:gd name="T68" fmla="*/ 216 w 232"/>
                <a:gd name="T69" fmla="*/ 56 h 85"/>
                <a:gd name="T70" fmla="*/ 228 w 232"/>
                <a:gd name="T71" fmla="*/ 75 h 85"/>
                <a:gd name="T72" fmla="*/ 232 w 232"/>
                <a:gd name="T73" fmla="*/ 82 h 85"/>
                <a:gd name="T74" fmla="*/ 232 w 232"/>
                <a:gd name="T75" fmla="*/ 82 h 85"/>
                <a:gd name="T76" fmla="*/ 188 w 232"/>
                <a:gd name="T77" fmla="*/ 82 h 85"/>
                <a:gd name="T78" fmla="*/ 154 w 232"/>
                <a:gd name="T79" fmla="*/ 83 h 85"/>
                <a:gd name="T80" fmla="*/ 142 w 232"/>
                <a:gd name="T81" fmla="*/ 84 h 85"/>
                <a:gd name="T82" fmla="*/ 134 w 232"/>
                <a:gd name="T83" fmla="*/ 85 h 85"/>
                <a:gd name="T84" fmla="*/ 134 w 232"/>
                <a:gd name="T85" fmla="*/ 85 h 85"/>
                <a:gd name="T86" fmla="*/ 131 w 232"/>
                <a:gd name="T87" fmla="*/ 85 h 85"/>
                <a:gd name="T88" fmla="*/ 126 w 232"/>
                <a:gd name="T89" fmla="*/ 84 h 85"/>
                <a:gd name="T90" fmla="*/ 109 w 232"/>
                <a:gd name="T91" fmla="*/ 81 h 85"/>
                <a:gd name="T92" fmla="*/ 63 w 232"/>
                <a:gd name="T93" fmla="*/ 70 h 85"/>
                <a:gd name="T94" fmla="*/ 0 w 232"/>
                <a:gd name="T95" fmla="*/ 52 h 85"/>
                <a:gd name="T96" fmla="*/ 18 w 232"/>
                <a:gd name="T97" fmla="*/ 52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2" h="85">
                  <a:moveTo>
                    <a:pt x="18" y="52"/>
                  </a:moveTo>
                  <a:lnTo>
                    <a:pt x="18" y="52"/>
                  </a:lnTo>
                  <a:lnTo>
                    <a:pt x="21" y="46"/>
                  </a:lnTo>
                  <a:lnTo>
                    <a:pt x="28" y="33"/>
                  </a:lnTo>
                  <a:lnTo>
                    <a:pt x="33" y="26"/>
                  </a:lnTo>
                  <a:lnTo>
                    <a:pt x="39" y="17"/>
                  </a:lnTo>
                  <a:lnTo>
                    <a:pt x="48" y="11"/>
                  </a:lnTo>
                  <a:lnTo>
                    <a:pt x="58" y="5"/>
                  </a:lnTo>
                  <a:lnTo>
                    <a:pt x="58" y="5"/>
                  </a:lnTo>
                  <a:lnTo>
                    <a:pt x="69" y="2"/>
                  </a:lnTo>
                  <a:lnTo>
                    <a:pt x="79" y="0"/>
                  </a:lnTo>
                  <a:lnTo>
                    <a:pt x="88" y="0"/>
                  </a:lnTo>
                  <a:lnTo>
                    <a:pt x="99" y="2"/>
                  </a:lnTo>
                  <a:lnTo>
                    <a:pt x="107" y="5"/>
                  </a:lnTo>
                  <a:lnTo>
                    <a:pt x="115" y="9"/>
                  </a:lnTo>
                  <a:lnTo>
                    <a:pt x="121" y="14"/>
                  </a:lnTo>
                  <a:lnTo>
                    <a:pt x="125" y="21"/>
                  </a:lnTo>
                  <a:lnTo>
                    <a:pt x="125" y="21"/>
                  </a:lnTo>
                  <a:lnTo>
                    <a:pt x="127" y="24"/>
                  </a:lnTo>
                  <a:lnTo>
                    <a:pt x="129" y="25"/>
                  </a:lnTo>
                  <a:lnTo>
                    <a:pt x="131" y="25"/>
                  </a:lnTo>
                  <a:lnTo>
                    <a:pt x="134" y="25"/>
                  </a:lnTo>
                  <a:lnTo>
                    <a:pt x="141" y="22"/>
                  </a:lnTo>
                  <a:lnTo>
                    <a:pt x="147" y="16"/>
                  </a:lnTo>
                  <a:lnTo>
                    <a:pt x="155" y="12"/>
                  </a:lnTo>
                  <a:lnTo>
                    <a:pt x="158" y="10"/>
                  </a:lnTo>
                  <a:lnTo>
                    <a:pt x="162" y="9"/>
                  </a:lnTo>
                  <a:lnTo>
                    <a:pt x="167" y="9"/>
                  </a:lnTo>
                  <a:lnTo>
                    <a:pt x="172" y="9"/>
                  </a:lnTo>
                  <a:lnTo>
                    <a:pt x="176" y="11"/>
                  </a:lnTo>
                  <a:lnTo>
                    <a:pt x="180" y="14"/>
                  </a:lnTo>
                  <a:lnTo>
                    <a:pt x="180" y="14"/>
                  </a:lnTo>
                  <a:lnTo>
                    <a:pt x="190" y="24"/>
                  </a:lnTo>
                  <a:lnTo>
                    <a:pt x="199" y="34"/>
                  </a:lnTo>
                  <a:lnTo>
                    <a:pt x="216" y="56"/>
                  </a:lnTo>
                  <a:lnTo>
                    <a:pt x="228" y="75"/>
                  </a:lnTo>
                  <a:lnTo>
                    <a:pt x="232" y="82"/>
                  </a:lnTo>
                  <a:lnTo>
                    <a:pt x="232" y="82"/>
                  </a:lnTo>
                  <a:lnTo>
                    <a:pt x="188" y="82"/>
                  </a:lnTo>
                  <a:lnTo>
                    <a:pt x="154" y="83"/>
                  </a:lnTo>
                  <a:lnTo>
                    <a:pt x="142" y="84"/>
                  </a:lnTo>
                  <a:lnTo>
                    <a:pt x="134" y="85"/>
                  </a:lnTo>
                  <a:lnTo>
                    <a:pt x="134" y="85"/>
                  </a:lnTo>
                  <a:lnTo>
                    <a:pt x="131" y="85"/>
                  </a:lnTo>
                  <a:lnTo>
                    <a:pt x="126" y="84"/>
                  </a:lnTo>
                  <a:lnTo>
                    <a:pt x="109" y="81"/>
                  </a:lnTo>
                  <a:lnTo>
                    <a:pt x="63" y="70"/>
                  </a:lnTo>
                  <a:lnTo>
                    <a:pt x="0" y="52"/>
                  </a:lnTo>
                  <a:lnTo>
                    <a:pt x="18" y="52"/>
                  </a:lnTo>
                  <a:close/>
                </a:path>
              </a:pathLst>
            </a:custGeom>
            <a:solidFill>
              <a:srgbClr val="56534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19" name="Freeform 346"/>
            <p:cNvSpPr>
              <a:spLocks/>
            </p:cNvSpPr>
            <p:nvPr/>
          </p:nvSpPr>
          <p:spPr bwMode="auto">
            <a:xfrm>
              <a:off x="2511632" y="5206844"/>
              <a:ext cx="565294" cy="205007"/>
            </a:xfrm>
            <a:custGeom>
              <a:avLst/>
              <a:gdLst>
                <a:gd name="T0" fmla="*/ 18 w 232"/>
                <a:gd name="T1" fmla="*/ 52 h 85"/>
                <a:gd name="T2" fmla="*/ 18 w 232"/>
                <a:gd name="T3" fmla="*/ 52 h 85"/>
                <a:gd name="T4" fmla="*/ 21 w 232"/>
                <a:gd name="T5" fmla="*/ 46 h 85"/>
                <a:gd name="T6" fmla="*/ 28 w 232"/>
                <a:gd name="T7" fmla="*/ 33 h 85"/>
                <a:gd name="T8" fmla="*/ 33 w 232"/>
                <a:gd name="T9" fmla="*/ 26 h 85"/>
                <a:gd name="T10" fmla="*/ 39 w 232"/>
                <a:gd name="T11" fmla="*/ 17 h 85"/>
                <a:gd name="T12" fmla="*/ 48 w 232"/>
                <a:gd name="T13" fmla="*/ 11 h 85"/>
                <a:gd name="T14" fmla="*/ 58 w 232"/>
                <a:gd name="T15" fmla="*/ 5 h 85"/>
                <a:gd name="T16" fmla="*/ 58 w 232"/>
                <a:gd name="T17" fmla="*/ 5 h 85"/>
                <a:gd name="T18" fmla="*/ 69 w 232"/>
                <a:gd name="T19" fmla="*/ 2 h 85"/>
                <a:gd name="T20" fmla="*/ 79 w 232"/>
                <a:gd name="T21" fmla="*/ 0 h 85"/>
                <a:gd name="T22" fmla="*/ 88 w 232"/>
                <a:gd name="T23" fmla="*/ 0 h 85"/>
                <a:gd name="T24" fmla="*/ 99 w 232"/>
                <a:gd name="T25" fmla="*/ 2 h 85"/>
                <a:gd name="T26" fmla="*/ 107 w 232"/>
                <a:gd name="T27" fmla="*/ 5 h 85"/>
                <a:gd name="T28" fmla="*/ 115 w 232"/>
                <a:gd name="T29" fmla="*/ 9 h 85"/>
                <a:gd name="T30" fmla="*/ 121 w 232"/>
                <a:gd name="T31" fmla="*/ 14 h 85"/>
                <a:gd name="T32" fmla="*/ 125 w 232"/>
                <a:gd name="T33" fmla="*/ 21 h 85"/>
                <a:gd name="T34" fmla="*/ 125 w 232"/>
                <a:gd name="T35" fmla="*/ 21 h 85"/>
                <a:gd name="T36" fmla="*/ 127 w 232"/>
                <a:gd name="T37" fmla="*/ 24 h 85"/>
                <a:gd name="T38" fmla="*/ 129 w 232"/>
                <a:gd name="T39" fmla="*/ 25 h 85"/>
                <a:gd name="T40" fmla="*/ 131 w 232"/>
                <a:gd name="T41" fmla="*/ 25 h 85"/>
                <a:gd name="T42" fmla="*/ 134 w 232"/>
                <a:gd name="T43" fmla="*/ 25 h 85"/>
                <a:gd name="T44" fmla="*/ 141 w 232"/>
                <a:gd name="T45" fmla="*/ 22 h 85"/>
                <a:gd name="T46" fmla="*/ 147 w 232"/>
                <a:gd name="T47" fmla="*/ 16 h 85"/>
                <a:gd name="T48" fmla="*/ 155 w 232"/>
                <a:gd name="T49" fmla="*/ 12 h 85"/>
                <a:gd name="T50" fmla="*/ 158 w 232"/>
                <a:gd name="T51" fmla="*/ 10 h 85"/>
                <a:gd name="T52" fmla="*/ 162 w 232"/>
                <a:gd name="T53" fmla="*/ 9 h 85"/>
                <a:gd name="T54" fmla="*/ 167 w 232"/>
                <a:gd name="T55" fmla="*/ 9 h 85"/>
                <a:gd name="T56" fmla="*/ 172 w 232"/>
                <a:gd name="T57" fmla="*/ 9 h 85"/>
                <a:gd name="T58" fmla="*/ 176 w 232"/>
                <a:gd name="T59" fmla="*/ 11 h 85"/>
                <a:gd name="T60" fmla="*/ 180 w 232"/>
                <a:gd name="T61" fmla="*/ 14 h 85"/>
                <a:gd name="T62" fmla="*/ 180 w 232"/>
                <a:gd name="T63" fmla="*/ 14 h 85"/>
                <a:gd name="T64" fmla="*/ 190 w 232"/>
                <a:gd name="T65" fmla="*/ 24 h 85"/>
                <a:gd name="T66" fmla="*/ 199 w 232"/>
                <a:gd name="T67" fmla="*/ 34 h 85"/>
                <a:gd name="T68" fmla="*/ 216 w 232"/>
                <a:gd name="T69" fmla="*/ 56 h 85"/>
                <a:gd name="T70" fmla="*/ 228 w 232"/>
                <a:gd name="T71" fmla="*/ 75 h 85"/>
                <a:gd name="T72" fmla="*/ 232 w 232"/>
                <a:gd name="T73" fmla="*/ 82 h 85"/>
                <a:gd name="T74" fmla="*/ 232 w 232"/>
                <a:gd name="T75" fmla="*/ 82 h 85"/>
                <a:gd name="T76" fmla="*/ 188 w 232"/>
                <a:gd name="T77" fmla="*/ 82 h 85"/>
                <a:gd name="T78" fmla="*/ 154 w 232"/>
                <a:gd name="T79" fmla="*/ 83 h 85"/>
                <a:gd name="T80" fmla="*/ 142 w 232"/>
                <a:gd name="T81" fmla="*/ 84 h 85"/>
                <a:gd name="T82" fmla="*/ 134 w 232"/>
                <a:gd name="T83" fmla="*/ 85 h 85"/>
                <a:gd name="T84" fmla="*/ 134 w 232"/>
                <a:gd name="T85" fmla="*/ 85 h 85"/>
                <a:gd name="T86" fmla="*/ 131 w 232"/>
                <a:gd name="T87" fmla="*/ 85 h 85"/>
                <a:gd name="T88" fmla="*/ 126 w 232"/>
                <a:gd name="T89" fmla="*/ 84 h 85"/>
                <a:gd name="T90" fmla="*/ 109 w 232"/>
                <a:gd name="T91" fmla="*/ 81 h 85"/>
                <a:gd name="T92" fmla="*/ 63 w 232"/>
                <a:gd name="T93" fmla="*/ 70 h 85"/>
                <a:gd name="T94" fmla="*/ 0 w 232"/>
                <a:gd name="T95" fmla="*/ 52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2" h="85">
                  <a:moveTo>
                    <a:pt x="18" y="52"/>
                  </a:moveTo>
                  <a:lnTo>
                    <a:pt x="18" y="52"/>
                  </a:lnTo>
                  <a:lnTo>
                    <a:pt x="21" y="46"/>
                  </a:lnTo>
                  <a:lnTo>
                    <a:pt x="28" y="33"/>
                  </a:lnTo>
                  <a:lnTo>
                    <a:pt x="33" y="26"/>
                  </a:lnTo>
                  <a:lnTo>
                    <a:pt x="39" y="17"/>
                  </a:lnTo>
                  <a:lnTo>
                    <a:pt x="48" y="11"/>
                  </a:lnTo>
                  <a:lnTo>
                    <a:pt x="58" y="5"/>
                  </a:lnTo>
                  <a:lnTo>
                    <a:pt x="58" y="5"/>
                  </a:lnTo>
                  <a:lnTo>
                    <a:pt x="69" y="2"/>
                  </a:lnTo>
                  <a:lnTo>
                    <a:pt x="79" y="0"/>
                  </a:lnTo>
                  <a:lnTo>
                    <a:pt x="88" y="0"/>
                  </a:lnTo>
                  <a:lnTo>
                    <a:pt x="99" y="2"/>
                  </a:lnTo>
                  <a:lnTo>
                    <a:pt x="107" y="5"/>
                  </a:lnTo>
                  <a:lnTo>
                    <a:pt x="115" y="9"/>
                  </a:lnTo>
                  <a:lnTo>
                    <a:pt x="121" y="14"/>
                  </a:lnTo>
                  <a:lnTo>
                    <a:pt x="125" y="21"/>
                  </a:lnTo>
                  <a:lnTo>
                    <a:pt x="125" y="21"/>
                  </a:lnTo>
                  <a:lnTo>
                    <a:pt x="127" y="24"/>
                  </a:lnTo>
                  <a:lnTo>
                    <a:pt x="129" y="25"/>
                  </a:lnTo>
                  <a:lnTo>
                    <a:pt x="131" y="25"/>
                  </a:lnTo>
                  <a:lnTo>
                    <a:pt x="134" y="25"/>
                  </a:lnTo>
                  <a:lnTo>
                    <a:pt x="141" y="22"/>
                  </a:lnTo>
                  <a:lnTo>
                    <a:pt x="147" y="16"/>
                  </a:lnTo>
                  <a:lnTo>
                    <a:pt x="155" y="12"/>
                  </a:lnTo>
                  <a:lnTo>
                    <a:pt x="158" y="10"/>
                  </a:lnTo>
                  <a:lnTo>
                    <a:pt x="162" y="9"/>
                  </a:lnTo>
                  <a:lnTo>
                    <a:pt x="167" y="9"/>
                  </a:lnTo>
                  <a:lnTo>
                    <a:pt x="172" y="9"/>
                  </a:lnTo>
                  <a:lnTo>
                    <a:pt x="176" y="11"/>
                  </a:lnTo>
                  <a:lnTo>
                    <a:pt x="180" y="14"/>
                  </a:lnTo>
                  <a:lnTo>
                    <a:pt x="180" y="14"/>
                  </a:lnTo>
                  <a:lnTo>
                    <a:pt x="190" y="24"/>
                  </a:lnTo>
                  <a:lnTo>
                    <a:pt x="199" y="34"/>
                  </a:lnTo>
                  <a:lnTo>
                    <a:pt x="216" y="56"/>
                  </a:lnTo>
                  <a:lnTo>
                    <a:pt x="228" y="75"/>
                  </a:lnTo>
                  <a:lnTo>
                    <a:pt x="232" y="82"/>
                  </a:lnTo>
                  <a:lnTo>
                    <a:pt x="232" y="82"/>
                  </a:lnTo>
                  <a:lnTo>
                    <a:pt x="188" y="82"/>
                  </a:lnTo>
                  <a:lnTo>
                    <a:pt x="154" y="83"/>
                  </a:lnTo>
                  <a:lnTo>
                    <a:pt x="142" y="84"/>
                  </a:lnTo>
                  <a:lnTo>
                    <a:pt x="134" y="85"/>
                  </a:lnTo>
                  <a:lnTo>
                    <a:pt x="134" y="85"/>
                  </a:lnTo>
                  <a:lnTo>
                    <a:pt x="131" y="85"/>
                  </a:lnTo>
                  <a:lnTo>
                    <a:pt x="126" y="84"/>
                  </a:lnTo>
                  <a:lnTo>
                    <a:pt x="109" y="81"/>
                  </a:lnTo>
                  <a:lnTo>
                    <a:pt x="63" y="70"/>
                  </a:lnTo>
                  <a:lnTo>
                    <a:pt x="0" y="5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20" name="Freeform 347"/>
            <p:cNvSpPr>
              <a:spLocks/>
            </p:cNvSpPr>
            <p:nvPr/>
          </p:nvSpPr>
          <p:spPr bwMode="auto">
            <a:xfrm>
              <a:off x="2497342" y="5295839"/>
              <a:ext cx="551003" cy="212953"/>
            </a:xfrm>
            <a:custGeom>
              <a:avLst/>
              <a:gdLst>
                <a:gd name="T0" fmla="*/ 225 w 227"/>
                <a:gd name="T1" fmla="*/ 14 h 88"/>
                <a:gd name="T2" fmla="*/ 225 w 227"/>
                <a:gd name="T3" fmla="*/ 14 h 88"/>
                <a:gd name="T4" fmla="*/ 212 w 227"/>
                <a:gd name="T5" fmla="*/ 13 h 88"/>
                <a:gd name="T6" fmla="*/ 186 w 227"/>
                <a:gd name="T7" fmla="*/ 11 h 88"/>
                <a:gd name="T8" fmla="*/ 109 w 227"/>
                <a:gd name="T9" fmla="*/ 6 h 88"/>
                <a:gd name="T10" fmla="*/ 0 w 227"/>
                <a:gd name="T11" fmla="*/ 0 h 88"/>
                <a:gd name="T12" fmla="*/ 7 w 227"/>
                <a:gd name="T13" fmla="*/ 88 h 88"/>
                <a:gd name="T14" fmla="*/ 222 w 227"/>
                <a:gd name="T15" fmla="*/ 88 h 88"/>
                <a:gd name="T16" fmla="*/ 227 w 227"/>
                <a:gd name="T17" fmla="*/ 23 h 88"/>
                <a:gd name="T18" fmla="*/ 225 w 227"/>
                <a:gd name="T19" fmla="*/ 1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88">
                  <a:moveTo>
                    <a:pt x="225" y="14"/>
                  </a:moveTo>
                  <a:lnTo>
                    <a:pt x="225" y="14"/>
                  </a:lnTo>
                  <a:lnTo>
                    <a:pt x="212" y="13"/>
                  </a:lnTo>
                  <a:lnTo>
                    <a:pt x="186" y="11"/>
                  </a:lnTo>
                  <a:lnTo>
                    <a:pt x="109" y="6"/>
                  </a:lnTo>
                  <a:lnTo>
                    <a:pt x="0" y="0"/>
                  </a:lnTo>
                  <a:lnTo>
                    <a:pt x="7" y="88"/>
                  </a:lnTo>
                  <a:lnTo>
                    <a:pt x="222" y="88"/>
                  </a:lnTo>
                  <a:lnTo>
                    <a:pt x="227" y="23"/>
                  </a:lnTo>
                  <a:lnTo>
                    <a:pt x="225" y="14"/>
                  </a:lnTo>
                  <a:close/>
                </a:path>
              </a:pathLst>
            </a:custGeom>
            <a:solidFill>
              <a:srgbClr val="FFF1CA"/>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21" name="Freeform 348"/>
            <p:cNvSpPr>
              <a:spLocks/>
            </p:cNvSpPr>
            <p:nvPr/>
          </p:nvSpPr>
          <p:spPr bwMode="auto">
            <a:xfrm>
              <a:off x="2497342" y="5295839"/>
              <a:ext cx="551003" cy="212953"/>
            </a:xfrm>
            <a:custGeom>
              <a:avLst/>
              <a:gdLst>
                <a:gd name="T0" fmla="*/ 225 w 227"/>
                <a:gd name="T1" fmla="*/ 14 h 88"/>
                <a:gd name="T2" fmla="*/ 225 w 227"/>
                <a:gd name="T3" fmla="*/ 14 h 88"/>
                <a:gd name="T4" fmla="*/ 212 w 227"/>
                <a:gd name="T5" fmla="*/ 13 h 88"/>
                <a:gd name="T6" fmla="*/ 186 w 227"/>
                <a:gd name="T7" fmla="*/ 11 h 88"/>
                <a:gd name="T8" fmla="*/ 109 w 227"/>
                <a:gd name="T9" fmla="*/ 6 h 88"/>
                <a:gd name="T10" fmla="*/ 0 w 227"/>
                <a:gd name="T11" fmla="*/ 0 h 88"/>
                <a:gd name="T12" fmla="*/ 7 w 227"/>
                <a:gd name="T13" fmla="*/ 88 h 88"/>
                <a:gd name="T14" fmla="*/ 222 w 227"/>
                <a:gd name="T15" fmla="*/ 88 h 88"/>
                <a:gd name="T16" fmla="*/ 227 w 227"/>
                <a:gd name="T17" fmla="*/ 2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7" h="88">
                  <a:moveTo>
                    <a:pt x="225" y="14"/>
                  </a:moveTo>
                  <a:lnTo>
                    <a:pt x="225" y="14"/>
                  </a:lnTo>
                  <a:lnTo>
                    <a:pt x="212" y="13"/>
                  </a:lnTo>
                  <a:lnTo>
                    <a:pt x="186" y="11"/>
                  </a:lnTo>
                  <a:lnTo>
                    <a:pt x="109" y="6"/>
                  </a:lnTo>
                  <a:lnTo>
                    <a:pt x="0" y="0"/>
                  </a:lnTo>
                  <a:lnTo>
                    <a:pt x="7" y="88"/>
                  </a:lnTo>
                  <a:lnTo>
                    <a:pt x="222" y="88"/>
                  </a:lnTo>
                  <a:lnTo>
                    <a:pt x="227" y="2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22" name="Freeform 349"/>
            <p:cNvSpPr>
              <a:spLocks/>
            </p:cNvSpPr>
            <p:nvPr/>
          </p:nvSpPr>
          <p:spPr bwMode="auto">
            <a:xfrm>
              <a:off x="3246833" y="4699890"/>
              <a:ext cx="433498" cy="448154"/>
            </a:xfrm>
            <a:custGeom>
              <a:avLst/>
              <a:gdLst>
                <a:gd name="T0" fmla="*/ 50 w 176"/>
                <a:gd name="T1" fmla="*/ 182 h 182"/>
                <a:gd name="T2" fmla="*/ 50 w 176"/>
                <a:gd name="T3" fmla="*/ 182 h 182"/>
                <a:gd name="T4" fmla="*/ 46 w 176"/>
                <a:gd name="T5" fmla="*/ 178 h 182"/>
                <a:gd name="T6" fmla="*/ 33 w 176"/>
                <a:gd name="T7" fmla="*/ 169 h 182"/>
                <a:gd name="T8" fmla="*/ 17 w 176"/>
                <a:gd name="T9" fmla="*/ 160 h 182"/>
                <a:gd name="T10" fmla="*/ 8 w 176"/>
                <a:gd name="T11" fmla="*/ 157 h 182"/>
                <a:gd name="T12" fmla="*/ 0 w 176"/>
                <a:gd name="T13" fmla="*/ 154 h 182"/>
                <a:gd name="T14" fmla="*/ 161 w 176"/>
                <a:gd name="T15" fmla="*/ 0 h 182"/>
                <a:gd name="T16" fmla="*/ 176 w 176"/>
                <a:gd name="T17" fmla="*/ 14 h 182"/>
                <a:gd name="T18" fmla="*/ 50 w 176"/>
                <a:gd name="T19"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182">
                  <a:moveTo>
                    <a:pt x="50" y="182"/>
                  </a:moveTo>
                  <a:lnTo>
                    <a:pt x="50" y="182"/>
                  </a:lnTo>
                  <a:lnTo>
                    <a:pt x="46" y="178"/>
                  </a:lnTo>
                  <a:lnTo>
                    <a:pt x="33" y="169"/>
                  </a:lnTo>
                  <a:lnTo>
                    <a:pt x="17" y="160"/>
                  </a:lnTo>
                  <a:lnTo>
                    <a:pt x="8" y="157"/>
                  </a:lnTo>
                  <a:lnTo>
                    <a:pt x="0" y="154"/>
                  </a:lnTo>
                  <a:lnTo>
                    <a:pt x="161" y="0"/>
                  </a:lnTo>
                  <a:lnTo>
                    <a:pt x="176" y="14"/>
                  </a:lnTo>
                  <a:lnTo>
                    <a:pt x="50" y="182"/>
                  </a:lnTo>
                  <a:close/>
                </a:path>
              </a:pathLst>
            </a:custGeom>
            <a:solidFill>
              <a:srgbClr val="C74018"/>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23" name="Freeform 350"/>
            <p:cNvSpPr>
              <a:spLocks/>
            </p:cNvSpPr>
            <p:nvPr/>
          </p:nvSpPr>
          <p:spPr bwMode="auto">
            <a:xfrm>
              <a:off x="3591408" y="4758690"/>
              <a:ext cx="125445" cy="470403"/>
            </a:xfrm>
            <a:custGeom>
              <a:avLst/>
              <a:gdLst>
                <a:gd name="T0" fmla="*/ 44 w 53"/>
                <a:gd name="T1" fmla="*/ 0 h 193"/>
                <a:gd name="T2" fmla="*/ 0 w 53"/>
                <a:gd name="T3" fmla="*/ 60 h 193"/>
                <a:gd name="T4" fmla="*/ 30 w 53"/>
                <a:gd name="T5" fmla="*/ 193 h 193"/>
                <a:gd name="T6" fmla="*/ 53 w 53"/>
                <a:gd name="T7" fmla="*/ 193 h 193"/>
                <a:gd name="T8" fmla="*/ 44 w 53"/>
                <a:gd name="T9" fmla="*/ 0 h 193"/>
              </a:gdLst>
              <a:ahLst/>
              <a:cxnLst>
                <a:cxn ang="0">
                  <a:pos x="T0" y="T1"/>
                </a:cxn>
                <a:cxn ang="0">
                  <a:pos x="T2" y="T3"/>
                </a:cxn>
                <a:cxn ang="0">
                  <a:pos x="T4" y="T5"/>
                </a:cxn>
                <a:cxn ang="0">
                  <a:pos x="T6" y="T7"/>
                </a:cxn>
                <a:cxn ang="0">
                  <a:pos x="T8" y="T9"/>
                </a:cxn>
              </a:cxnLst>
              <a:rect l="0" t="0" r="r" b="b"/>
              <a:pathLst>
                <a:path w="53" h="193">
                  <a:moveTo>
                    <a:pt x="44" y="0"/>
                  </a:moveTo>
                  <a:lnTo>
                    <a:pt x="0" y="60"/>
                  </a:lnTo>
                  <a:lnTo>
                    <a:pt x="30" y="193"/>
                  </a:lnTo>
                  <a:lnTo>
                    <a:pt x="53" y="193"/>
                  </a:lnTo>
                  <a:lnTo>
                    <a:pt x="44" y="0"/>
                  </a:lnTo>
                  <a:close/>
                </a:path>
              </a:pathLst>
            </a:custGeom>
            <a:solidFill>
              <a:srgbClr val="C74018"/>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24" name="Freeform 351"/>
            <p:cNvSpPr>
              <a:spLocks/>
            </p:cNvSpPr>
            <p:nvPr/>
          </p:nvSpPr>
          <p:spPr bwMode="auto">
            <a:xfrm>
              <a:off x="3451672" y="5184595"/>
              <a:ext cx="265181" cy="286056"/>
            </a:xfrm>
            <a:custGeom>
              <a:avLst/>
              <a:gdLst>
                <a:gd name="T0" fmla="*/ 108 w 108"/>
                <a:gd name="T1" fmla="*/ 31 h 119"/>
                <a:gd name="T2" fmla="*/ 41 w 108"/>
                <a:gd name="T3" fmla="*/ 31 h 119"/>
                <a:gd name="T4" fmla="*/ 14 w 108"/>
                <a:gd name="T5" fmla="*/ 0 h 119"/>
                <a:gd name="T6" fmla="*/ 0 w 108"/>
                <a:gd name="T7" fmla="*/ 4 h 119"/>
                <a:gd name="T8" fmla="*/ 55 w 108"/>
                <a:gd name="T9" fmla="*/ 119 h 119"/>
                <a:gd name="T10" fmla="*/ 55 w 108"/>
                <a:gd name="T11" fmla="*/ 119 h 119"/>
                <a:gd name="T12" fmla="*/ 58 w 108"/>
                <a:gd name="T13" fmla="*/ 119 h 119"/>
                <a:gd name="T14" fmla="*/ 64 w 108"/>
                <a:gd name="T15" fmla="*/ 117 h 119"/>
                <a:gd name="T16" fmla="*/ 74 w 108"/>
                <a:gd name="T17" fmla="*/ 113 h 119"/>
                <a:gd name="T18" fmla="*/ 79 w 108"/>
                <a:gd name="T19" fmla="*/ 109 h 119"/>
                <a:gd name="T20" fmla="*/ 84 w 108"/>
                <a:gd name="T21" fmla="*/ 105 h 119"/>
                <a:gd name="T22" fmla="*/ 89 w 108"/>
                <a:gd name="T23" fmla="*/ 100 h 119"/>
                <a:gd name="T24" fmla="*/ 94 w 108"/>
                <a:gd name="T25" fmla="*/ 94 h 119"/>
                <a:gd name="T26" fmla="*/ 99 w 108"/>
                <a:gd name="T27" fmla="*/ 87 h 119"/>
                <a:gd name="T28" fmla="*/ 103 w 108"/>
                <a:gd name="T29" fmla="*/ 79 h 119"/>
                <a:gd name="T30" fmla="*/ 106 w 108"/>
                <a:gd name="T31" fmla="*/ 68 h 119"/>
                <a:gd name="T32" fmla="*/ 107 w 108"/>
                <a:gd name="T33" fmla="*/ 57 h 119"/>
                <a:gd name="T34" fmla="*/ 108 w 108"/>
                <a:gd name="T35" fmla="*/ 44 h 119"/>
                <a:gd name="T36" fmla="*/ 108 w 108"/>
                <a:gd name="T37" fmla="*/ 31 h 119"/>
                <a:gd name="T38" fmla="*/ 108 w 108"/>
                <a:gd name="T39" fmla="*/ 31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8" h="119">
                  <a:moveTo>
                    <a:pt x="108" y="31"/>
                  </a:moveTo>
                  <a:lnTo>
                    <a:pt x="41" y="31"/>
                  </a:lnTo>
                  <a:lnTo>
                    <a:pt x="14" y="0"/>
                  </a:lnTo>
                  <a:lnTo>
                    <a:pt x="0" y="4"/>
                  </a:lnTo>
                  <a:lnTo>
                    <a:pt x="55" y="119"/>
                  </a:lnTo>
                  <a:lnTo>
                    <a:pt x="55" y="119"/>
                  </a:lnTo>
                  <a:lnTo>
                    <a:pt x="58" y="119"/>
                  </a:lnTo>
                  <a:lnTo>
                    <a:pt x="64" y="117"/>
                  </a:lnTo>
                  <a:lnTo>
                    <a:pt x="74" y="113"/>
                  </a:lnTo>
                  <a:lnTo>
                    <a:pt x="79" y="109"/>
                  </a:lnTo>
                  <a:lnTo>
                    <a:pt x="84" y="105"/>
                  </a:lnTo>
                  <a:lnTo>
                    <a:pt x="89" y="100"/>
                  </a:lnTo>
                  <a:lnTo>
                    <a:pt x="94" y="94"/>
                  </a:lnTo>
                  <a:lnTo>
                    <a:pt x="99" y="87"/>
                  </a:lnTo>
                  <a:lnTo>
                    <a:pt x="103" y="79"/>
                  </a:lnTo>
                  <a:lnTo>
                    <a:pt x="106" y="68"/>
                  </a:lnTo>
                  <a:lnTo>
                    <a:pt x="107" y="57"/>
                  </a:lnTo>
                  <a:lnTo>
                    <a:pt x="108" y="44"/>
                  </a:lnTo>
                  <a:lnTo>
                    <a:pt x="108" y="31"/>
                  </a:lnTo>
                  <a:lnTo>
                    <a:pt x="108" y="31"/>
                  </a:lnTo>
                  <a:close/>
                </a:path>
              </a:pathLst>
            </a:custGeom>
            <a:solidFill>
              <a:srgbClr val="C74018"/>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25" name="Freeform 352"/>
            <p:cNvSpPr>
              <a:spLocks/>
            </p:cNvSpPr>
            <p:nvPr/>
          </p:nvSpPr>
          <p:spPr bwMode="auto">
            <a:xfrm>
              <a:off x="3018175" y="5097190"/>
              <a:ext cx="441438" cy="417959"/>
            </a:xfrm>
            <a:custGeom>
              <a:avLst/>
              <a:gdLst>
                <a:gd name="T0" fmla="*/ 182 w 182"/>
                <a:gd name="T1" fmla="*/ 172 h 172"/>
                <a:gd name="T2" fmla="*/ 0 w 182"/>
                <a:gd name="T3" fmla="*/ 172 h 172"/>
                <a:gd name="T4" fmla="*/ 0 w 182"/>
                <a:gd name="T5" fmla="*/ 0 h 172"/>
                <a:gd name="T6" fmla="*/ 0 w 182"/>
                <a:gd name="T7" fmla="*/ 0 h 172"/>
                <a:gd name="T8" fmla="*/ 8 w 182"/>
                <a:gd name="T9" fmla="*/ 0 h 172"/>
                <a:gd name="T10" fmla="*/ 27 w 182"/>
                <a:gd name="T11" fmla="*/ 0 h 172"/>
                <a:gd name="T12" fmla="*/ 42 w 182"/>
                <a:gd name="T13" fmla="*/ 2 h 172"/>
                <a:gd name="T14" fmla="*/ 57 w 182"/>
                <a:gd name="T15" fmla="*/ 4 h 172"/>
                <a:gd name="T16" fmla="*/ 73 w 182"/>
                <a:gd name="T17" fmla="*/ 9 h 172"/>
                <a:gd name="T18" fmla="*/ 90 w 182"/>
                <a:gd name="T19" fmla="*/ 15 h 172"/>
                <a:gd name="T20" fmla="*/ 107 w 182"/>
                <a:gd name="T21" fmla="*/ 24 h 172"/>
                <a:gd name="T22" fmla="*/ 115 w 182"/>
                <a:gd name="T23" fmla="*/ 29 h 172"/>
                <a:gd name="T24" fmla="*/ 123 w 182"/>
                <a:gd name="T25" fmla="*/ 34 h 172"/>
                <a:gd name="T26" fmla="*/ 131 w 182"/>
                <a:gd name="T27" fmla="*/ 42 h 172"/>
                <a:gd name="T28" fmla="*/ 138 w 182"/>
                <a:gd name="T29" fmla="*/ 49 h 172"/>
                <a:gd name="T30" fmla="*/ 145 w 182"/>
                <a:gd name="T31" fmla="*/ 56 h 172"/>
                <a:gd name="T32" fmla="*/ 151 w 182"/>
                <a:gd name="T33" fmla="*/ 66 h 172"/>
                <a:gd name="T34" fmla="*/ 158 w 182"/>
                <a:gd name="T35" fmla="*/ 75 h 172"/>
                <a:gd name="T36" fmla="*/ 164 w 182"/>
                <a:gd name="T37" fmla="*/ 86 h 172"/>
                <a:gd name="T38" fmla="*/ 168 w 182"/>
                <a:gd name="T39" fmla="*/ 98 h 172"/>
                <a:gd name="T40" fmla="*/ 172 w 182"/>
                <a:gd name="T41" fmla="*/ 110 h 172"/>
                <a:gd name="T42" fmla="*/ 176 w 182"/>
                <a:gd name="T43" fmla="*/ 124 h 172"/>
                <a:gd name="T44" fmla="*/ 179 w 182"/>
                <a:gd name="T45" fmla="*/ 138 h 172"/>
                <a:gd name="T46" fmla="*/ 181 w 182"/>
                <a:gd name="T47" fmla="*/ 155 h 172"/>
                <a:gd name="T48" fmla="*/ 182 w 182"/>
                <a:gd name="T49" fmla="*/ 172 h 172"/>
                <a:gd name="T50" fmla="*/ 182 w 182"/>
                <a:gd name="T51"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2" h="172">
                  <a:moveTo>
                    <a:pt x="182" y="172"/>
                  </a:moveTo>
                  <a:lnTo>
                    <a:pt x="0" y="172"/>
                  </a:lnTo>
                  <a:lnTo>
                    <a:pt x="0" y="0"/>
                  </a:lnTo>
                  <a:lnTo>
                    <a:pt x="0" y="0"/>
                  </a:lnTo>
                  <a:lnTo>
                    <a:pt x="8" y="0"/>
                  </a:lnTo>
                  <a:lnTo>
                    <a:pt x="27" y="0"/>
                  </a:lnTo>
                  <a:lnTo>
                    <a:pt x="42" y="2"/>
                  </a:lnTo>
                  <a:lnTo>
                    <a:pt x="57" y="4"/>
                  </a:lnTo>
                  <a:lnTo>
                    <a:pt x="73" y="9"/>
                  </a:lnTo>
                  <a:lnTo>
                    <a:pt x="90" y="15"/>
                  </a:lnTo>
                  <a:lnTo>
                    <a:pt x="107" y="24"/>
                  </a:lnTo>
                  <a:lnTo>
                    <a:pt x="115" y="29"/>
                  </a:lnTo>
                  <a:lnTo>
                    <a:pt x="123" y="34"/>
                  </a:lnTo>
                  <a:lnTo>
                    <a:pt x="131" y="42"/>
                  </a:lnTo>
                  <a:lnTo>
                    <a:pt x="138" y="49"/>
                  </a:lnTo>
                  <a:lnTo>
                    <a:pt x="145" y="56"/>
                  </a:lnTo>
                  <a:lnTo>
                    <a:pt x="151" y="66"/>
                  </a:lnTo>
                  <a:lnTo>
                    <a:pt x="158" y="75"/>
                  </a:lnTo>
                  <a:lnTo>
                    <a:pt x="164" y="86"/>
                  </a:lnTo>
                  <a:lnTo>
                    <a:pt x="168" y="98"/>
                  </a:lnTo>
                  <a:lnTo>
                    <a:pt x="172" y="110"/>
                  </a:lnTo>
                  <a:lnTo>
                    <a:pt x="176" y="124"/>
                  </a:lnTo>
                  <a:lnTo>
                    <a:pt x="179" y="138"/>
                  </a:lnTo>
                  <a:lnTo>
                    <a:pt x="181" y="155"/>
                  </a:lnTo>
                  <a:lnTo>
                    <a:pt x="182" y="172"/>
                  </a:lnTo>
                  <a:lnTo>
                    <a:pt x="182" y="172"/>
                  </a:lnTo>
                  <a:close/>
                </a:path>
              </a:pathLst>
            </a:custGeom>
            <a:solidFill>
              <a:srgbClr val="FFF1CA"/>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26" name="Freeform 353"/>
            <p:cNvSpPr>
              <a:spLocks/>
            </p:cNvSpPr>
            <p:nvPr/>
          </p:nvSpPr>
          <p:spPr bwMode="auto">
            <a:xfrm>
              <a:off x="3115036" y="5184595"/>
              <a:ext cx="219131" cy="206596"/>
            </a:xfrm>
            <a:custGeom>
              <a:avLst/>
              <a:gdLst>
                <a:gd name="T0" fmla="*/ 90 w 90"/>
                <a:gd name="T1" fmla="*/ 85 h 85"/>
                <a:gd name="T2" fmla="*/ 0 w 90"/>
                <a:gd name="T3" fmla="*/ 85 h 85"/>
                <a:gd name="T4" fmla="*/ 0 w 90"/>
                <a:gd name="T5" fmla="*/ 0 h 85"/>
                <a:gd name="T6" fmla="*/ 0 w 90"/>
                <a:gd name="T7" fmla="*/ 0 h 85"/>
                <a:gd name="T8" fmla="*/ 4 w 90"/>
                <a:gd name="T9" fmla="*/ 0 h 85"/>
                <a:gd name="T10" fmla="*/ 15 w 90"/>
                <a:gd name="T11" fmla="*/ 0 h 85"/>
                <a:gd name="T12" fmla="*/ 28 w 90"/>
                <a:gd name="T13" fmla="*/ 2 h 85"/>
                <a:gd name="T14" fmla="*/ 36 w 90"/>
                <a:gd name="T15" fmla="*/ 4 h 85"/>
                <a:gd name="T16" fmla="*/ 45 w 90"/>
                <a:gd name="T17" fmla="*/ 8 h 85"/>
                <a:gd name="T18" fmla="*/ 53 w 90"/>
                <a:gd name="T19" fmla="*/ 12 h 85"/>
                <a:gd name="T20" fmla="*/ 60 w 90"/>
                <a:gd name="T21" fmla="*/ 17 h 85"/>
                <a:gd name="T22" fmla="*/ 69 w 90"/>
                <a:gd name="T23" fmla="*/ 24 h 85"/>
                <a:gd name="T24" fmla="*/ 75 w 90"/>
                <a:gd name="T25" fmla="*/ 33 h 85"/>
                <a:gd name="T26" fmla="*/ 81 w 90"/>
                <a:gd name="T27" fmla="*/ 43 h 85"/>
                <a:gd name="T28" fmla="*/ 85 w 90"/>
                <a:gd name="T29" fmla="*/ 55 h 85"/>
                <a:gd name="T30" fmla="*/ 89 w 90"/>
                <a:gd name="T31" fmla="*/ 69 h 85"/>
                <a:gd name="T32" fmla="*/ 90 w 90"/>
                <a:gd name="T33" fmla="*/ 85 h 85"/>
                <a:gd name="T34" fmla="*/ 90 w 90"/>
                <a:gd name="T35"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85">
                  <a:moveTo>
                    <a:pt x="90" y="85"/>
                  </a:moveTo>
                  <a:lnTo>
                    <a:pt x="0" y="85"/>
                  </a:lnTo>
                  <a:lnTo>
                    <a:pt x="0" y="0"/>
                  </a:lnTo>
                  <a:lnTo>
                    <a:pt x="0" y="0"/>
                  </a:lnTo>
                  <a:lnTo>
                    <a:pt x="4" y="0"/>
                  </a:lnTo>
                  <a:lnTo>
                    <a:pt x="15" y="0"/>
                  </a:lnTo>
                  <a:lnTo>
                    <a:pt x="28" y="2"/>
                  </a:lnTo>
                  <a:lnTo>
                    <a:pt x="36" y="4"/>
                  </a:lnTo>
                  <a:lnTo>
                    <a:pt x="45" y="8"/>
                  </a:lnTo>
                  <a:lnTo>
                    <a:pt x="53" y="12"/>
                  </a:lnTo>
                  <a:lnTo>
                    <a:pt x="60" y="17"/>
                  </a:lnTo>
                  <a:lnTo>
                    <a:pt x="69" y="24"/>
                  </a:lnTo>
                  <a:lnTo>
                    <a:pt x="75" y="33"/>
                  </a:lnTo>
                  <a:lnTo>
                    <a:pt x="81" y="43"/>
                  </a:lnTo>
                  <a:lnTo>
                    <a:pt x="85" y="55"/>
                  </a:lnTo>
                  <a:lnTo>
                    <a:pt x="89" y="69"/>
                  </a:lnTo>
                  <a:lnTo>
                    <a:pt x="90" y="85"/>
                  </a:lnTo>
                  <a:lnTo>
                    <a:pt x="90" y="85"/>
                  </a:lnTo>
                  <a:close/>
                </a:path>
              </a:pathLst>
            </a:custGeom>
            <a:solidFill>
              <a:srgbClr val="4D9C9A"/>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27" name="Freeform 354"/>
            <p:cNvSpPr>
              <a:spLocks noEditPoints="1"/>
            </p:cNvSpPr>
            <p:nvPr/>
          </p:nvSpPr>
          <p:spPr bwMode="auto">
            <a:xfrm>
              <a:off x="2475111" y="5523095"/>
              <a:ext cx="947979" cy="367105"/>
            </a:xfrm>
            <a:custGeom>
              <a:avLst/>
              <a:gdLst>
                <a:gd name="T0" fmla="*/ 74 w 387"/>
                <a:gd name="T1" fmla="*/ 148 h 148"/>
                <a:gd name="T2" fmla="*/ 67 w 387"/>
                <a:gd name="T3" fmla="*/ 148 h 148"/>
                <a:gd name="T4" fmla="*/ 52 w 387"/>
                <a:gd name="T5" fmla="*/ 145 h 148"/>
                <a:gd name="T6" fmla="*/ 39 w 387"/>
                <a:gd name="T7" fmla="*/ 139 h 148"/>
                <a:gd name="T8" fmla="*/ 27 w 387"/>
                <a:gd name="T9" fmla="*/ 131 h 148"/>
                <a:gd name="T10" fmla="*/ 17 w 387"/>
                <a:gd name="T11" fmla="*/ 121 h 148"/>
                <a:gd name="T12" fmla="*/ 9 w 387"/>
                <a:gd name="T13" fmla="*/ 109 h 148"/>
                <a:gd name="T14" fmla="*/ 3 w 387"/>
                <a:gd name="T15" fmla="*/ 96 h 148"/>
                <a:gd name="T16" fmla="*/ 0 w 387"/>
                <a:gd name="T17" fmla="*/ 81 h 148"/>
                <a:gd name="T18" fmla="*/ 0 w 387"/>
                <a:gd name="T19" fmla="*/ 74 h 148"/>
                <a:gd name="T20" fmla="*/ 1 w 387"/>
                <a:gd name="T21" fmla="*/ 58 h 148"/>
                <a:gd name="T22" fmla="*/ 5 w 387"/>
                <a:gd name="T23" fmla="*/ 45 h 148"/>
                <a:gd name="T24" fmla="*/ 13 w 387"/>
                <a:gd name="T25" fmla="*/ 32 h 148"/>
                <a:gd name="T26" fmla="*/ 21 w 387"/>
                <a:gd name="T27" fmla="*/ 21 h 148"/>
                <a:gd name="T28" fmla="*/ 33 w 387"/>
                <a:gd name="T29" fmla="*/ 13 h 148"/>
                <a:gd name="T30" fmla="*/ 45 w 387"/>
                <a:gd name="T31" fmla="*/ 5 h 148"/>
                <a:gd name="T32" fmla="*/ 59 w 387"/>
                <a:gd name="T33" fmla="*/ 1 h 148"/>
                <a:gd name="T34" fmla="*/ 74 w 387"/>
                <a:gd name="T35" fmla="*/ 0 h 148"/>
                <a:gd name="T36" fmla="*/ 313 w 387"/>
                <a:gd name="T37" fmla="*/ 0 h 148"/>
                <a:gd name="T38" fmla="*/ 328 w 387"/>
                <a:gd name="T39" fmla="*/ 1 h 148"/>
                <a:gd name="T40" fmla="*/ 341 w 387"/>
                <a:gd name="T41" fmla="*/ 5 h 148"/>
                <a:gd name="T42" fmla="*/ 354 w 387"/>
                <a:gd name="T43" fmla="*/ 13 h 148"/>
                <a:gd name="T44" fmla="*/ 365 w 387"/>
                <a:gd name="T45" fmla="*/ 21 h 148"/>
                <a:gd name="T46" fmla="*/ 375 w 387"/>
                <a:gd name="T47" fmla="*/ 32 h 148"/>
                <a:gd name="T48" fmla="*/ 381 w 387"/>
                <a:gd name="T49" fmla="*/ 45 h 148"/>
                <a:gd name="T50" fmla="*/ 385 w 387"/>
                <a:gd name="T51" fmla="*/ 58 h 148"/>
                <a:gd name="T52" fmla="*/ 387 w 387"/>
                <a:gd name="T53" fmla="*/ 74 h 148"/>
                <a:gd name="T54" fmla="*/ 387 w 387"/>
                <a:gd name="T55" fmla="*/ 81 h 148"/>
                <a:gd name="T56" fmla="*/ 384 w 387"/>
                <a:gd name="T57" fmla="*/ 96 h 148"/>
                <a:gd name="T58" fmla="*/ 378 w 387"/>
                <a:gd name="T59" fmla="*/ 109 h 148"/>
                <a:gd name="T60" fmla="*/ 370 w 387"/>
                <a:gd name="T61" fmla="*/ 121 h 148"/>
                <a:gd name="T62" fmla="*/ 360 w 387"/>
                <a:gd name="T63" fmla="*/ 131 h 148"/>
                <a:gd name="T64" fmla="*/ 348 w 387"/>
                <a:gd name="T65" fmla="*/ 139 h 148"/>
                <a:gd name="T66" fmla="*/ 335 w 387"/>
                <a:gd name="T67" fmla="*/ 145 h 148"/>
                <a:gd name="T68" fmla="*/ 320 w 387"/>
                <a:gd name="T69" fmla="*/ 148 h 148"/>
                <a:gd name="T70" fmla="*/ 313 w 387"/>
                <a:gd name="T71" fmla="*/ 148 h 148"/>
                <a:gd name="T72" fmla="*/ 74 w 387"/>
                <a:gd name="T73" fmla="*/ 24 h 148"/>
                <a:gd name="T74" fmla="*/ 54 w 387"/>
                <a:gd name="T75" fmla="*/ 28 h 148"/>
                <a:gd name="T76" fmla="*/ 39 w 387"/>
                <a:gd name="T77" fmla="*/ 39 h 148"/>
                <a:gd name="T78" fmla="*/ 28 w 387"/>
                <a:gd name="T79" fmla="*/ 54 h 148"/>
                <a:gd name="T80" fmla="*/ 24 w 387"/>
                <a:gd name="T81" fmla="*/ 74 h 148"/>
                <a:gd name="T82" fmla="*/ 25 w 387"/>
                <a:gd name="T83" fmla="*/ 83 h 148"/>
                <a:gd name="T84" fmla="*/ 33 w 387"/>
                <a:gd name="T85" fmla="*/ 101 h 148"/>
                <a:gd name="T86" fmla="*/ 46 w 387"/>
                <a:gd name="T87" fmla="*/ 115 h 148"/>
                <a:gd name="T88" fmla="*/ 64 w 387"/>
                <a:gd name="T89" fmla="*/ 122 h 148"/>
                <a:gd name="T90" fmla="*/ 313 w 387"/>
                <a:gd name="T91" fmla="*/ 123 h 148"/>
                <a:gd name="T92" fmla="*/ 322 w 387"/>
                <a:gd name="T93" fmla="*/ 122 h 148"/>
                <a:gd name="T94" fmla="*/ 340 w 387"/>
                <a:gd name="T95" fmla="*/ 115 h 148"/>
                <a:gd name="T96" fmla="*/ 354 w 387"/>
                <a:gd name="T97" fmla="*/ 101 h 148"/>
                <a:gd name="T98" fmla="*/ 361 w 387"/>
                <a:gd name="T99" fmla="*/ 83 h 148"/>
                <a:gd name="T100" fmla="*/ 362 w 387"/>
                <a:gd name="T101" fmla="*/ 74 h 148"/>
                <a:gd name="T102" fmla="*/ 359 w 387"/>
                <a:gd name="T103" fmla="*/ 54 h 148"/>
                <a:gd name="T104" fmla="*/ 347 w 387"/>
                <a:gd name="T105" fmla="*/ 39 h 148"/>
                <a:gd name="T106" fmla="*/ 332 w 387"/>
                <a:gd name="T107" fmla="*/ 28 h 148"/>
                <a:gd name="T108" fmla="*/ 313 w 387"/>
                <a:gd name="T109" fmla="*/ 24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87" h="148">
                  <a:moveTo>
                    <a:pt x="313" y="148"/>
                  </a:moveTo>
                  <a:lnTo>
                    <a:pt x="74" y="148"/>
                  </a:lnTo>
                  <a:lnTo>
                    <a:pt x="74" y="148"/>
                  </a:lnTo>
                  <a:lnTo>
                    <a:pt x="67" y="148"/>
                  </a:lnTo>
                  <a:lnTo>
                    <a:pt x="59" y="146"/>
                  </a:lnTo>
                  <a:lnTo>
                    <a:pt x="52" y="145"/>
                  </a:lnTo>
                  <a:lnTo>
                    <a:pt x="45" y="142"/>
                  </a:lnTo>
                  <a:lnTo>
                    <a:pt x="39" y="139"/>
                  </a:lnTo>
                  <a:lnTo>
                    <a:pt x="33" y="136"/>
                  </a:lnTo>
                  <a:lnTo>
                    <a:pt x="27" y="131"/>
                  </a:lnTo>
                  <a:lnTo>
                    <a:pt x="21" y="126"/>
                  </a:lnTo>
                  <a:lnTo>
                    <a:pt x="17" y="121"/>
                  </a:lnTo>
                  <a:lnTo>
                    <a:pt x="13" y="115"/>
                  </a:lnTo>
                  <a:lnTo>
                    <a:pt x="9" y="109"/>
                  </a:lnTo>
                  <a:lnTo>
                    <a:pt x="5" y="102"/>
                  </a:lnTo>
                  <a:lnTo>
                    <a:pt x="3" y="96"/>
                  </a:lnTo>
                  <a:lnTo>
                    <a:pt x="1" y="89"/>
                  </a:lnTo>
                  <a:lnTo>
                    <a:pt x="0" y="81"/>
                  </a:lnTo>
                  <a:lnTo>
                    <a:pt x="0" y="74"/>
                  </a:lnTo>
                  <a:lnTo>
                    <a:pt x="0" y="74"/>
                  </a:lnTo>
                  <a:lnTo>
                    <a:pt x="0" y="66"/>
                  </a:lnTo>
                  <a:lnTo>
                    <a:pt x="1" y="58"/>
                  </a:lnTo>
                  <a:lnTo>
                    <a:pt x="3" y="52"/>
                  </a:lnTo>
                  <a:lnTo>
                    <a:pt x="5" y="45"/>
                  </a:lnTo>
                  <a:lnTo>
                    <a:pt x="9" y="39"/>
                  </a:lnTo>
                  <a:lnTo>
                    <a:pt x="13" y="32"/>
                  </a:lnTo>
                  <a:lnTo>
                    <a:pt x="17" y="26"/>
                  </a:lnTo>
                  <a:lnTo>
                    <a:pt x="21" y="21"/>
                  </a:lnTo>
                  <a:lnTo>
                    <a:pt x="27" y="17"/>
                  </a:lnTo>
                  <a:lnTo>
                    <a:pt x="33" y="13"/>
                  </a:lnTo>
                  <a:lnTo>
                    <a:pt x="39" y="8"/>
                  </a:lnTo>
                  <a:lnTo>
                    <a:pt x="45" y="5"/>
                  </a:lnTo>
                  <a:lnTo>
                    <a:pt x="52" y="3"/>
                  </a:lnTo>
                  <a:lnTo>
                    <a:pt x="59" y="1"/>
                  </a:lnTo>
                  <a:lnTo>
                    <a:pt x="67" y="0"/>
                  </a:lnTo>
                  <a:lnTo>
                    <a:pt x="74" y="0"/>
                  </a:lnTo>
                  <a:lnTo>
                    <a:pt x="313" y="0"/>
                  </a:lnTo>
                  <a:lnTo>
                    <a:pt x="313" y="0"/>
                  </a:lnTo>
                  <a:lnTo>
                    <a:pt x="320" y="0"/>
                  </a:lnTo>
                  <a:lnTo>
                    <a:pt x="328" y="1"/>
                  </a:lnTo>
                  <a:lnTo>
                    <a:pt x="335" y="3"/>
                  </a:lnTo>
                  <a:lnTo>
                    <a:pt x="341" y="5"/>
                  </a:lnTo>
                  <a:lnTo>
                    <a:pt x="348" y="8"/>
                  </a:lnTo>
                  <a:lnTo>
                    <a:pt x="354" y="13"/>
                  </a:lnTo>
                  <a:lnTo>
                    <a:pt x="360" y="17"/>
                  </a:lnTo>
                  <a:lnTo>
                    <a:pt x="365" y="21"/>
                  </a:lnTo>
                  <a:lnTo>
                    <a:pt x="370" y="26"/>
                  </a:lnTo>
                  <a:lnTo>
                    <a:pt x="375" y="32"/>
                  </a:lnTo>
                  <a:lnTo>
                    <a:pt x="378" y="39"/>
                  </a:lnTo>
                  <a:lnTo>
                    <a:pt x="381" y="45"/>
                  </a:lnTo>
                  <a:lnTo>
                    <a:pt x="384" y="52"/>
                  </a:lnTo>
                  <a:lnTo>
                    <a:pt x="385" y="58"/>
                  </a:lnTo>
                  <a:lnTo>
                    <a:pt x="387" y="66"/>
                  </a:lnTo>
                  <a:lnTo>
                    <a:pt x="387" y="74"/>
                  </a:lnTo>
                  <a:lnTo>
                    <a:pt x="387" y="74"/>
                  </a:lnTo>
                  <a:lnTo>
                    <a:pt x="387" y="81"/>
                  </a:lnTo>
                  <a:lnTo>
                    <a:pt x="385" y="89"/>
                  </a:lnTo>
                  <a:lnTo>
                    <a:pt x="384" y="96"/>
                  </a:lnTo>
                  <a:lnTo>
                    <a:pt x="381" y="102"/>
                  </a:lnTo>
                  <a:lnTo>
                    <a:pt x="378" y="109"/>
                  </a:lnTo>
                  <a:lnTo>
                    <a:pt x="375" y="115"/>
                  </a:lnTo>
                  <a:lnTo>
                    <a:pt x="370" y="121"/>
                  </a:lnTo>
                  <a:lnTo>
                    <a:pt x="365" y="126"/>
                  </a:lnTo>
                  <a:lnTo>
                    <a:pt x="360" y="131"/>
                  </a:lnTo>
                  <a:lnTo>
                    <a:pt x="354" y="136"/>
                  </a:lnTo>
                  <a:lnTo>
                    <a:pt x="348" y="139"/>
                  </a:lnTo>
                  <a:lnTo>
                    <a:pt x="341" y="142"/>
                  </a:lnTo>
                  <a:lnTo>
                    <a:pt x="335" y="145"/>
                  </a:lnTo>
                  <a:lnTo>
                    <a:pt x="328" y="146"/>
                  </a:lnTo>
                  <a:lnTo>
                    <a:pt x="320" y="148"/>
                  </a:lnTo>
                  <a:lnTo>
                    <a:pt x="313" y="148"/>
                  </a:lnTo>
                  <a:lnTo>
                    <a:pt x="313" y="148"/>
                  </a:lnTo>
                  <a:close/>
                  <a:moveTo>
                    <a:pt x="74" y="24"/>
                  </a:moveTo>
                  <a:lnTo>
                    <a:pt x="74" y="24"/>
                  </a:lnTo>
                  <a:lnTo>
                    <a:pt x="64" y="25"/>
                  </a:lnTo>
                  <a:lnTo>
                    <a:pt x="54" y="28"/>
                  </a:lnTo>
                  <a:lnTo>
                    <a:pt x="46" y="32"/>
                  </a:lnTo>
                  <a:lnTo>
                    <a:pt x="39" y="39"/>
                  </a:lnTo>
                  <a:lnTo>
                    <a:pt x="33" y="46"/>
                  </a:lnTo>
                  <a:lnTo>
                    <a:pt x="28" y="54"/>
                  </a:lnTo>
                  <a:lnTo>
                    <a:pt x="25" y="64"/>
                  </a:lnTo>
                  <a:lnTo>
                    <a:pt x="24" y="74"/>
                  </a:lnTo>
                  <a:lnTo>
                    <a:pt x="24" y="74"/>
                  </a:lnTo>
                  <a:lnTo>
                    <a:pt x="25" y="83"/>
                  </a:lnTo>
                  <a:lnTo>
                    <a:pt x="28" y="93"/>
                  </a:lnTo>
                  <a:lnTo>
                    <a:pt x="33" y="101"/>
                  </a:lnTo>
                  <a:lnTo>
                    <a:pt x="39" y="108"/>
                  </a:lnTo>
                  <a:lnTo>
                    <a:pt x="46" y="115"/>
                  </a:lnTo>
                  <a:lnTo>
                    <a:pt x="54" y="120"/>
                  </a:lnTo>
                  <a:lnTo>
                    <a:pt x="64" y="122"/>
                  </a:lnTo>
                  <a:lnTo>
                    <a:pt x="74" y="123"/>
                  </a:lnTo>
                  <a:lnTo>
                    <a:pt x="313" y="123"/>
                  </a:lnTo>
                  <a:lnTo>
                    <a:pt x="313" y="123"/>
                  </a:lnTo>
                  <a:lnTo>
                    <a:pt x="322" y="122"/>
                  </a:lnTo>
                  <a:lnTo>
                    <a:pt x="332" y="120"/>
                  </a:lnTo>
                  <a:lnTo>
                    <a:pt x="340" y="115"/>
                  </a:lnTo>
                  <a:lnTo>
                    <a:pt x="347" y="108"/>
                  </a:lnTo>
                  <a:lnTo>
                    <a:pt x="354" y="101"/>
                  </a:lnTo>
                  <a:lnTo>
                    <a:pt x="359" y="93"/>
                  </a:lnTo>
                  <a:lnTo>
                    <a:pt x="361" y="83"/>
                  </a:lnTo>
                  <a:lnTo>
                    <a:pt x="362" y="74"/>
                  </a:lnTo>
                  <a:lnTo>
                    <a:pt x="362" y="74"/>
                  </a:lnTo>
                  <a:lnTo>
                    <a:pt x="361" y="64"/>
                  </a:lnTo>
                  <a:lnTo>
                    <a:pt x="359" y="54"/>
                  </a:lnTo>
                  <a:lnTo>
                    <a:pt x="354" y="46"/>
                  </a:lnTo>
                  <a:lnTo>
                    <a:pt x="347" y="39"/>
                  </a:lnTo>
                  <a:lnTo>
                    <a:pt x="340" y="32"/>
                  </a:lnTo>
                  <a:lnTo>
                    <a:pt x="332" y="28"/>
                  </a:lnTo>
                  <a:lnTo>
                    <a:pt x="322" y="25"/>
                  </a:lnTo>
                  <a:lnTo>
                    <a:pt x="313" y="24"/>
                  </a:lnTo>
                  <a:lnTo>
                    <a:pt x="74" y="24"/>
                  </a:lnTo>
                  <a:close/>
                </a:path>
              </a:pathLst>
            </a:custGeom>
            <a:solidFill>
              <a:srgbClr val="56534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28" name="Freeform 355"/>
            <p:cNvSpPr>
              <a:spLocks/>
            </p:cNvSpPr>
            <p:nvPr/>
          </p:nvSpPr>
          <p:spPr bwMode="auto">
            <a:xfrm>
              <a:off x="3165849" y="5632750"/>
              <a:ext cx="139736" cy="139850"/>
            </a:xfrm>
            <a:custGeom>
              <a:avLst/>
              <a:gdLst>
                <a:gd name="T0" fmla="*/ 0 w 57"/>
                <a:gd name="T1" fmla="*/ 29 h 57"/>
                <a:gd name="T2" fmla="*/ 0 w 57"/>
                <a:gd name="T3" fmla="*/ 29 h 57"/>
                <a:gd name="T4" fmla="*/ 1 w 57"/>
                <a:gd name="T5" fmla="*/ 34 h 57"/>
                <a:gd name="T6" fmla="*/ 3 w 57"/>
                <a:gd name="T7" fmla="*/ 39 h 57"/>
                <a:gd name="T8" fmla="*/ 5 w 57"/>
                <a:gd name="T9" fmla="*/ 45 h 57"/>
                <a:gd name="T10" fmla="*/ 8 w 57"/>
                <a:gd name="T11" fmla="*/ 49 h 57"/>
                <a:gd name="T12" fmla="*/ 12 w 57"/>
                <a:gd name="T13" fmla="*/ 52 h 57"/>
                <a:gd name="T14" fmla="*/ 17 w 57"/>
                <a:gd name="T15" fmla="*/ 55 h 57"/>
                <a:gd name="T16" fmla="*/ 23 w 57"/>
                <a:gd name="T17" fmla="*/ 57 h 57"/>
                <a:gd name="T18" fmla="*/ 29 w 57"/>
                <a:gd name="T19" fmla="*/ 57 h 57"/>
                <a:gd name="T20" fmla="*/ 29 w 57"/>
                <a:gd name="T21" fmla="*/ 57 h 57"/>
                <a:gd name="T22" fmla="*/ 34 w 57"/>
                <a:gd name="T23" fmla="*/ 57 h 57"/>
                <a:gd name="T24" fmla="*/ 40 w 57"/>
                <a:gd name="T25" fmla="*/ 55 h 57"/>
                <a:gd name="T26" fmla="*/ 45 w 57"/>
                <a:gd name="T27" fmla="*/ 52 h 57"/>
                <a:gd name="T28" fmla="*/ 49 w 57"/>
                <a:gd name="T29" fmla="*/ 49 h 57"/>
                <a:gd name="T30" fmla="*/ 53 w 57"/>
                <a:gd name="T31" fmla="*/ 45 h 57"/>
                <a:gd name="T32" fmla="*/ 55 w 57"/>
                <a:gd name="T33" fmla="*/ 39 h 57"/>
                <a:gd name="T34" fmla="*/ 57 w 57"/>
                <a:gd name="T35" fmla="*/ 34 h 57"/>
                <a:gd name="T36" fmla="*/ 57 w 57"/>
                <a:gd name="T37" fmla="*/ 29 h 57"/>
                <a:gd name="T38" fmla="*/ 57 w 57"/>
                <a:gd name="T39" fmla="*/ 29 h 57"/>
                <a:gd name="T40" fmla="*/ 57 w 57"/>
                <a:gd name="T41" fmla="*/ 23 h 57"/>
                <a:gd name="T42" fmla="*/ 55 w 57"/>
                <a:gd name="T43" fmla="*/ 18 h 57"/>
                <a:gd name="T44" fmla="*/ 53 w 57"/>
                <a:gd name="T45" fmla="*/ 12 h 57"/>
                <a:gd name="T46" fmla="*/ 49 w 57"/>
                <a:gd name="T47" fmla="*/ 8 h 57"/>
                <a:gd name="T48" fmla="*/ 45 w 57"/>
                <a:gd name="T49" fmla="*/ 5 h 57"/>
                <a:gd name="T50" fmla="*/ 40 w 57"/>
                <a:gd name="T51" fmla="*/ 2 h 57"/>
                <a:gd name="T52" fmla="*/ 34 w 57"/>
                <a:gd name="T53" fmla="*/ 1 h 57"/>
                <a:gd name="T54" fmla="*/ 29 w 57"/>
                <a:gd name="T55" fmla="*/ 0 h 57"/>
                <a:gd name="T56" fmla="*/ 29 w 57"/>
                <a:gd name="T57" fmla="*/ 0 h 57"/>
                <a:gd name="T58" fmla="*/ 23 w 57"/>
                <a:gd name="T59" fmla="*/ 1 h 57"/>
                <a:gd name="T60" fmla="*/ 17 w 57"/>
                <a:gd name="T61" fmla="*/ 2 h 57"/>
                <a:gd name="T62" fmla="*/ 12 w 57"/>
                <a:gd name="T63" fmla="*/ 5 h 57"/>
                <a:gd name="T64" fmla="*/ 8 w 57"/>
                <a:gd name="T65" fmla="*/ 8 h 57"/>
                <a:gd name="T66" fmla="*/ 5 w 57"/>
                <a:gd name="T67" fmla="*/ 12 h 57"/>
                <a:gd name="T68" fmla="*/ 3 w 57"/>
                <a:gd name="T69" fmla="*/ 18 h 57"/>
                <a:gd name="T70" fmla="*/ 1 w 57"/>
                <a:gd name="T71" fmla="*/ 23 h 57"/>
                <a:gd name="T72" fmla="*/ 0 w 57"/>
                <a:gd name="T73" fmla="*/ 29 h 57"/>
                <a:gd name="T74" fmla="*/ 0 w 57"/>
                <a:gd name="T75" fmla="*/ 2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7" h="57">
                  <a:moveTo>
                    <a:pt x="0" y="29"/>
                  </a:moveTo>
                  <a:lnTo>
                    <a:pt x="0" y="29"/>
                  </a:lnTo>
                  <a:lnTo>
                    <a:pt x="1" y="34"/>
                  </a:lnTo>
                  <a:lnTo>
                    <a:pt x="3" y="39"/>
                  </a:lnTo>
                  <a:lnTo>
                    <a:pt x="5" y="45"/>
                  </a:lnTo>
                  <a:lnTo>
                    <a:pt x="8" y="49"/>
                  </a:lnTo>
                  <a:lnTo>
                    <a:pt x="12" y="52"/>
                  </a:lnTo>
                  <a:lnTo>
                    <a:pt x="17" y="55"/>
                  </a:lnTo>
                  <a:lnTo>
                    <a:pt x="23" y="57"/>
                  </a:lnTo>
                  <a:lnTo>
                    <a:pt x="29" y="57"/>
                  </a:lnTo>
                  <a:lnTo>
                    <a:pt x="29" y="57"/>
                  </a:lnTo>
                  <a:lnTo>
                    <a:pt x="34" y="57"/>
                  </a:lnTo>
                  <a:lnTo>
                    <a:pt x="40" y="55"/>
                  </a:lnTo>
                  <a:lnTo>
                    <a:pt x="45" y="52"/>
                  </a:lnTo>
                  <a:lnTo>
                    <a:pt x="49" y="49"/>
                  </a:lnTo>
                  <a:lnTo>
                    <a:pt x="53" y="45"/>
                  </a:lnTo>
                  <a:lnTo>
                    <a:pt x="55" y="39"/>
                  </a:lnTo>
                  <a:lnTo>
                    <a:pt x="57" y="34"/>
                  </a:lnTo>
                  <a:lnTo>
                    <a:pt x="57" y="29"/>
                  </a:lnTo>
                  <a:lnTo>
                    <a:pt x="57" y="29"/>
                  </a:lnTo>
                  <a:lnTo>
                    <a:pt x="57" y="23"/>
                  </a:lnTo>
                  <a:lnTo>
                    <a:pt x="55" y="18"/>
                  </a:lnTo>
                  <a:lnTo>
                    <a:pt x="53" y="12"/>
                  </a:lnTo>
                  <a:lnTo>
                    <a:pt x="49" y="8"/>
                  </a:lnTo>
                  <a:lnTo>
                    <a:pt x="45" y="5"/>
                  </a:lnTo>
                  <a:lnTo>
                    <a:pt x="40" y="2"/>
                  </a:lnTo>
                  <a:lnTo>
                    <a:pt x="34" y="1"/>
                  </a:lnTo>
                  <a:lnTo>
                    <a:pt x="29" y="0"/>
                  </a:lnTo>
                  <a:lnTo>
                    <a:pt x="29" y="0"/>
                  </a:lnTo>
                  <a:lnTo>
                    <a:pt x="23" y="1"/>
                  </a:lnTo>
                  <a:lnTo>
                    <a:pt x="17" y="2"/>
                  </a:lnTo>
                  <a:lnTo>
                    <a:pt x="12" y="5"/>
                  </a:lnTo>
                  <a:lnTo>
                    <a:pt x="8" y="8"/>
                  </a:lnTo>
                  <a:lnTo>
                    <a:pt x="5" y="12"/>
                  </a:lnTo>
                  <a:lnTo>
                    <a:pt x="3" y="18"/>
                  </a:lnTo>
                  <a:lnTo>
                    <a:pt x="1" y="23"/>
                  </a:lnTo>
                  <a:lnTo>
                    <a:pt x="0" y="29"/>
                  </a:lnTo>
                  <a:lnTo>
                    <a:pt x="0" y="29"/>
                  </a:lnTo>
                  <a:close/>
                </a:path>
              </a:pathLst>
            </a:custGeom>
            <a:solidFill>
              <a:srgbClr val="C74018"/>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29" name="Freeform 356"/>
            <p:cNvSpPr>
              <a:spLocks/>
            </p:cNvSpPr>
            <p:nvPr/>
          </p:nvSpPr>
          <p:spPr bwMode="auto">
            <a:xfrm>
              <a:off x="2754582" y="5685194"/>
              <a:ext cx="389036" cy="36551"/>
            </a:xfrm>
            <a:custGeom>
              <a:avLst/>
              <a:gdLst>
                <a:gd name="T0" fmla="*/ 152 w 161"/>
                <a:gd name="T1" fmla="*/ 17 h 17"/>
                <a:gd name="T2" fmla="*/ 9 w 161"/>
                <a:gd name="T3" fmla="*/ 17 h 17"/>
                <a:gd name="T4" fmla="*/ 9 w 161"/>
                <a:gd name="T5" fmla="*/ 17 h 17"/>
                <a:gd name="T6" fmla="*/ 5 w 161"/>
                <a:gd name="T7" fmla="*/ 17 h 17"/>
                <a:gd name="T8" fmla="*/ 2 w 161"/>
                <a:gd name="T9" fmla="*/ 15 h 17"/>
                <a:gd name="T10" fmla="*/ 1 w 161"/>
                <a:gd name="T11" fmla="*/ 12 h 17"/>
                <a:gd name="T12" fmla="*/ 0 w 161"/>
                <a:gd name="T13" fmla="*/ 9 h 17"/>
                <a:gd name="T14" fmla="*/ 0 w 161"/>
                <a:gd name="T15" fmla="*/ 9 h 17"/>
                <a:gd name="T16" fmla="*/ 1 w 161"/>
                <a:gd name="T17" fmla="*/ 5 h 17"/>
                <a:gd name="T18" fmla="*/ 2 w 161"/>
                <a:gd name="T19" fmla="*/ 2 h 17"/>
                <a:gd name="T20" fmla="*/ 5 w 161"/>
                <a:gd name="T21" fmla="*/ 1 h 17"/>
                <a:gd name="T22" fmla="*/ 9 w 161"/>
                <a:gd name="T23" fmla="*/ 0 h 17"/>
                <a:gd name="T24" fmla="*/ 152 w 161"/>
                <a:gd name="T25" fmla="*/ 0 h 17"/>
                <a:gd name="T26" fmla="*/ 152 w 161"/>
                <a:gd name="T27" fmla="*/ 0 h 17"/>
                <a:gd name="T28" fmla="*/ 155 w 161"/>
                <a:gd name="T29" fmla="*/ 1 h 17"/>
                <a:gd name="T30" fmla="*/ 158 w 161"/>
                <a:gd name="T31" fmla="*/ 2 h 17"/>
                <a:gd name="T32" fmla="*/ 160 w 161"/>
                <a:gd name="T33" fmla="*/ 5 h 17"/>
                <a:gd name="T34" fmla="*/ 161 w 161"/>
                <a:gd name="T35" fmla="*/ 9 h 17"/>
                <a:gd name="T36" fmla="*/ 161 w 161"/>
                <a:gd name="T37" fmla="*/ 9 h 17"/>
                <a:gd name="T38" fmla="*/ 160 w 161"/>
                <a:gd name="T39" fmla="*/ 12 h 17"/>
                <a:gd name="T40" fmla="*/ 158 w 161"/>
                <a:gd name="T41" fmla="*/ 15 h 17"/>
                <a:gd name="T42" fmla="*/ 155 w 161"/>
                <a:gd name="T43" fmla="*/ 17 h 17"/>
                <a:gd name="T44" fmla="*/ 152 w 161"/>
                <a:gd name="T45" fmla="*/ 17 h 17"/>
                <a:gd name="T46" fmla="*/ 152 w 161"/>
                <a:gd name="T4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1" h="17">
                  <a:moveTo>
                    <a:pt x="152" y="17"/>
                  </a:moveTo>
                  <a:lnTo>
                    <a:pt x="9" y="17"/>
                  </a:lnTo>
                  <a:lnTo>
                    <a:pt x="9" y="17"/>
                  </a:lnTo>
                  <a:lnTo>
                    <a:pt x="5" y="17"/>
                  </a:lnTo>
                  <a:lnTo>
                    <a:pt x="2" y="15"/>
                  </a:lnTo>
                  <a:lnTo>
                    <a:pt x="1" y="12"/>
                  </a:lnTo>
                  <a:lnTo>
                    <a:pt x="0" y="9"/>
                  </a:lnTo>
                  <a:lnTo>
                    <a:pt x="0" y="9"/>
                  </a:lnTo>
                  <a:lnTo>
                    <a:pt x="1" y="5"/>
                  </a:lnTo>
                  <a:lnTo>
                    <a:pt x="2" y="2"/>
                  </a:lnTo>
                  <a:lnTo>
                    <a:pt x="5" y="1"/>
                  </a:lnTo>
                  <a:lnTo>
                    <a:pt x="9" y="0"/>
                  </a:lnTo>
                  <a:lnTo>
                    <a:pt x="152" y="0"/>
                  </a:lnTo>
                  <a:lnTo>
                    <a:pt x="152" y="0"/>
                  </a:lnTo>
                  <a:lnTo>
                    <a:pt x="155" y="1"/>
                  </a:lnTo>
                  <a:lnTo>
                    <a:pt x="158" y="2"/>
                  </a:lnTo>
                  <a:lnTo>
                    <a:pt x="160" y="5"/>
                  </a:lnTo>
                  <a:lnTo>
                    <a:pt x="161" y="9"/>
                  </a:lnTo>
                  <a:lnTo>
                    <a:pt x="161" y="9"/>
                  </a:lnTo>
                  <a:lnTo>
                    <a:pt x="160" y="12"/>
                  </a:lnTo>
                  <a:lnTo>
                    <a:pt x="158" y="15"/>
                  </a:lnTo>
                  <a:lnTo>
                    <a:pt x="155" y="17"/>
                  </a:lnTo>
                  <a:lnTo>
                    <a:pt x="152" y="17"/>
                  </a:lnTo>
                  <a:lnTo>
                    <a:pt x="152" y="17"/>
                  </a:lnTo>
                  <a:close/>
                </a:path>
              </a:pathLst>
            </a:custGeom>
            <a:solidFill>
              <a:srgbClr val="56534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30" name="Freeform 357"/>
            <p:cNvSpPr>
              <a:spLocks/>
            </p:cNvSpPr>
            <p:nvPr/>
          </p:nvSpPr>
          <p:spPr bwMode="auto">
            <a:xfrm>
              <a:off x="2584676" y="5632750"/>
              <a:ext cx="139736" cy="139850"/>
            </a:xfrm>
            <a:custGeom>
              <a:avLst/>
              <a:gdLst>
                <a:gd name="T0" fmla="*/ 0 w 57"/>
                <a:gd name="T1" fmla="*/ 29 h 57"/>
                <a:gd name="T2" fmla="*/ 0 w 57"/>
                <a:gd name="T3" fmla="*/ 29 h 57"/>
                <a:gd name="T4" fmla="*/ 1 w 57"/>
                <a:gd name="T5" fmla="*/ 34 h 57"/>
                <a:gd name="T6" fmla="*/ 2 w 57"/>
                <a:gd name="T7" fmla="*/ 39 h 57"/>
                <a:gd name="T8" fmla="*/ 5 w 57"/>
                <a:gd name="T9" fmla="*/ 45 h 57"/>
                <a:gd name="T10" fmla="*/ 8 w 57"/>
                <a:gd name="T11" fmla="*/ 49 h 57"/>
                <a:gd name="T12" fmla="*/ 13 w 57"/>
                <a:gd name="T13" fmla="*/ 52 h 57"/>
                <a:gd name="T14" fmla="*/ 18 w 57"/>
                <a:gd name="T15" fmla="*/ 55 h 57"/>
                <a:gd name="T16" fmla="*/ 23 w 57"/>
                <a:gd name="T17" fmla="*/ 57 h 57"/>
                <a:gd name="T18" fmla="*/ 29 w 57"/>
                <a:gd name="T19" fmla="*/ 57 h 57"/>
                <a:gd name="T20" fmla="*/ 29 w 57"/>
                <a:gd name="T21" fmla="*/ 57 h 57"/>
                <a:gd name="T22" fmla="*/ 35 w 57"/>
                <a:gd name="T23" fmla="*/ 57 h 57"/>
                <a:gd name="T24" fmla="*/ 40 w 57"/>
                <a:gd name="T25" fmla="*/ 55 h 57"/>
                <a:gd name="T26" fmla="*/ 45 w 57"/>
                <a:gd name="T27" fmla="*/ 52 h 57"/>
                <a:gd name="T28" fmla="*/ 49 w 57"/>
                <a:gd name="T29" fmla="*/ 49 h 57"/>
                <a:gd name="T30" fmla="*/ 52 w 57"/>
                <a:gd name="T31" fmla="*/ 45 h 57"/>
                <a:gd name="T32" fmla="*/ 55 w 57"/>
                <a:gd name="T33" fmla="*/ 39 h 57"/>
                <a:gd name="T34" fmla="*/ 56 w 57"/>
                <a:gd name="T35" fmla="*/ 34 h 57"/>
                <a:gd name="T36" fmla="*/ 57 w 57"/>
                <a:gd name="T37" fmla="*/ 29 h 57"/>
                <a:gd name="T38" fmla="*/ 57 w 57"/>
                <a:gd name="T39" fmla="*/ 29 h 57"/>
                <a:gd name="T40" fmla="*/ 56 w 57"/>
                <a:gd name="T41" fmla="*/ 23 h 57"/>
                <a:gd name="T42" fmla="*/ 55 w 57"/>
                <a:gd name="T43" fmla="*/ 18 h 57"/>
                <a:gd name="T44" fmla="*/ 52 w 57"/>
                <a:gd name="T45" fmla="*/ 12 h 57"/>
                <a:gd name="T46" fmla="*/ 49 w 57"/>
                <a:gd name="T47" fmla="*/ 8 h 57"/>
                <a:gd name="T48" fmla="*/ 45 w 57"/>
                <a:gd name="T49" fmla="*/ 5 h 57"/>
                <a:gd name="T50" fmla="*/ 40 w 57"/>
                <a:gd name="T51" fmla="*/ 2 h 57"/>
                <a:gd name="T52" fmla="*/ 35 w 57"/>
                <a:gd name="T53" fmla="*/ 1 h 57"/>
                <a:gd name="T54" fmla="*/ 29 w 57"/>
                <a:gd name="T55" fmla="*/ 0 h 57"/>
                <a:gd name="T56" fmla="*/ 29 w 57"/>
                <a:gd name="T57" fmla="*/ 0 h 57"/>
                <a:gd name="T58" fmla="*/ 23 w 57"/>
                <a:gd name="T59" fmla="*/ 1 h 57"/>
                <a:gd name="T60" fmla="*/ 18 w 57"/>
                <a:gd name="T61" fmla="*/ 2 h 57"/>
                <a:gd name="T62" fmla="*/ 13 w 57"/>
                <a:gd name="T63" fmla="*/ 5 h 57"/>
                <a:gd name="T64" fmla="*/ 8 w 57"/>
                <a:gd name="T65" fmla="*/ 8 h 57"/>
                <a:gd name="T66" fmla="*/ 5 w 57"/>
                <a:gd name="T67" fmla="*/ 12 h 57"/>
                <a:gd name="T68" fmla="*/ 2 w 57"/>
                <a:gd name="T69" fmla="*/ 18 h 57"/>
                <a:gd name="T70" fmla="*/ 1 w 57"/>
                <a:gd name="T71" fmla="*/ 23 h 57"/>
                <a:gd name="T72" fmla="*/ 0 w 57"/>
                <a:gd name="T73" fmla="*/ 29 h 57"/>
                <a:gd name="T74" fmla="*/ 0 w 57"/>
                <a:gd name="T75" fmla="*/ 2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7" h="57">
                  <a:moveTo>
                    <a:pt x="0" y="29"/>
                  </a:moveTo>
                  <a:lnTo>
                    <a:pt x="0" y="29"/>
                  </a:lnTo>
                  <a:lnTo>
                    <a:pt x="1" y="34"/>
                  </a:lnTo>
                  <a:lnTo>
                    <a:pt x="2" y="39"/>
                  </a:lnTo>
                  <a:lnTo>
                    <a:pt x="5" y="45"/>
                  </a:lnTo>
                  <a:lnTo>
                    <a:pt x="8" y="49"/>
                  </a:lnTo>
                  <a:lnTo>
                    <a:pt x="13" y="52"/>
                  </a:lnTo>
                  <a:lnTo>
                    <a:pt x="18" y="55"/>
                  </a:lnTo>
                  <a:lnTo>
                    <a:pt x="23" y="57"/>
                  </a:lnTo>
                  <a:lnTo>
                    <a:pt x="29" y="57"/>
                  </a:lnTo>
                  <a:lnTo>
                    <a:pt x="29" y="57"/>
                  </a:lnTo>
                  <a:lnTo>
                    <a:pt x="35" y="57"/>
                  </a:lnTo>
                  <a:lnTo>
                    <a:pt x="40" y="55"/>
                  </a:lnTo>
                  <a:lnTo>
                    <a:pt x="45" y="52"/>
                  </a:lnTo>
                  <a:lnTo>
                    <a:pt x="49" y="49"/>
                  </a:lnTo>
                  <a:lnTo>
                    <a:pt x="52" y="45"/>
                  </a:lnTo>
                  <a:lnTo>
                    <a:pt x="55" y="39"/>
                  </a:lnTo>
                  <a:lnTo>
                    <a:pt x="56" y="34"/>
                  </a:lnTo>
                  <a:lnTo>
                    <a:pt x="57" y="29"/>
                  </a:lnTo>
                  <a:lnTo>
                    <a:pt x="57" y="29"/>
                  </a:lnTo>
                  <a:lnTo>
                    <a:pt x="56" y="23"/>
                  </a:lnTo>
                  <a:lnTo>
                    <a:pt x="55" y="18"/>
                  </a:lnTo>
                  <a:lnTo>
                    <a:pt x="52" y="12"/>
                  </a:lnTo>
                  <a:lnTo>
                    <a:pt x="49" y="8"/>
                  </a:lnTo>
                  <a:lnTo>
                    <a:pt x="45" y="5"/>
                  </a:lnTo>
                  <a:lnTo>
                    <a:pt x="40" y="2"/>
                  </a:lnTo>
                  <a:lnTo>
                    <a:pt x="35" y="1"/>
                  </a:lnTo>
                  <a:lnTo>
                    <a:pt x="29" y="0"/>
                  </a:lnTo>
                  <a:lnTo>
                    <a:pt x="29" y="0"/>
                  </a:lnTo>
                  <a:lnTo>
                    <a:pt x="23" y="1"/>
                  </a:lnTo>
                  <a:lnTo>
                    <a:pt x="18" y="2"/>
                  </a:lnTo>
                  <a:lnTo>
                    <a:pt x="13" y="5"/>
                  </a:lnTo>
                  <a:lnTo>
                    <a:pt x="8" y="8"/>
                  </a:lnTo>
                  <a:lnTo>
                    <a:pt x="5" y="12"/>
                  </a:lnTo>
                  <a:lnTo>
                    <a:pt x="2" y="18"/>
                  </a:lnTo>
                  <a:lnTo>
                    <a:pt x="1" y="23"/>
                  </a:lnTo>
                  <a:lnTo>
                    <a:pt x="0" y="29"/>
                  </a:lnTo>
                  <a:lnTo>
                    <a:pt x="0" y="29"/>
                  </a:lnTo>
                  <a:close/>
                </a:path>
              </a:pathLst>
            </a:custGeom>
            <a:solidFill>
              <a:srgbClr val="C74018"/>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31" name="Freeform 358"/>
            <p:cNvSpPr>
              <a:spLocks/>
            </p:cNvSpPr>
            <p:nvPr/>
          </p:nvSpPr>
          <p:spPr bwMode="auto">
            <a:xfrm>
              <a:off x="3121388" y="5780546"/>
              <a:ext cx="95274" cy="95352"/>
            </a:xfrm>
            <a:custGeom>
              <a:avLst/>
              <a:gdLst>
                <a:gd name="T0" fmla="*/ 0 w 39"/>
                <a:gd name="T1" fmla="*/ 31 h 39"/>
                <a:gd name="T2" fmla="*/ 0 w 39"/>
                <a:gd name="T3" fmla="*/ 31 h 39"/>
                <a:gd name="T4" fmla="*/ 0 w 39"/>
                <a:gd name="T5" fmla="*/ 27 h 39"/>
                <a:gd name="T6" fmla="*/ 1 w 39"/>
                <a:gd name="T7" fmla="*/ 22 h 39"/>
                <a:gd name="T8" fmla="*/ 5 w 39"/>
                <a:gd name="T9" fmla="*/ 12 h 39"/>
                <a:gd name="T10" fmla="*/ 8 w 39"/>
                <a:gd name="T11" fmla="*/ 8 h 39"/>
                <a:gd name="T12" fmla="*/ 11 w 39"/>
                <a:gd name="T13" fmla="*/ 3 h 39"/>
                <a:gd name="T14" fmla="*/ 16 w 39"/>
                <a:gd name="T15" fmla="*/ 1 h 39"/>
                <a:gd name="T16" fmla="*/ 20 w 39"/>
                <a:gd name="T17" fmla="*/ 0 h 39"/>
                <a:gd name="T18" fmla="*/ 20 w 39"/>
                <a:gd name="T19" fmla="*/ 0 h 39"/>
                <a:gd name="T20" fmla="*/ 23 w 39"/>
                <a:gd name="T21" fmla="*/ 1 h 39"/>
                <a:gd name="T22" fmla="*/ 27 w 39"/>
                <a:gd name="T23" fmla="*/ 3 h 39"/>
                <a:gd name="T24" fmla="*/ 30 w 39"/>
                <a:gd name="T25" fmla="*/ 8 h 39"/>
                <a:gd name="T26" fmla="*/ 33 w 39"/>
                <a:gd name="T27" fmla="*/ 12 h 39"/>
                <a:gd name="T28" fmla="*/ 38 w 39"/>
                <a:gd name="T29" fmla="*/ 22 h 39"/>
                <a:gd name="T30" fmla="*/ 39 w 39"/>
                <a:gd name="T31" fmla="*/ 27 h 39"/>
                <a:gd name="T32" fmla="*/ 39 w 39"/>
                <a:gd name="T33" fmla="*/ 31 h 39"/>
                <a:gd name="T34" fmla="*/ 39 w 39"/>
                <a:gd name="T35" fmla="*/ 31 h 39"/>
                <a:gd name="T36" fmla="*/ 39 w 39"/>
                <a:gd name="T37" fmla="*/ 35 h 39"/>
                <a:gd name="T38" fmla="*/ 38 w 39"/>
                <a:gd name="T39" fmla="*/ 38 h 39"/>
                <a:gd name="T40" fmla="*/ 35 w 39"/>
                <a:gd name="T41" fmla="*/ 39 h 39"/>
                <a:gd name="T42" fmla="*/ 33 w 39"/>
                <a:gd name="T43" fmla="*/ 39 h 39"/>
                <a:gd name="T44" fmla="*/ 27 w 39"/>
                <a:gd name="T45" fmla="*/ 39 h 39"/>
                <a:gd name="T46" fmla="*/ 20 w 39"/>
                <a:gd name="T47" fmla="*/ 39 h 39"/>
                <a:gd name="T48" fmla="*/ 20 w 39"/>
                <a:gd name="T49" fmla="*/ 39 h 39"/>
                <a:gd name="T50" fmla="*/ 11 w 39"/>
                <a:gd name="T51" fmla="*/ 39 h 39"/>
                <a:gd name="T52" fmla="*/ 5 w 39"/>
                <a:gd name="T53" fmla="*/ 39 h 39"/>
                <a:gd name="T54" fmla="*/ 3 w 39"/>
                <a:gd name="T55" fmla="*/ 39 h 39"/>
                <a:gd name="T56" fmla="*/ 1 w 39"/>
                <a:gd name="T57" fmla="*/ 38 h 39"/>
                <a:gd name="T58" fmla="*/ 0 w 39"/>
                <a:gd name="T59" fmla="*/ 35 h 39"/>
                <a:gd name="T60" fmla="*/ 0 w 39"/>
                <a:gd name="T61" fmla="*/ 31 h 39"/>
                <a:gd name="T62" fmla="*/ 0 w 39"/>
                <a:gd name="T63"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 h="39">
                  <a:moveTo>
                    <a:pt x="0" y="31"/>
                  </a:moveTo>
                  <a:lnTo>
                    <a:pt x="0" y="31"/>
                  </a:lnTo>
                  <a:lnTo>
                    <a:pt x="0" y="27"/>
                  </a:lnTo>
                  <a:lnTo>
                    <a:pt x="1" y="22"/>
                  </a:lnTo>
                  <a:lnTo>
                    <a:pt x="5" y="12"/>
                  </a:lnTo>
                  <a:lnTo>
                    <a:pt x="8" y="8"/>
                  </a:lnTo>
                  <a:lnTo>
                    <a:pt x="11" y="3"/>
                  </a:lnTo>
                  <a:lnTo>
                    <a:pt x="16" y="1"/>
                  </a:lnTo>
                  <a:lnTo>
                    <a:pt x="20" y="0"/>
                  </a:lnTo>
                  <a:lnTo>
                    <a:pt x="20" y="0"/>
                  </a:lnTo>
                  <a:lnTo>
                    <a:pt x="23" y="1"/>
                  </a:lnTo>
                  <a:lnTo>
                    <a:pt x="27" y="3"/>
                  </a:lnTo>
                  <a:lnTo>
                    <a:pt x="30" y="8"/>
                  </a:lnTo>
                  <a:lnTo>
                    <a:pt x="33" y="12"/>
                  </a:lnTo>
                  <a:lnTo>
                    <a:pt x="38" y="22"/>
                  </a:lnTo>
                  <a:lnTo>
                    <a:pt x="39" y="27"/>
                  </a:lnTo>
                  <a:lnTo>
                    <a:pt x="39" y="31"/>
                  </a:lnTo>
                  <a:lnTo>
                    <a:pt x="39" y="31"/>
                  </a:lnTo>
                  <a:lnTo>
                    <a:pt x="39" y="35"/>
                  </a:lnTo>
                  <a:lnTo>
                    <a:pt x="38" y="38"/>
                  </a:lnTo>
                  <a:lnTo>
                    <a:pt x="35" y="39"/>
                  </a:lnTo>
                  <a:lnTo>
                    <a:pt x="33" y="39"/>
                  </a:lnTo>
                  <a:lnTo>
                    <a:pt x="27" y="39"/>
                  </a:lnTo>
                  <a:lnTo>
                    <a:pt x="20" y="39"/>
                  </a:lnTo>
                  <a:lnTo>
                    <a:pt x="20" y="39"/>
                  </a:lnTo>
                  <a:lnTo>
                    <a:pt x="11" y="39"/>
                  </a:lnTo>
                  <a:lnTo>
                    <a:pt x="5" y="39"/>
                  </a:lnTo>
                  <a:lnTo>
                    <a:pt x="3" y="39"/>
                  </a:lnTo>
                  <a:lnTo>
                    <a:pt x="1" y="38"/>
                  </a:lnTo>
                  <a:lnTo>
                    <a:pt x="0" y="35"/>
                  </a:lnTo>
                  <a:lnTo>
                    <a:pt x="0" y="31"/>
                  </a:lnTo>
                  <a:lnTo>
                    <a:pt x="0" y="31"/>
                  </a:lnTo>
                  <a:close/>
                </a:path>
              </a:pathLst>
            </a:custGeom>
            <a:solidFill>
              <a:srgbClr val="56534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32" name="Freeform 359"/>
            <p:cNvSpPr>
              <a:spLocks/>
            </p:cNvSpPr>
            <p:nvPr/>
          </p:nvSpPr>
          <p:spPr bwMode="auto">
            <a:xfrm>
              <a:off x="2981652" y="5780546"/>
              <a:ext cx="95274" cy="95352"/>
            </a:xfrm>
            <a:custGeom>
              <a:avLst/>
              <a:gdLst>
                <a:gd name="T0" fmla="*/ 0 w 39"/>
                <a:gd name="T1" fmla="*/ 31 h 39"/>
                <a:gd name="T2" fmla="*/ 0 w 39"/>
                <a:gd name="T3" fmla="*/ 31 h 39"/>
                <a:gd name="T4" fmla="*/ 1 w 39"/>
                <a:gd name="T5" fmla="*/ 27 h 39"/>
                <a:gd name="T6" fmla="*/ 2 w 39"/>
                <a:gd name="T7" fmla="*/ 22 h 39"/>
                <a:gd name="T8" fmla="*/ 6 w 39"/>
                <a:gd name="T9" fmla="*/ 12 h 39"/>
                <a:gd name="T10" fmla="*/ 9 w 39"/>
                <a:gd name="T11" fmla="*/ 8 h 39"/>
                <a:gd name="T12" fmla="*/ 12 w 39"/>
                <a:gd name="T13" fmla="*/ 3 h 39"/>
                <a:gd name="T14" fmla="*/ 15 w 39"/>
                <a:gd name="T15" fmla="*/ 1 h 39"/>
                <a:gd name="T16" fmla="*/ 19 w 39"/>
                <a:gd name="T17" fmla="*/ 0 h 39"/>
                <a:gd name="T18" fmla="*/ 19 w 39"/>
                <a:gd name="T19" fmla="*/ 0 h 39"/>
                <a:gd name="T20" fmla="*/ 24 w 39"/>
                <a:gd name="T21" fmla="*/ 1 h 39"/>
                <a:gd name="T22" fmla="*/ 27 w 39"/>
                <a:gd name="T23" fmla="*/ 3 h 39"/>
                <a:gd name="T24" fmla="*/ 30 w 39"/>
                <a:gd name="T25" fmla="*/ 8 h 39"/>
                <a:gd name="T26" fmla="*/ 33 w 39"/>
                <a:gd name="T27" fmla="*/ 12 h 39"/>
                <a:gd name="T28" fmla="*/ 37 w 39"/>
                <a:gd name="T29" fmla="*/ 22 h 39"/>
                <a:gd name="T30" fmla="*/ 38 w 39"/>
                <a:gd name="T31" fmla="*/ 27 h 39"/>
                <a:gd name="T32" fmla="*/ 39 w 39"/>
                <a:gd name="T33" fmla="*/ 31 h 39"/>
                <a:gd name="T34" fmla="*/ 39 w 39"/>
                <a:gd name="T35" fmla="*/ 31 h 39"/>
                <a:gd name="T36" fmla="*/ 38 w 39"/>
                <a:gd name="T37" fmla="*/ 35 h 39"/>
                <a:gd name="T38" fmla="*/ 37 w 39"/>
                <a:gd name="T39" fmla="*/ 38 h 39"/>
                <a:gd name="T40" fmla="*/ 35 w 39"/>
                <a:gd name="T41" fmla="*/ 39 h 39"/>
                <a:gd name="T42" fmla="*/ 33 w 39"/>
                <a:gd name="T43" fmla="*/ 39 h 39"/>
                <a:gd name="T44" fmla="*/ 27 w 39"/>
                <a:gd name="T45" fmla="*/ 39 h 39"/>
                <a:gd name="T46" fmla="*/ 19 w 39"/>
                <a:gd name="T47" fmla="*/ 39 h 39"/>
                <a:gd name="T48" fmla="*/ 19 w 39"/>
                <a:gd name="T49" fmla="*/ 39 h 39"/>
                <a:gd name="T50" fmla="*/ 12 w 39"/>
                <a:gd name="T51" fmla="*/ 39 h 39"/>
                <a:gd name="T52" fmla="*/ 6 w 39"/>
                <a:gd name="T53" fmla="*/ 39 h 39"/>
                <a:gd name="T54" fmla="*/ 4 w 39"/>
                <a:gd name="T55" fmla="*/ 39 h 39"/>
                <a:gd name="T56" fmla="*/ 2 w 39"/>
                <a:gd name="T57" fmla="*/ 38 h 39"/>
                <a:gd name="T58" fmla="*/ 1 w 39"/>
                <a:gd name="T59" fmla="*/ 35 h 39"/>
                <a:gd name="T60" fmla="*/ 0 w 39"/>
                <a:gd name="T61" fmla="*/ 31 h 39"/>
                <a:gd name="T62" fmla="*/ 0 w 39"/>
                <a:gd name="T63"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 h="39">
                  <a:moveTo>
                    <a:pt x="0" y="31"/>
                  </a:moveTo>
                  <a:lnTo>
                    <a:pt x="0" y="31"/>
                  </a:lnTo>
                  <a:lnTo>
                    <a:pt x="1" y="27"/>
                  </a:lnTo>
                  <a:lnTo>
                    <a:pt x="2" y="22"/>
                  </a:lnTo>
                  <a:lnTo>
                    <a:pt x="6" y="12"/>
                  </a:lnTo>
                  <a:lnTo>
                    <a:pt x="9" y="8"/>
                  </a:lnTo>
                  <a:lnTo>
                    <a:pt x="12" y="3"/>
                  </a:lnTo>
                  <a:lnTo>
                    <a:pt x="15" y="1"/>
                  </a:lnTo>
                  <a:lnTo>
                    <a:pt x="19" y="0"/>
                  </a:lnTo>
                  <a:lnTo>
                    <a:pt x="19" y="0"/>
                  </a:lnTo>
                  <a:lnTo>
                    <a:pt x="24" y="1"/>
                  </a:lnTo>
                  <a:lnTo>
                    <a:pt x="27" y="3"/>
                  </a:lnTo>
                  <a:lnTo>
                    <a:pt x="30" y="8"/>
                  </a:lnTo>
                  <a:lnTo>
                    <a:pt x="33" y="12"/>
                  </a:lnTo>
                  <a:lnTo>
                    <a:pt x="37" y="22"/>
                  </a:lnTo>
                  <a:lnTo>
                    <a:pt x="38" y="27"/>
                  </a:lnTo>
                  <a:lnTo>
                    <a:pt x="39" y="31"/>
                  </a:lnTo>
                  <a:lnTo>
                    <a:pt x="39" y="31"/>
                  </a:lnTo>
                  <a:lnTo>
                    <a:pt x="38" y="35"/>
                  </a:lnTo>
                  <a:lnTo>
                    <a:pt x="37" y="38"/>
                  </a:lnTo>
                  <a:lnTo>
                    <a:pt x="35" y="39"/>
                  </a:lnTo>
                  <a:lnTo>
                    <a:pt x="33" y="39"/>
                  </a:lnTo>
                  <a:lnTo>
                    <a:pt x="27" y="39"/>
                  </a:lnTo>
                  <a:lnTo>
                    <a:pt x="19" y="39"/>
                  </a:lnTo>
                  <a:lnTo>
                    <a:pt x="19" y="39"/>
                  </a:lnTo>
                  <a:lnTo>
                    <a:pt x="12" y="39"/>
                  </a:lnTo>
                  <a:lnTo>
                    <a:pt x="6" y="39"/>
                  </a:lnTo>
                  <a:lnTo>
                    <a:pt x="4" y="39"/>
                  </a:lnTo>
                  <a:lnTo>
                    <a:pt x="2" y="38"/>
                  </a:lnTo>
                  <a:lnTo>
                    <a:pt x="1" y="35"/>
                  </a:lnTo>
                  <a:lnTo>
                    <a:pt x="0" y="31"/>
                  </a:lnTo>
                  <a:lnTo>
                    <a:pt x="0" y="31"/>
                  </a:lnTo>
                  <a:close/>
                </a:path>
              </a:pathLst>
            </a:custGeom>
            <a:solidFill>
              <a:srgbClr val="56534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33" name="Freeform 360"/>
            <p:cNvSpPr>
              <a:spLocks/>
            </p:cNvSpPr>
            <p:nvPr/>
          </p:nvSpPr>
          <p:spPr bwMode="auto">
            <a:xfrm>
              <a:off x="2841917" y="5780546"/>
              <a:ext cx="96863" cy="95352"/>
            </a:xfrm>
            <a:custGeom>
              <a:avLst/>
              <a:gdLst>
                <a:gd name="T0" fmla="*/ 0 w 39"/>
                <a:gd name="T1" fmla="*/ 31 h 39"/>
                <a:gd name="T2" fmla="*/ 0 w 39"/>
                <a:gd name="T3" fmla="*/ 31 h 39"/>
                <a:gd name="T4" fmla="*/ 0 w 39"/>
                <a:gd name="T5" fmla="*/ 27 h 39"/>
                <a:gd name="T6" fmla="*/ 1 w 39"/>
                <a:gd name="T7" fmla="*/ 22 h 39"/>
                <a:gd name="T8" fmla="*/ 6 w 39"/>
                <a:gd name="T9" fmla="*/ 12 h 39"/>
                <a:gd name="T10" fmla="*/ 9 w 39"/>
                <a:gd name="T11" fmla="*/ 8 h 39"/>
                <a:gd name="T12" fmla="*/ 12 w 39"/>
                <a:gd name="T13" fmla="*/ 3 h 39"/>
                <a:gd name="T14" fmla="*/ 16 w 39"/>
                <a:gd name="T15" fmla="*/ 1 h 39"/>
                <a:gd name="T16" fmla="*/ 19 w 39"/>
                <a:gd name="T17" fmla="*/ 0 h 39"/>
                <a:gd name="T18" fmla="*/ 19 w 39"/>
                <a:gd name="T19" fmla="*/ 0 h 39"/>
                <a:gd name="T20" fmla="*/ 23 w 39"/>
                <a:gd name="T21" fmla="*/ 1 h 39"/>
                <a:gd name="T22" fmla="*/ 27 w 39"/>
                <a:gd name="T23" fmla="*/ 3 h 39"/>
                <a:gd name="T24" fmla="*/ 31 w 39"/>
                <a:gd name="T25" fmla="*/ 8 h 39"/>
                <a:gd name="T26" fmla="*/ 34 w 39"/>
                <a:gd name="T27" fmla="*/ 12 h 39"/>
                <a:gd name="T28" fmla="*/ 38 w 39"/>
                <a:gd name="T29" fmla="*/ 22 h 39"/>
                <a:gd name="T30" fmla="*/ 39 w 39"/>
                <a:gd name="T31" fmla="*/ 27 h 39"/>
                <a:gd name="T32" fmla="*/ 39 w 39"/>
                <a:gd name="T33" fmla="*/ 31 h 39"/>
                <a:gd name="T34" fmla="*/ 39 w 39"/>
                <a:gd name="T35" fmla="*/ 31 h 39"/>
                <a:gd name="T36" fmla="*/ 39 w 39"/>
                <a:gd name="T37" fmla="*/ 35 h 39"/>
                <a:gd name="T38" fmla="*/ 38 w 39"/>
                <a:gd name="T39" fmla="*/ 38 h 39"/>
                <a:gd name="T40" fmla="*/ 36 w 39"/>
                <a:gd name="T41" fmla="*/ 39 h 39"/>
                <a:gd name="T42" fmla="*/ 34 w 39"/>
                <a:gd name="T43" fmla="*/ 39 h 39"/>
                <a:gd name="T44" fmla="*/ 27 w 39"/>
                <a:gd name="T45" fmla="*/ 39 h 39"/>
                <a:gd name="T46" fmla="*/ 19 w 39"/>
                <a:gd name="T47" fmla="*/ 39 h 39"/>
                <a:gd name="T48" fmla="*/ 19 w 39"/>
                <a:gd name="T49" fmla="*/ 39 h 39"/>
                <a:gd name="T50" fmla="*/ 12 w 39"/>
                <a:gd name="T51" fmla="*/ 39 h 39"/>
                <a:gd name="T52" fmla="*/ 6 w 39"/>
                <a:gd name="T53" fmla="*/ 39 h 39"/>
                <a:gd name="T54" fmla="*/ 4 w 39"/>
                <a:gd name="T55" fmla="*/ 39 h 39"/>
                <a:gd name="T56" fmla="*/ 1 w 39"/>
                <a:gd name="T57" fmla="*/ 38 h 39"/>
                <a:gd name="T58" fmla="*/ 0 w 39"/>
                <a:gd name="T59" fmla="*/ 35 h 39"/>
                <a:gd name="T60" fmla="*/ 0 w 39"/>
                <a:gd name="T61" fmla="*/ 31 h 39"/>
                <a:gd name="T62" fmla="*/ 0 w 39"/>
                <a:gd name="T63"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 h="39">
                  <a:moveTo>
                    <a:pt x="0" y="31"/>
                  </a:moveTo>
                  <a:lnTo>
                    <a:pt x="0" y="31"/>
                  </a:lnTo>
                  <a:lnTo>
                    <a:pt x="0" y="27"/>
                  </a:lnTo>
                  <a:lnTo>
                    <a:pt x="1" y="22"/>
                  </a:lnTo>
                  <a:lnTo>
                    <a:pt x="6" y="12"/>
                  </a:lnTo>
                  <a:lnTo>
                    <a:pt x="9" y="8"/>
                  </a:lnTo>
                  <a:lnTo>
                    <a:pt x="12" y="3"/>
                  </a:lnTo>
                  <a:lnTo>
                    <a:pt x="16" y="1"/>
                  </a:lnTo>
                  <a:lnTo>
                    <a:pt x="19" y="0"/>
                  </a:lnTo>
                  <a:lnTo>
                    <a:pt x="19" y="0"/>
                  </a:lnTo>
                  <a:lnTo>
                    <a:pt x="23" y="1"/>
                  </a:lnTo>
                  <a:lnTo>
                    <a:pt x="27" y="3"/>
                  </a:lnTo>
                  <a:lnTo>
                    <a:pt x="31" y="8"/>
                  </a:lnTo>
                  <a:lnTo>
                    <a:pt x="34" y="12"/>
                  </a:lnTo>
                  <a:lnTo>
                    <a:pt x="38" y="22"/>
                  </a:lnTo>
                  <a:lnTo>
                    <a:pt x="39" y="27"/>
                  </a:lnTo>
                  <a:lnTo>
                    <a:pt x="39" y="31"/>
                  </a:lnTo>
                  <a:lnTo>
                    <a:pt x="39" y="31"/>
                  </a:lnTo>
                  <a:lnTo>
                    <a:pt x="39" y="35"/>
                  </a:lnTo>
                  <a:lnTo>
                    <a:pt x="38" y="38"/>
                  </a:lnTo>
                  <a:lnTo>
                    <a:pt x="36" y="39"/>
                  </a:lnTo>
                  <a:lnTo>
                    <a:pt x="34" y="39"/>
                  </a:lnTo>
                  <a:lnTo>
                    <a:pt x="27" y="39"/>
                  </a:lnTo>
                  <a:lnTo>
                    <a:pt x="19" y="39"/>
                  </a:lnTo>
                  <a:lnTo>
                    <a:pt x="19" y="39"/>
                  </a:lnTo>
                  <a:lnTo>
                    <a:pt x="12" y="39"/>
                  </a:lnTo>
                  <a:lnTo>
                    <a:pt x="6" y="39"/>
                  </a:lnTo>
                  <a:lnTo>
                    <a:pt x="4" y="39"/>
                  </a:lnTo>
                  <a:lnTo>
                    <a:pt x="1" y="38"/>
                  </a:lnTo>
                  <a:lnTo>
                    <a:pt x="0" y="35"/>
                  </a:lnTo>
                  <a:lnTo>
                    <a:pt x="0" y="31"/>
                  </a:lnTo>
                  <a:lnTo>
                    <a:pt x="0" y="31"/>
                  </a:lnTo>
                  <a:close/>
                </a:path>
              </a:pathLst>
            </a:custGeom>
            <a:solidFill>
              <a:srgbClr val="56534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34" name="Freeform 361"/>
            <p:cNvSpPr>
              <a:spLocks/>
            </p:cNvSpPr>
            <p:nvPr/>
          </p:nvSpPr>
          <p:spPr bwMode="auto">
            <a:xfrm>
              <a:off x="2702181" y="5780546"/>
              <a:ext cx="96863" cy="95352"/>
            </a:xfrm>
            <a:custGeom>
              <a:avLst/>
              <a:gdLst>
                <a:gd name="T0" fmla="*/ 0 w 39"/>
                <a:gd name="T1" fmla="*/ 31 h 39"/>
                <a:gd name="T2" fmla="*/ 0 w 39"/>
                <a:gd name="T3" fmla="*/ 31 h 39"/>
                <a:gd name="T4" fmla="*/ 1 w 39"/>
                <a:gd name="T5" fmla="*/ 27 h 39"/>
                <a:gd name="T6" fmla="*/ 2 w 39"/>
                <a:gd name="T7" fmla="*/ 22 h 39"/>
                <a:gd name="T8" fmla="*/ 6 w 39"/>
                <a:gd name="T9" fmla="*/ 12 h 39"/>
                <a:gd name="T10" fmla="*/ 8 w 39"/>
                <a:gd name="T11" fmla="*/ 8 h 39"/>
                <a:gd name="T12" fmla="*/ 13 w 39"/>
                <a:gd name="T13" fmla="*/ 3 h 39"/>
                <a:gd name="T14" fmla="*/ 16 w 39"/>
                <a:gd name="T15" fmla="*/ 1 h 39"/>
                <a:gd name="T16" fmla="*/ 20 w 39"/>
                <a:gd name="T17" fmla="*/ 0 h 39"/>
                <a:gd name="T18" fmla="*/ 20 w 39"/>
                <a:gd name="T19" fmla="*/ 0 h 39"/>
                <a:gd name="T20" fmla="*/ 24 w 39"/>
                <a:gd name="T21" fmla="*/ 1 h 39"/>
                <a:gd name="T22" fmla="*/ 27 w 39"/>
                <a:gd name="T23" fmla="*/ 3 h 39"/>
                <a:gd name="T24" fmla="*/ 30 w 39"/>
                <a:gd name="T25" fmla="*/ 8 h 39"/>
                <a:gd name="T26" fmla="*/ 33 w 39"/>
                <a:gd name="T27" fmla="*/ 12 h 39"/>
                <a:gd name="T28" fmla="*/ 38 w 39"/>
                <a:gd name="T29" fmla="*/ 22 h 39"/>
                <a:gd name="T30" fmla="*/ 39 w 39"/>
                <a:gd name="T31" fmla="*/ 27 h 39"/>
                <a:gd name="T32" fmla="*/ 39 w 39"/>
                <a:gd name="T33" fmla="*/ 31 h 39"/>
                <a:gd name="T34" fmla="*/ 39 w 39"/>
                <a:gd name="T35" fmla="*/ 31 h 39"/>
                <a:gd name="T36" fmla="*/ 39 w 39"/>
                <a:gd name="T37" fmla="*/ 35 h 39"/>
                <a:gd name="T38" fmla="*/ 38 w 39"/>
                <a:gd name="T39" fmla="*/ 38 h 39"/>
                <a:gd name="T40" fmla="*/ 35 w 39"/>
                <a:gd name="T41" fmla="*/ 39 h 39"/>
                <a:gd name="T42" fmla="*/ 33 w 39"/>
                <a:gd name="T43" fmla="*/ 39 h 39"/>
                <a:gd name="T44" fmla="*/ 27 w 39"/>
                <a:gd name="T45" fmla="*/ 39 h 39"/>
                <a:gd name="T46" fmla="*/ 20 w 39"/>
                <a:gd name="T47" fmla="*/ 39 h 39"/>
                <a:gd name="T48" fmla="*/ 20 w 39"/>
                <a:gd name="T49" fmla="*/ 39 h 39"/>
                <a:gd name="T50" fmla="*/ 13 w 39"/>
                <a:gd name="T51" fmla="*/ 39 h 39"/>
                <a:gd name="T52" fmla="*/ 6 w 39"/>
                <a:gd name="T53" fmla="*/ 39 h 39"/>
                <a:gd name="T54" fmla="*/ 3 w 39"/>
                <a:gd name="T55" fmla="*/ 39 h 39"/>
                <a:gd name="T56" fmla="*/ 2 w 39"/>
                <a:gd name="T57" fmla="*/ 38 h 39"/>
                <a:gd name="T58" fmla="*/ 1 w 39"/>
                <a:gd name="T59" fmla="*/ 35 h 39"/>
                <a:gd name="T60" fmla="*/ 0 w 39"/>
                <a:gd name="T61" fmla="*/ 31 h 39"/>
                <a:gd name="T62" fmla="*/ 0 w 39"/>
                <a:gd name="T63"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 h="39">
                  <a:moveTo>
                    <a:pt x="0" y="31"/>
                  </a:moveTo>
                  <a:lnTo>
                    <a:pt x="0" y="31"/>
                  </a:lnTo>
                  <a:lnTo>
                    <a:pt x="1" y="27"/>
                  </a:lnTo>
                  <a:lnTo>
                    <a:pt x="2" y="22"/>
                  </a:lnTo>
                  <a:lnTo>
                    <a:pt x="6" y="12"/>
                  </a:lnTo>
                  <a:lnTo>
                    <a:pt x="8" y="8"/>
                  </a:lnTo>
                  <a:lnTo>
                    <a:pt x="13" y="3"/>
                  </a:lnTo>
                  <a:lnTo>
                    <a:pt x="16" y="1"/>
                  </a:lnTo>
                  <a:lnTo>
                    <a:pt x="20" y="0"/>
                  </a:lnTo>
                  <a:lnTo>
                    <a:pt x="20" y="0"/>
                  </a:lnTo>
                  <a:lnTo>
                    <a:pt x="24" y="1"/>
                  </a:lnTo>
                  <a:lnTo>
                    <a:pt x="27" y="3"/>
                  </a:lnTo>
                  <a:lnTo>
                    <a:pt x="30" y="8"/>
                  </a:lnTo>
                  <a:lnTo>
                    <a:pt x="33" y="12"/>
                  </a:lnTo>
                  <a:lnTo>
                    <a:pt x="38" y="22"/>
                  </a:lnTo>
                  <a:lnTo>
                    <a:pt x="39" y="27"/>
                  </a:lnTo>
                  <a:lnTo>
                    <a:pt x="39" y="31"/>
                  </a:lnTo>
                  <a:lnTo>
                    <a:pt x="39" y="31"/>
                  </a:lnTo>
                  <a:lnTo>
                    <a:pt x="39" y="35"/>
                  </a:lnTo>
                  <a:lnTo>
                    <a:pt x="38" y="38"/>
                  </a:lnTo>
                  <a:lnTo>
                    <a:pt x="35" y="39"/>
                  </a:lnTo>
                  <a:lnTo>
                    <a:pt x="33" y="39"/>
                  </a:lnTo>
                  <a:lnTo>
                    <a:pt x="27" y="39"/>
                  </a:lnTo>
                  <a:lnTo>
                    <a:pt x="20" y="39"/>
                  </a:lnTo>
                  <a:lnTo>
                    <a:pt x="20" y="39"/>
                  </a:lnTo>
                  <a:lnTo>
                    <a:pt x="13" y="39"/>
                  </a:lnTo>
                  <a:lnTo>
                    <a:pt x="6" y="39"/>
                  </a:lnTo>
                  <a:lnTo>
                    <a:pt x="3" y="39"/>
                  </a:lnTo>
                  <a:lnTo>
                    <a:pt x="2" y="38"/>
                  </a:lnTo>
                  <a:lnTo>
                    <a:pt x="1" y="35"/>
                  </a:lnTo>
                  <a:lnTo>
                    <a:pt x="0" y="31"/>
                  </a:lnTo>
                  <a:lnTo>
                    <a:pt x="0" y="31"/>
                  </a:lnTo>
                  <a:close/>
                </a:path>
              </a:pathLst>
            </a:custGeom>
            <a:solidFill>
              <a:srgbClr val="56534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35" name="Freeform 362"/>
            <p:cNvSpPr>
              <a:spLocks/>
            </p:cNvSpPr>
            <p:nvPr/>
          </p:nvSpPr>
          <p:spPr bwMode="auto">
            <a:xfrm>
              <a:off x="2702181" y="5537398"/>
              <a:ext cx="96863" cy="95352"/>
            </a:xfrm>
            <a:custGeom>
              <a:avLst/>
              <a:gdLst>
                <a:gd name="T0" fmla="*/ 39 w 39"/>
                <a:gd name="T1" fmla="*/ 7 h 39"/>
                <a:gd name="T2" fmla="*/ 39 w 39"/>
                <a:gd name="T3" fmla="*/ 7 h 39"/>
                <a:gd name="T4" fmla="*/ 39 w 39"/>
                <a:gd name="T5" fmla="*/ 12 h 39"/>
                <a:gd name="T6" fmla="*/ 38 w 39"/>
                <a:gd name="T7" fmla="*/ 17 h 39"/>
                <a:gd name="T8" fmla="*/ 33 w 39"/>
                <a:gd name="T9" fmla="*/ 27 h 39"/>
                <a:gd name="T10" fmla="*/ 30 w 39"/>
                <a:gd name="T11" fmla="*/ 31 h 39"/>
                <a:gd name="T12" fmla="*/ 27 w 39"/>
                <a:gd name="T13" fmla="*/ 36 h 39"/>
                <a:gd name="T14" fmla="*/ 24 w 39"/>
                <a:gd name="T15" fmla="*/ 38 h 39"/>
                <a:gd name="T16" fmla="*/ 20 w 39"/>
                <a:gd name="T17" fmla="*/ 39 h 39"/>
                <a:gd name="T18" fmla="*/ 20 w 39"/>
                <a:gd name="T19" fmla="*/ 39 h 39"/>
                <a:gd name="T20" fmla="*/ 16 w 39"/>
                <a:gd name="T21" fmla="*/ 38 h 39"/>
                <a:gd name="T22" fmla="*/ 13 w 39"/>
                <a:gd name="T23" fmla="*/ 36 h 39"/>
                <a:gd name="T24" fmla="*/ 8 w 39"/>
                <a:gd name="T25" fmla="*/ 31 h 39"/>
                <a:gd name="T26" fmla="*/ 6 w 39"/>
                <a:gd name="T27" fmla="*/ 27 h 39"/>
                <a:gd name="T28" fmla="*/ 2 w 39"/>
                <a:gd name="T29" fmla="*/ 17 h 39"/>
                <a:gd name="T30" fmla="*/ 1 w 39"/>
                <a:gd name="T31" fmla="*/ 12 h 39"/>
                <a:gd name="T32" fmla="*/ 0 w 39"/>
                <a:gd name="T33" fmla="*/ 7 h 39"/>
                <a:gd name="T34" fmla="*/ 0 w 39"/>
                <a:gd name="T35" fmla="*/ 7 h 39"/>
                <a:gd name="T36" fmla="*/ 1 w 39"/>
                <a:gd name="T37" fmla="*/ 4 h 39"/>
                <a:gd name="T38" fmla="*/ 2 w 39"/>
                <a:gd name="T39" fmla="*/ 1 h 39"/>
                <a:gd name="T40" fmla="*/ 3 w 39"/>
                <a:gd name="T41" fmla="*/ 0 h 39"/>
                <a:gd name="T42" fmla="*/ 6 w 39"/>
                <a:gd name="T43" fmla="*/ 0 h 39"/>
                <a:gd name="T44" fmla="*/ 13 w 39"/>
                <a:gd name="T45" fmla="*/ 0 h 39"/>
                <a:gd name="T46" fmla="*/ 20 w 39"/>
                <a:gd name="T47" fmla="*/ 0 h 39"/>
                <a:gd name="T48" fmla="*/ 20 w 39"/>
                <a:gd name="T49" fmla="*/ 0 h 39"/>
                <a:gd name="T50" fmla="*/ 27 w 39"/>
                <a:gd name="T51" fmla="*/ 0 h 39"/>
                <a:gd name="T52" fmla="*/ 33 w 39"/>
                <a:gd name="T53" fmla="*/ 0 h 39"/>
                <a:gd name="T54" fmla="*/ 35 w 39"/>
                <a:gd name="T55" fmla="*/ 0 h 39"/>
                <a:gd name="T56" fmla="*/ 38 w 39"/>
                <a:gd name="T57" fmla="*/ 1 h 39"/>
                <a:gd name="T58" fmla="*/ 39 w 39"/>
                <a:gd name="T59" fmla="*/ 4 h 39"/>
                <a:gd name="T60" fmla="*/ 39 w 39"/>
                <a:gd name="T61" fmla="*/ 7 h 39"/>
                <a:gd name="T62" fmla="*/ 39 w 39"/>
                <a:gd name="T63" fmla="*/ 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 h="39">
                  <a:moveTo>
                    <a:pt x="39" y="7"/>
                  </a:moveTo>
                  <a:lnTo>
                    <a:pt x="39" y="7"/>
                  </a:lnTo>
                  <a:lnTo>
                    <a:pt x="39" y="12"/>
                  </a:lnTo>
                  <a:lnTo>
                    <a:pt x="38" y="17"/>
                  </a:lnTo>
                  <a:lnTo>
                    <a:pt x="33" y="27"/>
                  </a:lnTo>
                  <a:lnTo>
                    <a:pt x="30" y="31"/>
                  </a:lnTo>
                  <a:lnTo>
                    <a:pt x="27" y="36"/>
                  </a:lnTo>
                  <a:lnTo>
                    <a:pt x="24" y="38"/>
                  </a:lnTo>
                  <a:lnTo>
                    <a:pt x="20" y="39"/>
                  </a:lnTo>
                  <a:lnTo>
                    <a:pt x="20" y="39"/>
                  </a:lnTo>
                  <a:lnTo>
                    <a:pt x="16" y="38"/>
                  </a:lnTo>
                  <a:lnTo>
                    <a:pt x="13" y="36"/>
                  </a:lnTo>
                  <a:lnTo>
                    <a:pt x="8" y="31"/>
                  </a:lnTo>
                  <a:lnTo>
                    <a:pt x="6" y="27"/>
                  </a:lnTo>
                  <a:lnTo>
                    <a:pt x="2" y="17"/>
                  </a:lnTo>
                  <a:lnTo>
                    <a:pt x="1" y="12"/>
                  </a:lnTo>
                  <a:lnTo>
                    <a:pt x="0" y="7"/>
                  </a:lnTo>
                  <a:lnTo>
                    <a:pt x="0" y="7"/>
                  </a:lnTo>
                  <a:lnTo>
                    <a:pt x="1" y="4"/>
                  </a:lnTo>
                  <a:lnTo>
                    <a:pt x="2" y="1"/>
                  </a:lnTo>
                  <a:lnTo>
                    <a:pt x="3" y="0"/>
                  </a:lnTo>
                  <a:lnTo>
                    <a:pt x="6" y="0"/>
                  </a:lnTo>
                  <a:lnTo>
                    <a:pt x="13" y="0"/>
                  </a:lnTo>
                  <a:lnTo>
                    <a:pt x="20" y="0"/>
                  </a:lnTo>
                  <a:lnTo>
                    <a:pt x="20" y="0"/>
                  </a:lnTo>
                  <a:lnTo>
                    <a:pt x="27" y="0"/>
                  </a:lnTo>
                  <a:lnTo>
                    <a:pt x="33" y="0"/>
                  </a:lnTo>
                  <a:lnTo>
                    <a:pt x="35" y="0"/>
                  </a:lnTo>
                  <a:lnTo>
                    <a:pt x="38" y="1"/>
                  </a:lnTo>
                  <a:lnTo>
                    <a:pt x="39" y="4"/>
                  </a:lnTo>
                  <a:lnTo>
                    <a:pt x="39" y="7"/>
                  </a:lnTo>
                  <a:lnTo>
                    <a:pt x="39" y="7"/>
                  </a:lnTo>
                  <a:close/>
                </a:path>
              </a:pathLst>
            </a:custGeom>
            <a:solidFill>
              <a:srgbClr val="56534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36" name="Freeform 363"/>
            <p:cNvSpPr>
              <a:spLocks/>
            </p:cNvSpPr>
            <p:nvPr/>
          </p:nvSpPr>
          <p:spPr bwMode="auto">
            <a:xfrm>
              <a:off x="2841917" y="5537398"/>
              <a:ext cx="96863" cy="95352"/>
            </a:xfrm>
            <a:custGeom>
              <a:avLst/>
              <a:gdLst>
                <a:gd name="T0" fmla="*/ 39 w 39"/>
                <a:gd name="T1" fmla="*/ 7 h 39"/>
                <a:gd name="T2" fmla="*/ 39 w 39"/>
                <a:gd name="T3" fmla="*/ 7 h 39"/>
                <a:gd name="T4" fmla="*/ 39 w 39"/>
                <a:gd name="T5" fmla="*/ 12 h 39"/>
                <a:gd name="T6" fmla="*/ 38 w 39"/>
                <a:gd name="T7" fmla="*/ 17 h 39"/>
                <a:gd name="T8" fmla="*/ 34 w 39"/>
                <a:gd name="T9" fmla="*/ 27 h 39"/>
                <a:gd name="T10" fmla="*/ 31 w 39"/>
                <a:gd name="T11" fmla="*/ 31 h 39"/>
                <a:gd name="T12" fmla="*/ 27 w 39"/>
                <a:gd name="T13" fmla="*/ 36 h 39"/>
                <a:gd name="T14" fmla="*/ 23 w 39"/>
                <a:gd name="T15" fmla="*/ 38 h 39"/>
                <a:gd name="T16" fmla="*/ 19 w 39"/>
                <a:gd name="T17" fmla="*/ 39 h 39"/>
                <a:gd name="T18" fmla="*/ 19 w 39"/>
                <a:gd name="T19" fmla="*/ 39 h 39"/>
                <a:gd name="T20" fmla="*/ 16 w 39"/>
                <a:gd name="T21" fmla="*/ 38 h 39"/>
                <a:gd name="T22" fmla="*/ 12 w 39"/>
                <a:gd name="T23" fmla="*/ 36 h 39"/>
                <a:gd name="T24" fmla="*/ 9 w 39"/>
                <a:gd name="T25" fmla="*/ 31 h 39"/>
                <a:gd name="T26" fmla="*/ 6 w 39"/>
                <a:gd name="T27" fmla="*/ 27 h 39"/>
                <a:gd name="T28" fmla="*/ 1 w 39"/>
                <a:gd name="T29" fmla="*/ 17 h 39"/>
                <a:gd name="T30" fmla="*/ 0 w 39"/>
                <a:gd name="T31" fmla="*/ 12 h 39"/>
                <a:gd name="T32" fmla="*/ 0 w 39"/>
                <a:gd name="T33" fmla="*/ 7 h 39"/>
                <a:gd name="T34" fmla="*/ 0 w 39"/>
                <a:gd name="T35" fmla="*/ 7 h 39"/>
                <a:gd name="T36" fmla="*/ 0 w 39"/>
                <a:gd name="T37" fmla="*/ 4 h 39"/>
                <a:gd name="T38" fmla="*/ 1 w 39"/>
                <a:gd name="T39" fmla="*/ 1 h 39"/>
                <a:gd name="T40" fmla="*/ 4 w 39"/>
                <a:gd name="T41" fmla="*/ 0 h 39"/>
                <a:gd name="T42" fmla="*/ 6 w 39"/>
                <a:gd name="T43" fmla="*/ 0 h 39"/>
                <a:gd name="T44" fmla="*/ 12 w 39"/>
                <a:gd name="T45" fmla="*/ 0 h 39"/>
                <a:gd name="T46" fmla="*/ 19 w 39"/>
                <a:gd name="T47" fmla="*/ 0 h 39"/>
                <a:gd name="T48" fmla="*/ 19 w 39"/>
                <a:gd name="T49" fmla="*/ 0 h 39"/>
                <a:gd name="T50" fmla="*/ 27 w 39"/>
                <a:gd name="T51" fmla="*/ 0 h 39"/>
                <a:gd name="T52" fmla="*/ 34 w 39"/>
                <a:gd name="T53" fmla="*/ 0 h 39"/>
                <a:gd name="T54" fmla="*/ 36 w 39"/>
                <a:gd name="T55" fmla="*/ 0 h 39"/>
                <a:gd name="T56" fmla="*/ 38 w 39"/>
                <a:gd name="T57" fmla="*/ 1 h 39"/>
                <a:gd name="T58" fmla="*/ 39 w 39"/>
                <a:gd name="T59" fmla="*/ 4 h 39"/>
                <a:gd name="T60" fmla="*/ 39 w 39"/>
                <a:gd name="T61" fmla="*/ 7 h 39"/>
                <a:gd name="T62" fmla="*/ 39 w 39"/>
                <a:gd name="T63" fmla="*/ 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 h="39">
                  <a:moveTo>
                    <a:pt x="39" y="7"/>
                  </a:moveTo>
                  <a:lnTo>
                    <a:pt x="39" y="7"/>
                  </a:lnTo>
                  <a:lnTo>
                    <a:pt x="39" y="12"/>
                  </a:lnTo>
                  <a:lnTo>
                    <a:pt x="38" y="17"/>
                  </a:lnTo>
                  <a:lnTo>
                    <a:pt x="34" y="27"/>
                  </a:lnTo>
                  <a:lnTo>
                    <a:pt x="31" y="31"/>
                  </a:lnTo>
                  <a:lnTo>
                    <a:pt x="27" y="36"/>
                  </a:lnTo>
                  <a:lnTo>
                    <a:pt x="23" y="38"/>
                  </a:lnTo>
                  <a:lnTo>
                    <a:pt x="19" y="39"/>
                  </a:lnTo>
                  <a:lnTo>
                    <a:pt x="19" y="39"/>
                  </a:lnTo>
                  <a:lnTo>
                    <a:pt x="16" y="38"/>
                  </a:lnTo>
                  <a:lnTo>
                    <a:pt x="12" y="36"/>
                  </a:lnTo>
                  <a:lnTo>
                    <a:pt x="9" y="31"/>
                  </a:lnTo>
                  <a:lnTo>
                    <a:pt x="6" y="27"/>
                  </a:lnTo>
                  <a:lnTo>
                    <a:pt x="1" y="17"/>
                  </a:lnTo>
                  <a:lnTo>
                    <a:pt x="0" y="12"/>
                  </a:lnTo>
                  <a:lnTo>
                    <a:pt x="0" y="7"/>
                  </a:lnTo>
                  <a:lnTo>
                    <a:pt x="0" y="7"/>
                  </a:lnTo>
                  <a:lnTo>
                    <a:pt x="0" y="4"/>
                  </a:lnTo>
                  <a:lnTo>
                    <a:pt x="1" y="1"/>
                  </a:lnTo>
                  <a:lnTo>
                    <a:pt x="4" y="0"/>
                  </a:lnTo>
                  <a:lnTo>
                    <a:pt x="6" y="0"/>
                  </a:lnTo>
                  <a:lnTo>
                    <a:pt x="12" y="0"/>
                  </a:lnTo>
                  <a:lnTo>
                    <a:pt x="19" y="0"/>
                  </a:lnTo>
                  <a:lnTo>
                    <a:pt x="19" y="0"/>
                  </a:lnTo>
                  <a:lnTo>
                    <a:pt x="27" y="0"/>
                  </a:lnTo>
                  <a:lnTo>
                    <a:pt x="34" y="0"/>
                  </a:lnTo>
                  <a:lnTo>
                    <a:pt x="36" y="0"/>
                  </a:lnTo>
                  <a:lnTo>
                    <a:pt x="38" y="1"/>
                  </a:lnTo>
                  <a:lnTo>
                    <a:pt x="39" y="4"/>
                  </a:lnTo>
                  <a:lnTo>
                    <a:pt x="39" y="7"/>
                  </a:lnTo>
                  <a:lnTo>
                    <a:pt x="39" y="7"/>
                  </a:lnTo>
                  <a:close/>
                </a:path>
              </a:pathLst>
            </a:custGeom>
            <a:solidFill>
              <a:srgbClr val="56534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37" name="Freeform 364"/>
            <p:cNvSpPr>
              <a:spLocks/>
            </p:cNvSpPr>
            <p:nvPr/>
          </p:nvSpPr>
          <p:spPr bwMode="auto">
            <a:xfrm>
              <a:off x="2981652" y="5537398"/>
              <a:ext cx="95274" cy="95352"/>
            </a:xfrm>
            <a:custGeom>
              <a:avLst/>
              <a:gdLst>
                <a:gd name="T0" fmla="*/ 39 w 39"/>
                <a:gd name="T1" fmla="*/ 7 h 39"/>
                <a:gd name="T2" fmla="*/ 39 w 39"/>
                <a:gd name="T3" fmla="*/ 7 h 39"/>
                <a:gd name="T4" fmla="*/ 38 w 39"/>
                <a:gd name="T5" fmla="*/ 12 h 39"/>
                <a:gd name="T6" fmla="*/ 37 w 39"/>
                <a:gd name="T7" fmla="*/ 17 h 39"/>
                <a:gd name="T8" fmla="*/ 33 w 39"/>
                <a:gd name="T9" fmla="*/ 27 h 39"/>
                <a:gd name="T10" fmla="*/ 30 w 39"/>
                <a:gd name="T11" fmla="*/ 31 h 39"/>
                <a:gd name="T12" fmla="*/ 27 w 39"/>
                <a:gd name="T13" fmla="*/ 36 h 39"/>
                <a:gd name="T14" fmla="*/ 24 w 39"/>
                <a:gd name="T15" fmla="*/ 38 h 39"/>
                <a:gd name="T16" fmla="*/ 19 w 39"/>
                <a:gd name="T17" fmla="*/ 39 h 39"/>
                <a:gd name="T18" fmla="*/ 19 w 39"/>
                <a:gd name="T19" fmla="*/ 39 h 39"/>
                <a:gd name="T20" fmla="*/ 15 w 39"/>
                <a:gd name="T21" fmla="*/ 38 h 39"/>
                <a:gd name="T22" fmla="*/ 12 w 39"/>
                <a:gd name="T23" fmla="*/ 36 h 39"/>
                <a:gd name="T24" fmla="*/ 9 w 39"/>
                <a:gd name="T25" fmla="*/ 31 h 39"/>
                <a:gd name="T26" fmla="*/ 6 w 39"/>
                <a:gd name="T27" fmla="*/ 27 h 39"/>
                <a:gd name="T28" fmla="*/ 2 w 39"/>
                <a:gd name="T29" fmla="*/ 17 h 39"/>
                <a:gd name="T30" fmla="*/ 1 w 39"/>
                <a:gd name="T31" fmla="*/ 12 h 39"/>
                <a:gd name="T32" fmla="*/ 0 w 39"/>
                <a:gd name="T33" fmla="*/ 7 h 39"/>
                <a:gd name="T34" fmla="*/ 0 w 39"/>
                <a:gd name="T35" fmla="*/ 7 h 39"/>
                <a:gd name="T36" fmla="*/ 1 w 39"/>
                <a:gd name="T37" fmla="*/ 4 h 39"/>
                <a:gd name="T38" fmla="*/ 2 w 39"/>
                <a:gd name="T39" fmla="*/ 1 h 39"/>
                <a:gd name="T40" fmla="*/ 4 w 39"/>
                <a:gd name="T41" fmla="*/ 0 h 39"/>
                <a:gd name="T42" fmla="*/ 6 w 39"/>
                <a:gd name="T43" fmla="*/ 0 h 39"/>
                <a:gd name="T44" fmla="*/ 12 w 39"/>
                <a:gd name="T45" fmla="*/ 0 h 39"/>
                <a:gd name="T46" fmla="*/ 19 w 39"/>
                <a:gd name="T47" fmla="*/ 0 h 39"/>
                <a:gd name="T48" fmla="*/ 19 w 39"/>
                <a:gd name="T49" fmla="*/ 0 h 39"/>
                <a:gd name="T50" fmla="*/ 27 w 39"/>
                <a:gd name="T51" fmla="*/ 0 h 39"/>
                <a:gd name="T52" fmla="*/ 33 w 39"/>
                <a:gd name="T53" fmla="*/ 0 h 39"/>
                <a:gd name="T54" fmla="*/ 35 w 39"/>
                <a:gd name="T55" fmla="*/ 0 h 39"/>
                <a:gd name="T56" fmla="*/ 37 w 39"/>
                <a:gd name="T57" fmla="*/ 1 h 39"/>
                <a:gd name="T58" fmla="*/ 38 w 39"/>
                <a:gd name="T59" fmla="*/ 4 h 39"/>
                <a:gd name="T60" fmla="*/ 39 w 39"/>
                <a:gd name="T61" fmla="*/ 7 h 39"/>
                <a:gd name="T62" fmla="*/ 39 w 39"/>
                <a:gd name="T63" fmla="*/ 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 h="39">
                  <a:moveTo>
                    <a:pt x="39" y="7"/>
                  </a:moveTo>
                  <a:lnTo>
                    <a:pt x="39" y="7"/>
                  </a:lnTo>
                  <a:lnTo>
                    <a:pt x="38" y="12"/>
                  </a:lnTo>
                  <a:lnTo>
                    <a:pt x="37" y="17"/>
                  </a:lnTo>
                  <a:lnTo>
                    <a:pt x="33" y="27"/>
                  </a:lnTo>
                  <a:lnTo>
                    <a:pt x="30" y="31"/>
                  </a:lnTo>
                  <a:lnTo>
                    <a:pt x="27" y="36"/>
                  </a:lnTo>
                  <a:lnTo>
                    <a:pt x="24" y="38"/>
                  </a:lnTo>
                  <a:lnTo>
                    <a:pt x="19" y="39"/>
                  </a:lnTo>
                  <a:lnTo>
                    <a:pt x="19" y="39"/>
                  </a:lnTo>
                  <a:lnTo>
                    <a:pt x="15" y="38"/>
                  </a:lnTo>
                  <a:lnTo>
                    <a:pt x="12" y="36"/>
                  </a:lnTo>
                  <a:lnTo>
                    <a:pt x="9" y="31"/>
                  </a:lnTo>
                  <a:lnTo>
                    <a:pt x="6" y="27"/>
                  </a:lnTo>
                  <a:lnTo>
                    <a:pt x="2" y="17"/>
                  </a:lnTo>
                  <a:lnTo>
                    <a:pt x="1" y="12"/>
                  </a:lnTo>
                  <a:lnTo>
                    <a:pt x="0" y="7"/>
                  </a:lnTo>
                  <a:lnTo>
                    <a:pt x="0" y="7"/>
                  </a:lnTo>
                  <a:lnTo>
                    <a:pt x="1" y="4"/>
                  </a:lnTo>
                  <a:lnTo>
                    <a:pt x="2" y="1"/>
                  </a:lnTo>
                  <a:lnTo>
                    <a:pt x="4" y="0"/>
                  </a:lnTo>
                  <a:lnTo>
                    <a:pt x="6" y="0"/>
                  </a:lnTo>
                  <a:lnTo>
                    <a:pt x="12" y="0"/>
                  </a:lnTo>
                  <a:lnTo>
                    <a:pt x="19" y="0"/>
                  </a:lnTo>
                  <a:lnTo>
                    <a:pt x="19" y="0"/>
                  </a:lnTo>
                  <a:lnTo>
                    <a:pt x="27" y="0"/>
                  </a:lnTo>
                  <a:lnTo>
                    <a:pt x="33" y="0"/>
                  </a:lnTo>
                  <a:lnTo>
                    <a:pt x="35" y="0"/>
                  </a:lnTo>
                  <a:lnTo>
                    <a:pt x="37" y="1"/>
                  </a:lnTo>
                  <a:lnTo>
                    <a:pt x="38" y="4"/>
                  </a:lnTo>
                  <a:lnTo>
                    <a:pt x="39" y="7"/>
                  </a:lnTo>
                  <a:lnTo>
                    <a:pt x="39" y="7"/>
                  </a:lnTo>
                  <a:close/>
                </a:path>
              </a:pathLst>
            </a:custGeom>
            <a:solidFill>
              <a:srgbClr val="56534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38" name="Freeform 365"/>
            <p:cNvSpPr>
              <a:spLocks/>
            </p:cNvSpPr>
            <p:nvPr/>
          </p:nvSpPr>
          <p:spPr bwMode="auto">
            <a:xfrm>
              <a:off x="3121388" y="5537398"/>
              <a:ext cx="95274" cy="95352"/>
            </a:xfrm>
            <a:custGeom>
              <a:avLst/>
              <a:gdLst>
                <a:gd name="T0" fmla="*/ 39 w 39"/>
                <a:gd name="T1" fmla="*/ 7 h 39"/>
                <a:gd name="T2" fmla="*/ 39 w 39"/>
                <a:gd name="T3" fmla="*/ 7 h 39"/>
                <a:gd name="T4" fmla="*/ 39 w 39"/>
                <a:gd name="T5" fmla="*/ 12 h 39"/>
                <a:gd name="T6" fmla="*/ 38 w 39"/>
                <a:gd name="T7" fmla="*/ 17 h 39"/>
                <a:gd name="T8" fmla="*/ 33 w 39"/>
                <a:gd name="T9" fmla="*/ 27 h 39"/>
                <a:gd name="T10" fmla="*/ 30 w 39"/>
                <a:gd name="T11" fmla="*/ 31 h 39"/>
                <a:gd name="T12" fmla="*/ 27 w 39"/>
                <a:gd name="T13" fmla="*/ 36 h 39"/>
                <a:gd name="T14" fmla="*/ 23 w 39"/>
                <a:gd name="T15" fmla="*/ 38 h 39"/>
                <a:gd name="T16" fmla="*/ 20 w 39"/>
                <a:gd name="T17" fmla="*/ 39 h 39"/>
                <a:gd name="T18" fmla="*/ 20 w 39"/>
                <a:gd name="T19" fmla="*/ 39 h 39"/>
                <a:gd name="T20" fmla="*/ 16 w 39"/>
                <a:gd name="T21" fmla="*/ 38 h 39"/>
                <a:gd name="T22" fmla="*/ 11 w 39"/>
                <a:gd name="T23" fmla="*/ 36 h 39"/>
                <a:gd name="T24" fmla="*/ 8 w 39"/>
                <a:gd name="T25" fmla="*/ 31 h 39"/>
                <a:gd name="T26" fmla="*/ 5 w 39"/>
                <a:gd name="T27" fmla="*/ 27 h 39"/>
                <a:gd name="T28" fmla="*/ 1 w 39"/>
                <a:gd name="T29" fmla="*/ 17 h 39"/>
                <a:gd name="T30" fmla="*/ 0 w 39"/>
                <a:gd name="T31" fmla="*/ 12 h 39"/>
                <a:gd name="T32" fmla="*/ 0 w 39"/>
                <a:gd name="T33" fmla="*/ 7 h 39"/>
                <a:gd name="T34" fmla="*/ 0 w 39"/>
                <a:gd name="T35" fmla="*/ 7 h 39"/>
                <a:gd name="T36" fmla="*/ 0 w 39"/>
                <a:gd name="T37" fmla="*/ 4 h 39"/>
                <a:gd name="T38" fmla="*/ 1 w 39"/>
                <a:gd name="T39" fmla="*/ 1 h 39"/>
                <a:gd name="T40" fmla="*/ 3 w 39"/>
                <a:gd name="T41" fmla="*/ 0 h 39"/>
                <a:gd name="T42" fmla="*/ 5 w 39"/>
                <a:gd name="T43" fmla="*/ 0 h 39"/>
                <a:gd name="T44" fmla="*/ 11 w 39"/>
                <a:gd name="T45" fmla="*/ 0 h 39"/>
                <a:gd name="T46" fmla="*/ 20 w 39"/>
                <a:gd name="T47" fmla="*/ 0 h 39"/>
                <a:gd name="T48" fmla="*/ 20 w 39"/>
                <a:gd name="T49" fmla="*/ 0 h 39"/>
                <a:gd name="T50" fmla="*/ 27 w 39"/>
                <a:gd name="T51" fmla="*/ 0 h 39"/>
                <a:gd name="T52" fmla="*/ 33 w 39"/>
                <a:gd name="T53" fmla="*/ 0 h 39"/>
                <a:gd name="T54" fmla="*/ 35 w 39"/>
                <a:gd name="T55" fmla="*/ 0 h 39"/>
                <a:gd name="T56" fmla="*/ 38 w 39"/>
                <a:gd name="T57" fmla="*/ 1 h 39"/>
                <a:gd name="T58" fmla="*/ 39 w 39"/>
                <a:gd name="T59" fmla="*/ 4 h 39"/>
                <a:gd name="T60" fmla="*/ 39 w 39"/>
                <a:gd name="T61" fmla="*/ 7 h 39"/>
                <a:gd name="T62" fmla="*/ 39 w 39"/>
                <a:gd name="T63" fmla="*/ 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 h="39">
                  <a:moveTo>
                    <a:pt x="39" y="7"/>
                  </a:moveTo>
                  <a:lnTo>
                    <a:pt x="39" y="7"/>
                  </a:lnTo>
                  <a:lnTo>
                    <a:pt x="39" y="12"/>
                  </a:lnTo>
                  <a:lnTo>
                    <a:pt x="38" y="17"/>
                  </a:lnTo>
                  <a:lnTo>
                    <a:pt x="33" y="27"/>
                  </a:lnTo>
                  <a:lnTo>
                    <a:pt x="30" y="31"/>
                  </a:lnTo>
                  <a:lnTo>
                    <a:pt x="27" y="36"/>
                  </a:lnTo>
                  <a:lnTo>
                    <a:pt x="23" y="38"/>
                  </a:lnTo>
                  <a:lnTo>
                    <a:pt x="20" y="39"/>
                  </a:lnTo>
                  <a:lnTo>
                    <a:pt x="20" y="39"/>
                  </a:lnTo>
                  <a:lnTo>
                    <a:pt x="16" y="38"/>
                  </a:lnTo>
                  <a:lnTo>
                    <a:pt x="11" y="36"/>
                  </a:lnTo>
                  <a:lnTo>
                    <a:pt x="8" y="31"/>
                  </a:lnTo>
                  <a:lnTo>
                    <a:pt x="5" y="27"/>
                  </a:lnTo>
                  <a:lnTo>
                    <a:pt x="1" y="17"/>
                  </a:lnTo>
                  <a:lnTo>
                    <a:pt x="0" y="12"/>
                  </a:lnTo>
                  <a:lnTo>
                    <a:pt x="0" y="7"/>
                  </a:lnTo>
                  <a:lnTo>
                    <a:pt x="0" y="7"/>
                  </a:lnTo>
                  <a:lnTo>
                    <a:pt x="0" y="4"/>
                  </a:lnTo>
                  <a:lnTo>
                    <a:pt x="1" y="1"/>
                  </a:lnTo>
                  <a:lnTo>
                    <a:pt x="3" y="0"/>
                  </a:lnTo>
                  <a:lnTo>
                    <a:pt x="5" y="0"/>
                  </a:lnTo>
                  <a:lnTo>
                    <a:pt x="11" y="0"/>
                  </a:lnTo>
                  <a:lnTo>
                    <a:pt x="20" y="0"/>
                  </a:lnTo>
                  <a:lnTo>
                    <a:pt x="20" y="0"/>
                  </a:lnTo>
                  <a:lnTo>
                    <a:pt x="27" y="0"/>
                  </a:lnTo>
                  <a:lnTo>
                    <a:pt x="33" y="0"/>
                  </a:lnTo>
                  <a:lnTo>
                    <a:pt x="35" y="0"/>
                  </a:lnTo>
                  <a:lnTo>
                    <a:pt x="38" y="1"/>
                  </a:lnTo>
                  <a:lnTo>
                    <a:pt x="39" y="4"/>
                  </a:lnTo>
                  <a:lnTo>
                    <a:pt x="39" y="7"/>
                  </a:lnTo>
                  <a:lnTo>
                    <a:pt x="39" y="7"/>
                  </a:lnTo>
                  <a:close/>
                </a:path>
              </a:pathLst>
            </a:custGeom>
            <a:solidFill>
              <a:srgbClr val="56534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grpSp>
      <p:grpSp>
        <p:nvGrpSpPr>
          <p:cNvPr id="10" name="Group 9"/>
          <p:cNvGrpSpPr>
            <a:grpSpLocks/>
          </p:cNvGrpSpPr>
          <p:nvPr/>
        </p:nvGrpSpPr>
        <p:grpSpPr bwMode="auto">
          <a:xfrm>
            <a:off x="1600200" y="4656138"/>
            <a:ext cx="793750" cy="712787"/>
            <a:chOff x="1600746" y="4655805"/>
            <a:chExt cx="793544" cy="712719"/>
          </a:xfrm>
        </p:grpSpPr>
        <p:sp>
          <p:nvSpPr>
            <p:cNvPr id="141" name="Freeform 368"/>
            <p:cNvSpPr>
              <a:spLocks/>
            </p:cNvSpPr>
            <p:nvPr/>
          </p:nvSpPr>
          <p:spPr bwMode="auto">
            <a:xfrm>
              <a:off x="1908641" y="4655805"/>
              <a:ext cx="177754" cy="168259"/>
            </a:xfrm>
            <a:custGeom>
              <a:avLst/>
              <a:gdLst>
                <a:gd name="T0" fmla="*/ 70 w 70"/>
                <a:gd name="T1" fmla="*/ 34 h 68"/>
                <a:gd name="T2" fmla="*/ 70 w 70"/>
                <a:gd name="T3" fmla="*/ 34 h 68"/>
                <a:gd name="T4" fmla="*/ 69 w 70"/>
                <a:gd name="T5" fmla="*/ 41 h 68"/>
                <a:gd name="T6" fmla="*/ 67 w 70"/>
                <a:gd name="T7" fmla="*/ 48 h 68"/>
                <a:gd name="T8" fmla="*/ 64 w 70"/>
                <a:gd name="T9" fmla="*/ 54 h 68"/>
                <a:gd name="T10" fmla="*/ 59 w 70"/>
                <a:gd name="T11" fmla="*/ 59 h 68"/>
                <a:gd name="T12" fmla="*/ 54 w 70"/>
                <a:gd name="T13" fmla="*/ 63 h 68"/>
                <a:gd name="T14" fmla="*/ 49 w 70"/>
                <a:gd name="T15" fmla="*/ 66 h 68"/>
                <a:gd name="T16" fmla="*/ 42 w 70"/>
                <a:gd name="T17" fmla="*/ 68 h 68"/>
                <a:gd name="T18" fmla="*/ 35 w 70"/>
                <a:gd name="T19" fmla="*/ 68 h 68"/>
                <a:gd name="T20" fmla="*/ 35 w 70"/>
                <a:gd name="T21" fmla="*/ 68 h 68"/>
                <a:gd name="T22" fmla="*/ 28 w 70"/>
                <a:gd name="T23" fmla="*/ 68 h 68"/>
                <a:gd name="T24" fmla="*/ 22 w 70"/>
                <a:gd name="T25" fmla="*/ 66 h 68"/>
                <a:gd name="T26" fmla="*/ 16 w 70"/>
                <a:gd name="T27" fmla="*/ 63 h 68"/>
                <a:gd name="T28" fmla="*/ 10 w 70"/>
                <a:gd name="T29" fmla="*/ 59 h 68"/>
                <a:gd name="T30" fmla="*/ 6 w 70"/>
                <a:gd name="T31" fmla="*/ 54 h 68"/>
                <a:gd name="T32" fmla="*/ 3 w 70"/>
                <a:gd name="T33" fmla="*/ 48 h 68"/>
                <a:gd name="T34" fmla="*/ 1 w 70"/>
                <a:gd name="T35" fmla="*/ 41 h 68"/>
                <a:gd name="T36" fmla="*/ 0 w 70"/>
                <a:gd name="T37" fmla="*/ 34 h 68"/>
                <a:gd name="T38" fmla="*/ 0 w 70"/>
                <a:gd name="T39" fmla="*/ 34 h 68"/>
                <a:gd name="T40" fmla="*/ 1 w 70"/>
                <a:gd name="T41" fmla="*/ 27 h 68"/>
                <a:gd name="T42" fmla="*/ 3 w 70"/>
                <a:gd name="T43" fmla="*/ 20 h 68"/>
                <a:gd name="T44" fmla="*/ 6 w 70"/>
                <a:gd name="T45" fmla="*/ 14 h 68"/>
                <a:gd name="T46" fmla="*/ 10 w 70"/>
                <a:gd name="T47" fmla="*/ 10 h 68"/>
                <a:gd name="T48" fmla="*/ 16 w 70"/>
                <a:gd name="T49" fmla="*/ 5 h 68"/>
                <a:gd name="T50" fmla="*/ 22 w 70"/>
                <a:gd name="T51" fmla="*/ 2 h 68"/>
                <a:gd name="T52" fmla="*/ 28 w 70"/>
                <a:gd name="T53" fmla="*/ 0 h 68"/>
                <a:gd name="T54" fmla="*/ 35 w 70"/>
                <a:gd name="T55" fmla="*/ 0 h 68"/>
                <a:gd name="T56" fmla="*/ 35 w 70"/>
                <a:gd name="T57" fmla="*/ 0 h 68"/>
                <a:gd name="T58" fmla="*/ 42 w 70"/>
                <a:gd name="T59" fmla="*/ 0 h 68"/>
                <a:gd name="T60" fmla="*/ 49 w 70"/>
                <a:gd name="T61" fmla="*/ 2 h 68"/>
                <a:gd name="T62" fmla="*/ 54 w 70"/>
                <a:gd name="T63" fmla="*/ 5 h 68"/>
                <a:gd name="T64" fmla="*/ 59 w 70"/>
                <a:gd name="T65" fmla="*/ 10 h 68"/>
                <a:gd name="T66" fmla="*/ 64 w 70"/>
                <a:gd name="T67" fmla="*/ 14 h 68"/>
                <a:gd name="T68" fmla="*/ 67 w 70"/>
                <a:gd name="T69" fmla="*/ 20 h 68"/>
                <a:gd name="T70" fmla="*/ 69 w 70"/>
                <a:gd name="T71" fmla="*/ 27 h 68"/>
                <a:gd name="T72" fmla="*/ 70 w 70"/>
                <a:gd name="T73" fmla="*/ 34 h 68"/>
                <a:gd name="T74" fmla="*/ 70 w 70"/>
                <a:gd name="T7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 h="68">
                  <a:moveTo>
                    <a:pt x="70" y="34"/>
                  </a:moveTo>
                  <a:lnTo>
                    <a:pt x="70" y="34"/>
                  </a:lnTo>
                  <a:lnTo>
                    <a:pt x="69" y="41"/>
                  </a:lnTo>
                  <a:lnTo>
                    <a:pt x="67" y="48"/>
                  </a:lnTo>
                  <a:lnTo>
                    <a:pt x="64" y="54"/>
                  </a:lnTo>
                  <a:lnTo>
                    <a:pt x="59" y="59"/>
                  </a:lnTo>
                  <a:lnTo>
                    <a:pt x="54" y="63"/>
                  </a:lnTo>
                  <a:lnTo>
                    <a:pt x="49" y="66"/>
                  </a:lnTo>
                  <a:lnTo>
                    <a:pt x="42" y="68"/>
                  </a:lnTo>
                  <a:lnTo>
                    <a:pt x="35" y="68"/>
                  </a:lnTo>
                  <a:lnTo>
                    <a:pt x="35" y="68"/>
                  </a:lnTo>
                  <a:lnTo>
                    <a:pt x="28" y="68"/>
                  </a:lnTo>
                  <a:lnTo>
                    <a:pt x="22" y="66"/>
                  </a:lnTo>
                  <a:lnTo>
                    <a:pt x="16" y="63"/>
                  </a:lnTo>
                  <a:lnTo>
                    <a:pt x="10" y="59"/>
                  </a:lnTo>
                  <a:lnTo>
                    <a:pt x="6" y="54"/>
                  </a:lnTo>
                  <a:lnTo>
                    <a:pt x="3" y="48"/>
                  </a:lnTo>
                  <a:lnTo>
                    <a:pt x="1" y="41"/>
                  </a:lnTo>
                  <a:lnTo>
                    <a:pt x="0" y="34"/>
                  </a:lnTo>
                  <a:lnTo>
                    <a:pt x="0" y="34"/>
                  </a:lnTo>
                  <a:lnTo>
                    <a:pt x="1" y="27"/>
                  </a:lnTo>
                  <a:lnTo>
                    <a:pt x="3" y="20"/>
                  </a:lnTo>
                  <a:lnTo>
                    <a:pt x="6" y="14"/>
                  </a:lnTo>
                  <a:lnTo>
                    <a:pt x="10" y="10"/>
                  </a:lnTo>
                  <a:lnTo>
                    <a:pt x="16" y="5"/>
                  </a:lnTo>
                  <a:lnTo>
                    <a:pt x="22" y="2"/>
                  </a:lnTo>
                  <a:lnTo>
                    <a:pt x="28" y="0"/>
                  </a:lnTo>
                  <a:lnTo>
                    <a:pt x="35" y="0"/>
                  </a:lnTo>
                  <a:lnTo>
                    <a:pt x="35" y="0"/>
                  </a:lnTo>
                  <a:lnTo>
                    <a:pt x="42" y="0"/>
                  </a:lnTo>
                  <a:lnTo>
                    <a:pt x="49" y="2"/>
                  </a:lnTo>
                  <a:lnTo>
                    <a:pt x="54" y="5"/>
                  </a:lnTo>
                  <a:lnTo>
                    <a:pt x="59" y="10"/>
                  </a:lnTo>
                  <a:lnTo>
                    <a:pt x="64" y="14"/>
                  </a:lnTo>
                  <a:lnTo>
                    <a:pt x="67" y="20"/>
                  </a:lnTo>
                  <a:lnTo>
                    <a:pt x="69" y="27"/>
                  </a:lnTo>
                  <a:lnTo>
                    <a:pt x="70" y="34"/>
                  </a:lnTo>
                  <a:lnTo>
                    <a:pt x="70" y="34"/>
                  </a:lnTo>
                  <a:close/>
                </a:path>
              </a:pathLst>
            </a:custGeom>
            <a:solidFill>
              <a:srgbClr val="C74018"/>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42" name="Freeform 369"/>
            <p:cNvSpPr>
              <a:spLocks/>
            </p:cNvSpPr>
            <p:nvPr/>
          </p:nvSpPr>
          <p:spPr bwMode="auto">
            <a:xfrm>
              <a:off x="1615030" y="4736759"/>
              <a:ext cx="287262" cy="153973"/>
            </a:xfrm>
            <a:custGeom>
              <a:avLst/>
              <a:gdLst>
                <a:gd name="T0" fmla="*/ 10 w 117"/>
                <a:gd name="T1" fmla="*/ 62 h 62"/>
                <a:gd name="T2" fmla="*/ 10 w 117"/>
                <a:gd name="T3" fmla="*/ 62 h 62"/>
                <a:gd name="T4" fmla="*/ 6 w 117"/>
                <a:gd name="T5" fmla="*/ 60 h 62"/>
                <a:gd name="T6" fmla="*/ 6 w 117"/>
                <a:gd name="T7" fmla="*/ 60 h 62"/>
                <a:gd name="T8" fmla="*/ 3 w 117"/>
                <a:gd name="T9" fmla="*/ 57 h 62"/>
                <a:gd name="T10" fmla="*/ 1 w 117"/>
                <a:gd name="T11" fmla="*/ 53 h 62"/>
                <a:gd name="T12" fmla="*/ 0 w 117"/>
                <a:gd name="T13" fmla="*/ 49 h 62"/>
                <a:gd name="T14" fmla="*/ 2 w 117"/>
                <a:gd name="T15" fmla="*/ 44 h 62"/>
                <a:gd name="T16" fmla="*/ 2 w 117"/>
                <a:gd name="T17" fmla="*/ 44 h 62"/>
                <a:gd name="T18" fmla="*/ 8 w 117"/>
                <a:gd name="T19" fmla="*/ 34 h 62"/>
                <a:gd name="T20" fmla="*/ 15 w 117"/>
                <a:gd name="T21" fmla="*/ 25 h 62"/>
                <a:gd name="T22" fmla="*/ 22 w 117"/>
                <a:gd name="T23" fmla="*/ 18 h 62"/>
                <a:gd name="T24" fmla="*/ 29 w 117"/>
                <a:gd name="T25" fmla="*/ 11 h 62"/>
                <a:gd name="T26" fmla="*/ 36 w 117"/>
                <a:gd name="T27" fmla="*/ 7 h 62"/>
                <a:gd name="T28" fmla="*/ 44 w 117"/>
                <a:gd name="T29" fmla="*/ 3 h 62"/>
                <a:gd name="T30" fmla="*/ 52 w 117"/>
                <a:gd name="T31" fmla="*/ 1 h 62"/>
                <a:gd name="T32" fmla="*/ 59 w 117"/>
                <a:gd name="T33" fmla="*/ 0 h 62"/>
                <a:gd name="T34" fmla="*/ 59 w 117"/>
                <a:gd name="T35" fmla="*/ 0 h 62"/>
                <a:gd name="T36" fmla="*/ 66 w 117"/>
                <a:gd name="T37" fmla="*/ 0 h 62"/>
                <a:gd name="T38" fmla="*/ 71 w 117"/>
                <a:gd name="T39" fmla="*/ 0 h 62"/>
                <a:gd name="T40" fmla="*/ 81 w 117"/>
                <a:gd name="T41" fmla="*/ 3 h 62"/>
                <a:gd name="T42" fmla="*/ 91 w 117"/>
                <a:gd name="T43" fmla="*/ 7 h 62"/>
                <a:gd name="T44" fmla="*/ 98 w 117"/>
                <a:gd name="T45" fmla="*/ 12 h 62"/>
                <a:gd name="T46" fmla="*/ 105 w 117"/>
                <a:gd name="T47" fmla="*/ 18 h 62"/>
                <a:gd name="T48" fmla="*/ 109 w 117"/>
                <a:gd name="T49" fmla="*/ 23 h 62"/>
                <a:gd name="T50" fmla="*/ 115 w 117"/>
                <a:gd name="T51" fmla="*/ 28 h 62"/>
                <a:gd name="T52" fmla="*/ 115 w 117"/>
                <a:gd name="T53" fmla="*/ 28 h 62"/>
                <a:gd name="T54" fmla="*/ 117 w 117"/>
                <a:gd name="T55" fmla="*/ 32 h 62"/>
                <a:gd name="T56" fmla="*/ 117 w 117"/>
                <a:gd name="T57" fmla="*/ 37 h 62"/>
                <a:gd name="T58" fmla="*/ 115 w 117"/>
                <a:gd name="T59" fmla="*/ 42 h 62"/>
                <a:gd name="T60" fmla="*/ 112 w 117"/>
                <a:gd name="T61" fmla="*/ 45 h 62"/>
                <a:gd name="T62" fmla="*/ 112 w 117"/>
                <a:gd name="T63" fmla="*/ 45 h 62"/>
                <a:gd name="T64" fmla="*/ 107 w 117"/>
                <a:gd name="T65" fmla="*/ 47 h 62"/>
                <a:gd name="T66" fmla="*/ 103 w 117"/>
                <a:gd name="T67" fmla="*/ 47 h 62"/>
                <a:gd name="T68" fmla="*/ 99 w 117"/>
                <a:gd name="T69" fmla="*/ 46 h 62"/>
                <a:gd name="T70" fmla="*/ 95 w 117"/>
                <a:gd name="T71" fmla="*/ 43 h 62"/>
                <a:gd name="T72" fmla="*/ 95 w 117"/>
                <a:gd name="T73" fmla="*/ 43 h 62"/>
                <a:gd name="T74" fmla="*/ 92 w 117"/>
                <a:gd name="T75" fmla="*/ 40 h 62"/>
                <a:gd name="T76" fmla="*/ 84 w 117"/>
                <a:gd name="T77" fmla="*/ 32 h 62"/>
                <a:gd name="T78" fmla="*/ 80 w 117"/>
                <a:gd name="T79" fmla="*/ 29 h 62"/>
                <a:gd name="T80" fmla="*/ 74 w 117"/>
                <a:gd name="T81" fmla="*/ 26 h 62"/>
                <a:gd name="T82" fmla="*/ 68 w 117"/>
                <a:gd name="T83" fmla="*/ 24 h 62"/>
                <a:gd name="T84" fmla="*/ 60 w 117"/>
                <a:gd name="T85" fmla="*/ 24 h 62"/>
                <a:gd name="T86" fmla="*/ 60 w 117"/>
                <a:gd name="T87" fmla="*/ 24 h 62"/>
                <a:gd name="T88" fmla="*/ 55 w 117"/>
                <a:gd name="T89" fmla="*/ 25 h 62"/>
                <a:gd name="T90" fmla="*/ 49 w 117"/>
                <a:gd name="T91" fmla="*/ 27 h 62"/>
                <a:gd name="T92" fmla="*/ 44 w 117"/>
                <a:gd name="T93" fmla="*/ 31 h 62"/>
                <a:gd name="T94" fmla="*/ 39 w 117"/>
                <a:gd name="T95" fmla="*/ 35 h 62"/>
                <a:gd name="T96" fmla="*/ 30 w 117"/>
                <a:gd name="T97" fmla="*/ 46 h 62"/>
                <a:gd name="T98" fmla="*/ 23 w 117"/>
                <a:gd name="T99" fmla="*/ 56 h 62"/>
                <a:gd name="T100" fmla="*/ 23 w 117"/>
                <a:gd name="T101" fmla="*/ 56 h 62"/>
                <a:gd name="T102" fmla="*/ 21 w 117"/>
                <a:gd name="T103" fmla="*/ 59 h 62"/>
                <a:gd name="T104" fmla="*/ 18 w 117"/>
                <a:gd name="T105" fmla="*/ 61 h 62"/>
                <a:gd name="T106" fmla="*/ 15 w 117"/>
                <a:gd name="T107" fmla="*/ 62 h 62"/>
                <a:gd name="T108" fmla="*/ 10 w 117"/>
                <a:gd name="T109" fmla="*/ 62 h 62"/>
                <a:gd name="T110" fmla="*/ 10 w 117"/>
                <a:gd name="T11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 h="62">
                  <a:moveTo>
                    <a:pt x="10" y="62"/>
                  </a:moveTo>
                  <a:lnTo>
                    <a:pt x="10" y="62"/>
                  </a:lnTo>
                  <a:lnTo>
                    <a:pt x="6" y="60"/>
                  </a:lnTo>
                  <a:lnTo>
                    <a:pt x="6" y="60"/>
                  </a:lnTo>
                  <a:lnTo>
                    <a:pt x="3" y="57"/>
                  </a:lnTo>
                  <a:lnTo>
                    <a:pt x="1" y="53"/>
                  </a:lnTo>
                  <a:lnTo>
                    <a:pt x="0" y="49"/>
                  </a:lnTo>
                  <a:lnTo>
                    <a:pt x="2" y="44"/>
                  </a:lnTo>
                  <a:lnTo>
                    <a:pt x="2" y="44"/>
                  </a:lnTo>
                  <a:lnTo>
                    <a:pt x="8" y="34"/>
                  </a:lnTo>
                  <a:lnTo>
                    <a:pt x="15" y="25"/>
                  </a:lnTo>
                  <a:lnTo>
                    <a:pt x="22" y="18"/>
                  </a:lnTo>
                  <a:lnTo>
                    <a:pt x="29" y="11"/>
                  </a:lnTo>
                  <a:lnTo>
                    <a:pt x="36" y="7"/>
                  </a:lnTo>
                  <a:lnTo>
                    <a:pt x="44" y="3"/>
                  </a:lnTo>
                  <a:lnTo>
                    <a:pt x="52" y="1"/>
                  </a:lnTo>
                  <a:lnTo>
                    <a:pt x="59" y="0"/>
                  </a:lnTo>
                  <a:lnTo>
                    <a:pt x="59" y="0"/>
                  </a:lnTo>
                  <a:lnTo>
                    <a:pt x="66" y="0"/>
                  </a:lnTo>
                  <a:lnTo>
                    <a:pt x="71" y="0"/>
                  </a:lnTo>
                  <a:lnTo>
                    <a:pt x="81" y="3"/>
                  </a:lnTo>
                  <a:lnTo>
                    <a:pt x="91" y="7"/>
                  </a:lnTo>
                  <a:lnTo>
                    <a:pt x="98" y="12"/>
                  </a:lnTo>
                  <a:lnTo>
                    <a:pt x="105" y="18"/>
                  </a:lnTo>
                  <a:lnTo>
                    <a:pt x="109" y="23"/>
                  </a:lnTo>
                  <a:lnTo>
                    <a:pt x="115" y="28"/>
                  </a:lnTo>
                  <a:lnTo>
                    <a:pt x="115" y="28"/>
                  </a:lnTo>
                  <a:lnTo>
                    <a:pt x="117" y="32"/>
                  </a:lnTo>
                  <a:lnTo>
                    <a:pt x="117" y="37"/>
                  </a:lnTo>
                  <a:lnTo>
                    <a:pt x="115" y="42"/>
                  </a:lnTo>
                  <a:lnTo>
                    <a:pt x="112" y="45"/>
                  </a:lnTo>
                  <a:lnTo>
                    <a:pt x="112" y="45"/>
                  </a:lnTo>
                  <a:lnTo>
                    <a:pt x="107" y="47"/>
                  </a:lnTo>
                  <a:lnTo>
                    <a:pt x="103" y="47"/>
                  </a:lnTo>
                  <a:lnTo>
                    <a:pt x="99" y="46"/>
                  </a:lnTo>
                  <a:lnTo>
                    <a:pt x="95" y="43"/>
                  </a:lnTo>
                  <a:lnTo>
                    <a:pt x="95" y="43"/>
                  </a:lnTo>
                  <a:lnTo>
                    <a:pt x="92" y="40"/>
                  </a:lnTo>
                  <a:lnTo>
                    <a:pt x="84" y="32"/>
                  </a:lnTo>
                  <a:lnTo>
                    <a:pt x="80" y="29"/>
                  </a:lnTo>
                  <a:lnTo>
                    <a:pt x="74" y="26"/>
                  </a:lnTo>
                  <a:lnTo>
                    <a:pt x="68" y="24"/>
                  </a:lnTo>
                  <a:lnTo>
                    <a:pt x="60" y="24"/>
                  </a:lnTo>
                  <a:lnTo>
                    <a:pt x="60" y="24"/>
                  </a:lnTo>
                  <a:lnTo>
                    <a:pt x="55" y="25"/>
                  </a:lnTo>
                  <a:lnTo>
                    <a:pt x="49" y="27"/>
                  </a:lnTo>
                  <a:lnTo>
                    <a:pt x="44" y="31"/>
                  </a:lnTo>
                  <a:lnTo>
                    <a:pt x="39" y="35"/>
                  </a:lnTo>
                  <a:lnTo>
                    <a:pt x="30" y="46"/>
                  </a:lnTo>
                  <a:lnTo>
                    <a:pt x="23" y="56"/>
                  </a:lnTo>
                  <a:lnTo>
                    <a:pt x="23" y="56"/>
                  </a:lnTo>
                  <a:lnTo>
                    <a:pt x="21" y="59"/>
                  </a:lnTo>
                  <a:lnTo>
                    <a:pt x="18" y="61"/>
                  </a:lnTo>
                  <a:lnTo>
                    <a:pt x="15" y="62"/>
                  </a:lnTo>
                  <a:lnTo>
                    <a:pt x="10" y="62"/>
                  </a:lnTo>
                  <a:lnTo>
                    <a:pt x="10" y="62"/>
                  </a:lnTo>
                  <a:close/>
                </a:path>
              </a:pathLst>
            </a:custGeom>
            <a:solidFill>
              <a:srgbClr val="C74018"/>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43" name="Freeform 370"/>
            <p:cNvSpPr>
              <a:spLocks/>
            </p:cNvSpPr>
            <p:nvPr/>
          </p:nvSpPr>
          <p:spPr bwMode="auto">
            <a:xfrm>
              <a:off x="1843571" y="4868510"/>
              <a:ext cx="131728" cy="220641"/>
            </a:xfrm>
            <a:custGeom>
              <a:avLst/>
              <a:gdLst>
                <a:gd name="T0" fmla="*/ 40 w 53"/>
                <a:gd name="T1" fmla="*/ 91 h 91"/>
                <a:gd name="T2" fmla="*/ 40 w 53"/>
                <a:gd name="T3" fmla="*/ 91 h 91"/>
                <a:gd name="T4" fmla="*/ 36 w 53"/>
                <a:gd name="T5" fmla="*/ 90 h 91"/>
                <a:gd name="T6" fmla="*/ 32 w 53"/>
                <a:gd name="T7" fmla="*/ 87 h 91"/>
                <a:gd name="T8" fmla="*/ 32 w 53"/>
                <a:gd name="T9" fmla="*/ 87 h 91"/>
                <a:gd name="T10" fmla="*/ 27 w 53"/>
                <a:gd name="T11" fmla="*/ 80 h 91"/>
                <a:gd name="T12" fmla="*/ 22 w 53"/>
                <a:gd name="T13" fmla="*/ 74 h 91"/>
                <a:gd name="T14" fmla="*/ 16 w 53"/>
                <a:gd name="T15" fmla="*/ 66 h 91"/>
                <a:gd name="T16" fmla="*/ 10 w 53"/>
                <a:gd name="T17" fmla="*/ 54 h 91"/>
                <a:gd name="T18" fmla="*/ 6 w 53"/>
                <a:gd name="T19" fmla="*/ 42 h 91"/>
                <a:gd name="T20" fmla="*/ 2 w 53"/>
                <a:gd name="T21" fmla="*/ 28 h 91"/>
                <a:gd name="T22" fmla="*/ 1 w 53"/>
                <a:gd name="T23" fmla="*/ 20 h 91"/>
                <a:gd name="T24" fmla="*/ 0 w 53"/>
                <a:gd name="T25" fmla="*/ 13 h 91"/>
                <a:gd name="T26" fmla="*/ 0 w 53"/>
                <a:gd name="T27" fmla="*/ 13 h 91"/>
                <a:gd name="T28" fmla="*/ 1 w 53"/>
                <a:gd name="T29" fmla="*/ 7 h 91"/>
                <a:gd name="T30" fmla="*/ 3 w 53"/>
                <a:gd name="T31" fmla="*/ 3 h 91"/>
                <a:gd name="T32" fmla="*/ 7 w 53"/>
                <a:gd name="T33" fmla="*/ 1 h 91"/>
                <a:gd name="T34" fmla="*/ 11 w 53"/>
                <a:gd name="T35" fmla="*/ 0 h 91"/>
                <a:gd name="T36" fmla="*/ 11 w 53"/>
                <a:gd name="T37" fmla="*/ 0 h 91"/>
                <a:gd name="T38" fmla="*/ 16 w 53"/>
                <a:gd name="T39" fmla="*/ 0 h 91"/>
                <a:gd name="T40" fmla="*/ 21 w 53"/>
                <a:gd name="T41" fmla="*/ 3 h 91"/>
                <a:gd name="T42" fmla="*/ 23 w 53"/>
                <a:gd name="T43" fmla="*/ 6 h 91"/>
                <a:gd name="T44" fmla="*/ 24 w 53"/>
                <a:gd name="T45" fmla="*/ 12 h 91"/>
                <a:gd name="T46" fmla="*/ 24 w 53"/>
                <a:gd name="T47" fmla="*/ 12 h 91"/>
                <a:gd name="T48" fmla="*/ 26 w 53"/>
                <a:gd name="T49" fmla="*/ 24 h 91"/>
                <a:gd name="T50" fmla="*/ 29 w 53"/>
                <a:gd name="T51" fmla="*/ 34 h 91"/>
                <a:gd name="T52" fmla="*/ 33 w 53"/>
                <a:gd name="T53" fmla="*/ 45 h 91"/>
                <a:gd name="T54" fmla="*/ 37 w 53"/>
                <a:gd name="T55" fmla="*/ 53 h 91"/>
                <a:gd name="T56" fmla="*/ 46 w 53"/>
                <a:gd name="T57" fmla="*/ 66 h 91"/>
                <a:gd name="T58" fmla="*/ 50 w 53"/>
                <a:gd name="T59" fmla="*/ 70 h 91"/>
                <a:gd name="T60" fmla="*/ 50 w 53"/>
                <a:gd name="T61" fmla="*/ 70 h 91"/>
                <a:gd name="T62" fmla="*/ 52 w 53"/>
                <a:gd name="T63" fmla="*/ 74 h 91"/>
                <a:gd name="T64" fmla="*/ 53 w 53"/>
                <a:gd name="T65" fmla="*/ 78 h 91"/>
                <a:gd name="T66" fmla="*/ 52 w 53"/>
                <a:gd name="T67" fmla="*/ 82 h 91"/>
                <a:gd name="T68" fmla="*/ 49 w 53"/>
                <a:gd name="T69" fmla="*/ 87 h 91"/>
                <a:gd name="T70" fmla="*/ 49 w 53"/>
                <a:gd name="T71" fmla="*/ 87 h 91"/>
                <a:gd name="T72" fmla="*/ 46 w 53"/>
                <a:gd name="T73" fmla="*/ 90 h 91"/>
                <a:gd name="T74" fmla="*/ 40 w 53"/>
                <a:gd name="T75" fmla="*/ 91 h 91"/>
                <a:gd name="T76" fmla="*/ 40 w 53"/>
                <a:gd name="T77"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 h="91">
                  <a:moveTo>
                    <a:pt x="40" y="91"/>
                  </a:moveTo>
                  <a:lnTo>
                    <a:pt x="40" y="91"/>
                  </a:lnTo>
                  <a:lnTo>
                    <a:pt x="36" y="90"/>
                  </a:lnTo>
                  <a:lnTo>
                    <a:pt x="32" y="87"/>
                  </a:lnTo>
                  <a:lnTo>
                    <a:pt x="32" y="87"/>
                  </a:lnTo>
                  <a:lnTo>
                    <a:pt x="27" y="80"/>
                  </a:lnTo>
                  <a:lnTo>
                    <a:pt x="22" y="74"/>
                  </a:lnTo>
                  <a:lnTo>
                    <a:pt x="16" y="66"/>
                  </a:lnTo>
                  <a:lnTo>
                    <a:pt x="10" y="54"/>
                  </a:lnTo>
                  <a:lnTo>
                    <a:pt x="6" y="42"/>
                  </a:lnTo>
                  <a:lnTo>
                    <a:pt x="2" y="28"/>
                  </a:lnTo>
                  <a:lnTo>
                    <a:pt x="1" y="20"/>
                  </a:lnTo>
                  <a:lnTo>
                    <a:pt x="0" y="13"/>
                  </a:lnTo>
                  <a:lnTo>
                    <a:pt x="0" y="13"/>
                  </a:lnTo>
                  <a:lnTo>
                    <a:pt x="1" y="7"/>
                  </a:lnTo>
                  <a:lnTo>
                    <a:pt x="3" y="3"/>
                  </a:lnTo>
                  <a:lnTo>
                    <a:pt x="7" y="1"/>
                  </a:lnTo>
                  <a:lnTo>
                    <a:pt x="11" y="0"/>
                  </a:lnTo>
                  <a:lnTo>
                    <a:pt x="11" y="0"/>
                  </a:lnTo>
                  <a:lnTo>
                    <a:pt x="16" y="0"/>
                  </a:lnTo>
                  <a:lnTo>
                    <a:pt x="21" y="3"/>
                  </a:lnTo>
                  <a:lnTo>
                    <a:pt x="23" y="6"/>
                  </a:lnTo>
                  <a:lnTo>
                    <a:pt x="24" y="12"/>
                  </a:lnTo>
                  <a:lnTo>
                    <a:pt x="24" y="12"/>
                  </a:lnTo>
                  <a:lnTo>
                    <a:pt x="26" y="24"/>
                  </a:lnTo>
                  <a:lnTo>
                    <a:pt x="29" y="34"/>
                  </a:lnTo>
                  <a:lnTo>
                    <a:pt x="33" y="45"/>
                  </a:lnTo>
                  <a:lnTo>
                    <a:pt x="37" y="53"/>
                  </a:lnTo>
                  <a:lnTo>
                    <a:pt x="46" y="66"/>
                  </a:lnTo>
                  <a:lnTo>
                    <a:pt x="50" y="70"/>
                  </a:lnTo>
                  <a:lnTo>
                    <a:pt x="50" y="70"/>
                  </a:lnTo>
                  <a:lnTo>
                    <a:pt x="52" y="74"/>
                  </a:lnTo>
                  <a:lnTo>
                    <a:pt x="53" y="78"/>
                  </a:lnTo>
                  <a:lnTo>
                    <a:pt x="52" y="82"/>
                  </a:lnTo>
                  <a:lnTo>
                    <a:pt x="49" y="87"/>
                  </a:lnTo>
                  <a:lnTo>
                    <a:pt x="49" y="87"/>
                  </a:lnTo>
                  <a:lnTo>
                    <a:pt x="46" y="90"/>
                  </a:lnTo>
                  <a:lnTo>
                    <a:pt x="40" y="91"/>
                  </a:lnTo>
                  <a:lnTo>
                    <a:pt x="40" y="91"/>
                  </a:lnTo>
                  <a:close/>
                </a:path>
              </a:pathLst>
            </a:custGeom>
            <a:solidFill>
              <a:srgbClr val="C74018"/>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44" name="Freeform 371"/>
            <p:cNvSpPr>
              <a:spLocks/>
            </p:cNvSpPr>
            <p:nvPr/>
          </p:nvSpPr>
          <p:spPr bwMode="auto">
            <a:xfrm>
              <a:off x="1608682" y="4809777"/>
              <a:ext cx="557067" cy="426997"/>
            </a:xfrm>
            <a:custGeom>
              <a:avLst/>
              <a:gdLst>
                <a:gd name="T0" fmla="*/ 224 w 230"/>
                <a:gd name="T1" fmla="*/ 173 h 173"/>
                <a:gd name="T2" fmla="*/ 224 w 230"/>
                <a:gd name="T3" fmla="*/ 173 h 173"/>
                <a:gd name="T4" fmla="*/ 221 w 230"/>
                <a:gd name="T5" fmla="*/ 172 h 173"/>
                <a:gd name="T6" fmla="*/ 2 w 230"/>
                <a:gd name="T7" fmla="*/ 12 h 173"/>
                <a:gd name="T8" fmla="*/ 2 w 230"/>
                <a:gd name="T9" fmla="*/ 12 h 173"/>
                <a:gd name="T10" fmla="*/ 1 w 230"/>
                <a:gd name="T11" fmla="*/ 9 h 173"/>
                <a:gd name="T12" fmla="*/ 0 w 230"/>
                <a:gd name="T13" fmla="*/ 7 h 173"/>
                <a:gd name="T14" fmla="*/ 0 w 230"/>
                <a:gd name="T15" fmla="*/ 5 h 173"/>
                <a:gd name="T16" fmla="*/ 1 w 230"/>
                <a:gd name="T17" fmla="*/ 3 h 173"/>
                <a:gd name="T18" fmla="*/ 1 w 230"/>
                <a:gd name="T19" fmla="*/ 3 h 173"/>
                <a:gd name="T20" fmla="*/ 3 w 230"/>
                <a:gd name="T21" fmla="*/ 1 h 173"/>
                <a:gd name="T22" fmla="*/ 5 w 230"/>
                <a:gd name="T23" fmla="*/ 0 h 173"/>
                <a:gd name="T24" fmla="*/ 7 w 230"/>
                <a:gd name="T25" fmla="*/ 0 h 173"/>
                <a:gd name="T26" fmla="*/ 9 w 230"/>
                <a:gd name="T27" fmla="*/ 1 h 173"/>
                <a:gd name="T28" fmla="*/ 228 w 230"/>
                <a:gd name="T29" fmla="*/ 163 h 173"/>
                <a:gd name="T30" fmla="*/ 228 w 230"/>
                <a:gd name="T31" fmla="*/ 163 h 173"/>
                <a:gd name="T32" fmla="*/ 230 w 230"/>
                <a:gd name="T33" fmla="*/ 164 h 173"/>
                <a:gd name="T34" fmla="*/ 230 w 230"/>
                <a:gd name="T35" fmla="*/ 166 h 173"/>
                <a:gd name="T36" fmla="*/ 230 w 230"/>
                <a:gd name="T37" fmla="*/ 169 h 173"/>
                <a:gd name="T38" fmla="*/ 229 w 230"/>
                <a:gd name="T39" fmla="*/ 171 h 173"/>
                <a:gd name="T40" fmla="*/ 229 w 230"/>
                <a:gd name="T41" fmla="*/ 171 h 173"/>
                <a:gd name="T42" fmla="*/ 227 w 230"/>
                <a:gd name="T43" fmla="*/ 173 h 173"/>
                <a:gd name="T44" fmla="*/ 224 w 230"/>
                <a:gd name="T45" fmla="*/ 173 h 173"/>
                <a:gd name="T46" fmla="*/ 224 w 230"/>
                <a:gd name="T47"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0" h="173">
                  <a:moveTo>
                    <a:pt x="224" y="173"/>
                  </a:moveTo>
                  <a:lnTo>
                    <a:pt x="224" y="173"/>
                  </a:lnTo>
                  <a:lnTo>
                    <a:pt x="221" y="172"/>
                  </a:lnTo>
                  <a:lnTo>
                    <a:pt x="2" y="12"/>
                  </a:lnTo>
                  <a:lnTo>
                    <a:pt x="2" y="12"/>
                  </a:lnTo>
                  <a:lnTo>
                    <a:pt x="1" y="9"/>
                  </a:lnTo>
                  <a:lnTo>
                    <a:pt x="0" y="7"/>
                  </a:lnTo>
                  <a:lnTo>
                    <a:pt x="0" y="5"/>
                  </a:lnTo>
                  <a:lnTo>
                    <a:pt x="1" y="3"/>
                  </a:lnTo>
                  <a:lnTo>
                    <a:pt x="1" y="3"/>
                  </a:lnTo>
                  <a:lnTo>
                    <a:pt x="3" y="1"/>
                  </a:lnTo>
                  <a:lnTo>
                    <a:pt x="5" y="0"/>
                  </a:lnTo>
                  <a:lnTo>
                    <a:pt x="7" y="0"/>
                  </a:lnTo>
                  <a:lnTo>
                    <a:pt x="9" y="1"/>
                  </a:lnTo>
                  <a:lnTo>
                    <a:pt x="228" y="163"/>
                  </a:lnTo>
                  <a:lnTo>
                    <a:pt x="228" y="163"/>
                  </a:lnTo>
                  <a:lnTo>
                    <a:pt x="230" y="164"/>
                  </a:lnTo>
                  <a:lnTo>
                    <a:pt x="230" y="166"/>
                  </a:lnTo>
                  <a:lnTo>
                    <a:pt x="230" y="169"/>
                  </a:lnTo>
                  <a:lnTo>
                    <a:pt x="229" y="171"/>
                  </a:lnTo>
                  <a:lnTo>
                    <a:pt x="229" y="171"/>
                  </a:lnTo>
                  <a:lnTo>
                    <a:pt x="227" y="173"/>
                  </a:lnTo>
                  <a:lnTo>
                    <a:pt x="224" y="173"/>
                  </a:lnTo>
                  <a:lnTo>
                    <a:pt x="224" y="173"/>
                  </a:lnTo>
                  <a:close/>
                </a:path>
              </a:pathLst>
            </a:custGeom>
            <a:solidFill>
              <a:srgbClr val="C74018"/>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45" name="Freeform 372"/>
            <p:cNvSpPr>
              <a:spLocks/>
            </p:cNvSpPr>
            <p:nvPr/>
          </p:nvSpPr>
          <p:spPr bwMode="auto">
            <a:xfrm>
              <a:off x="1600746" y="4985973"/>
              <a:ext cx="176167" cy="374614"/>
            </a:xfrm>
            <a:custGeom>
              <a:avLst/>
              <a:gdLst>
                <a:gd name="T0" fmla="*/ 16 w 72"/>
                <a:gd name="T1" fmla="*/ 154 h 154"/>
                <a:gd name="T2" fmla="*/ 16 w 72"/>
                <a:gd name="T3" fmla="*/ 154 h 154"/>
                <a:gd name="T4" fmla="*/ 12 w 72"/>
                <a:gd name="T5" fmla="*/ 153 h 154"/>
                <a:gd name="T6" fmla="*/ 9 w 72"/>
                <a:gd name="T7" fmla="*/ 152 h 154"/>
                <a:gd name="T8" fmla="*/ 6 w 72"/>
                <a:gd name="T9" fmla="*/ 150 h 154"/>
                <a:gd name="T10" fmla="*/ 3 w 72"/>
                <a:gd name="T11" fmla="*/ 148 h 154"/>
                <a:gd name="T12" fmla="*/ 3 w 72"/>
                <a:gd name="T13" fmla="*/ 148 h 154"/>
                <a:gd name="T14" fmla="*/ 2 w 72"/>
                <a:gd name="T15" fmla="*/ 145 h 154"/>
                <a:gd name="T16" fmla="*/ 0 w 72"/>
                <a:gd name="T17" fmla="*/ 142 h 154"/>
                <a:gd name="T18" fmla="*/ 0 w 72"/>
                <a:gd name="T19" fmla="*/ 136 h 154"/>
                <a:gd name="T20" fmla="*/ 2 w 72"/>
                <a:gd name="T21" fmla="*/ 129 h 154"/>
                <a:gd name="T22" fmla="*/ 3 w 72"/>
                <a:gd name="T23" fmla="*/ 127 h 154"/>
                <a:gd name="T24" fmla="*/ 6 w 72"/>
                <a:gd name="T25" fmla="*/ 124 h 154"/>
                <a:gd name="T26" fmla="*/ 6 w 72"/>
                <a:gd name="T27" fmla="*/ 124 h 154"/>
                <a:gd name="T28" fmla="*/ 13 w 72"/>
                <a:gd name="T29" fmla="*/ 117 h 154"/>
                <a:gd name="T30" fmla="*/ 20 w 72"/>
                <a:gd name="T31" fmla="*/ 108 h 154"/>
                <a:gd name="T32" fmla="*/ 27 w 72"/>
                <a:gd name="T33" fmla="*/ 97 h 154"/>
                <a:gd name="T34" fmla="*/ 32 w 72"/>
                <a:gd name="T35" fmla="*/ 82 h 154"/>
                <a:gd name="T36" fmla="*/ 35 w 72"/>
                <a:gd name="T37" fmla="*/ 73 h 154"/>
                <a:gd name="T38" fmla="*/ 37 w 72"/>
                <a:gd name="T39" fmla="*/ 65 h 154"/>
                <a:gd name="T40" fmla="*/ 38 w 72"/>
                <a:gd name="T41" fmla="*/ 54 h 154"/>
                <a:gd name="T42" fmla="*/ 38 w 72"/>
                <a:gd name="T43" fmla="*/ 44 h 154"/>
                <a:gd name="T44" fmla="*/ 38 w 72"/>
                <a:gd name="T45" fmla="*/ 32 h 154"/>
                <a:gd name="T46" fmla="*/ 36 w 72"/>
                <a:gd name="T47" fmla="*/ 20 h 154"/>
                <a:gd name="T48" fmla="*/ 36 w 72"/>
                <a:gd name="T49" fmla="*/ 20 h 154"/>
                <a:gd name="T50" fmla="*/ 36 w 72"/>
                <a:gd name="T51" fmla="*/ 17 h 154"/>
                <a:gd name="T52" fmla="*/ 36 w 72"/>
                <a:gd name="T53" fmla="*/ 14 h 154"/>
                <a:gd name="T54" fmla="*/ 38 w 72"/>
                <a:gd name="T55" fmla="*/ 7 h 154"/>
                <a:gd name="T56" fmla="*/ 44 w 72"/>
                <a:gd name="T57" fmla="*/ 3 h 154"/>
                <a:gd name="T58" fmla="*/ 46 w 72"/>
                <a:gd name="T59" fmla="*/ 1 h 154"/>
                <a:gd name="T60" fmla="*/ 49 w 72"/>
                <a:gd name="T61" fmla="*/ 0 h 154"/>
                <a:gd name="T62" fmla="*/ 49 w 72"/>
                <a:gd name="T63" fmla="*/ 0 h 154"/>
                <a:gd name="T64" fmla="*/ 53 w 72"/>
                <a:gd name="T65" fmla="*/ 0 h 154"/>
                <a:gd name="T66" fmla="*/ 56 w 72"/>
                <a:gd name="T67" fmla="*/ 0 h 154"/>
                <a:gd name="T68" fmla="*/ 61 w 72"/>
                <a:gd name="T69" fmla="*/ 3 h 154"/>
                <a:gd name="T70" fmla="*/ 66 w 72"/>
                <a:gd name="T71" fmla="*/ 7 h 154"/>
                <a:gd name="T72" fmla="*/ 68 w 72"/>
                <a:gd name="T73" fmla="*/ 10 h 154"/>
                <a:gd name="T74" fmla="*/ 69 w 72"/>
                <a:gd name="T75" fmla="*/ 14 h 154"/>
                <a:gd name="T76" fmla="*/ 69 w 72"/>
                <a:gd name="T77" fmla="*/ 14 h 154"/>
                <a:gd name="T78" fmla="*/ 71 w 72"/>
                <a:gd name="T79" fmla="*/ 29 h 154"/>
                <a:gd name="T80" fmla="*/ 72 w 72"/>
                <a:gd name="T81" fmla="*/ 44 h 154"/>
                <a:gd name="T82" fmla="*/ 72 w 72"/>
                <a:gd name="T83" fmla="*/ 58 h 154"/>
                <a:gd name="T84" fmla="*/ 70 w 72"/>
                <a:gd name="T85" fmla="*/ 71 h 154"/>
                <a:gd name="T86" fmla="*/ 66 w 72"/>
                <a:gd name="T87" fmla="*/ 83 h 154"/>
                <a:gd name="T88" fmla="*/ 63 w 72"/>
                <a:gd name="T89" fmla="*/ 95 h 154"/>
                <a:gd name="T90" fmla="*/ 59 w 72"/>
                <a:gd name="T91" fmla="*/ 104 h 154"/>
                <a:gd name="T92" fmla="*/ 55 w 72"/>
                <a:gd name="T93" fmla="*/ 114 h 154"/>
                <a:gd name="T94" fmla="*/ 46 w 72"/>
                <a:gd name="T95" fmla="*/ 129 h 154"/>
                <a:gd name="T96" fmla="*/ 36 w 72"/>
                <a:gd name="T97" fmla="*/ 140 h 154"/>
                <a:gd name="T98" fmla="*/ 30 w 72"/>
                <a:gd name="T99" fmla="*/ 147 h 154"/>
                <a:gd name="T100" fmla="*/ 27 w 72"/>
                <a:gd name="T101" fmla="*/ 150 h 154"/>
                <a:gd name="T102" fmla="*/ 27 w 72"/>
                <a:gd name="T103" fmla="*/ 150 h 154"/>
                <a:gd name="T104" fmla="*/ 22 w 72"/>
                <a:gd name="T105" fmla="*/ 153 h 154"/>
                <a:gd name="T106" fmla="*/ 16 w 72"/>
                <a:gd name="T107" fmla="*/ 154 h 154"/>
                <a:gd name="T108" fmla="*/ 16 w 72"/>
                <a:gd name="T109"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2" h="154">
                  <a:moveTo>
                    <a:pt x="16" y="154"/>
                  </a:moveTo>
                  <a:lnTo>
                    <a:pt x="16" y="154"/>
                  </a:lnTo>
                  <a:lnTo>
                    <a:pt x="12" y="153"/>
                  </a:lnTo>
                  <a:lnTo>
                    <a:pt x="9" y="152"/>
                  </a:lnTo>
                  <a:lnTo>
                    <a:pt x="6" y="150"/>
                  </a:lnTo>
                  <a:lnTo>
                    <a:pt x="3" y="148"/>
                  </a:lnTo>
                  <a:lnTo>
                    <a:pt x="3" y="148"/>
                  </a:lnTo>
                  <a:lnTo>
                    <a:pt x="2" y="145"/>
                  </a:lnTo>
                  <a:lnTo>
                    <a:pt x="0" y="142"/>
                  </a:lnTo>
                  <a:lnTo>
                    <a:pt x="0" y="136"/>
                  </a:lnTo>
                  <a:lnTo>
                    <a:pt x="2" y="129"/>
                  </a:lnTo>
                  <a:lnTo>
                    <a:pt x="3" y="127"/>
                  </a:lnTo>
                  <a:lnTo>
                    <a:pt x="6" y="124"/>
                  </a:lnTo>
                  <a:lnTo>
                    <a:pt x="6" y="124"/>
                  </a:lnTo>
                  <a:lnTo>
                    <a:pt x="13" y="117"/>
                  </a:lnTo>
                  <a:lnTo>
                    <a:pt x="20" y="108"/>
                  </a:lnTo>
                  <a:lnTo>
                    <a:pt x="27" y="97"/>
                  </a:lnTo>
                  <a:lnTo>
                    <a:pt x="32" y="82"/>
                  </a:lnTo>
                  <a:lnTo>
                    <a:pt x="35" y="73"/>
                  </a:lnTo>
                  <a:lnTo>
                    <a:pt x="37" y="65"/>
                  </a:lnTo>
                  <a:lnTo>
                    <a:pt x="38" y="54"/>
                  </a:lnTo>
                  <a:lnTo>
                    <a:pt x="38" y="44"/>
                  </a:lnTo>
                  <a:lnTo>
                    <a:pt x="38" y="32"/>
                  </a:lnTo>
                  <a:lnTo>
                    <a:pt x="36" y="20"/>
                  </a:lnTo>
                  <a:lnTo>
                    <a:pt x="36" y="20"/>
                  </a:lnTo>
                  <a:lnTo>
                    <a:pt x="36" y="17"/>
                  </a:lnTo>
                  <a:lnTo>
                    <a:pt x="36" y="14"/>
                  </a:lnTo>
                  <a:lnTo>
                    <a:pt x="38" y="7"/>
                  </a:lnTo>
                  <a:lnTo>
                    <a:pt x="44" y="3"/>
                  </a:lnTo>
                  <a:lnTo>
                    <a:pt x="46" y="1"/>
                  </a:lnTo>
                  <a:lnTo>
                    <a:pt x="49" y="0"/>
                  </a:lnTo>
                  <a:lnTo>
                    <a:pt x="49" y="0"/>
                  </a:lnTo>
                  <a:lnTo>
                    <a:pt x="53" y="0"/>
                  </a:lnTo>
                  <a:lnTo>
                    <a:pt x="56" y="0"/>
                  </a:lnTo>
                  <a:lnTo>
                    <a:pt x="61" y="3"/>
                  </a:lnTo>
                  <a:lnTo>
                    <a:pt x="66" y="7"/>
                  </a:lnTo>
                  <a:lnTo>
                    <a:pt x="68" y="10"/>
                  </a:lnTo>
                  <a:lnTo>
                    <a:pt x="69" y="14"/>
                  </a:lnTo>
                  <a:lnTo>
                    <a:pt x="69" y="14"/>
                  </a:lnTo>
                  <a:lnTo>
                    <a:pt x="71" y="29"/>
                  </a:lnTo>
                  <a:lnTo>
                    <a:pt x="72" y="44"/>
                  </a:lnTo>
                  <a:lnTo>
                    <a:pt x="72" y="58"/>
                  </a:lnTo>
                  <a:lnTo>
                    <a:pt x="70" y="71"/>
                  </a:lnTo>
                  <a:lnTo>
                    <a:pt x="66" y="83"/>
                  </a:lnTo>
                  <a:lnTo>
                    <a:pt x="63" y="95"/>
                  </a:lnTo>
                  <a:lnTo>
                    <a:pt x="59" y="104"/>
                  </a:lnTo>
                  <a:lnTo>
                    <a:pt x="55" y="114"/>
                  </a:lnTo>
                  <a:lnTo>
                    <a:pt x="46" y="129"/>
                  </a:lnTo>
                  <a:lnTo>
                    <a:pt x="36" y="140"/>
                  </a:lnTo>
                  <a:lnTo>
                    <a:pt x="30" y="147"/>
                  </a:lnTo>
                  <a:lnTo>
                    <a:pt x="27" y="150"/>
                  </a:lnTo>
                  <a:lnTo>
                    <a:pt x="27" y="150"/>
                  </a:lnTo>
                  <a:lnTo>
                    <a:pt x="22" y="153"/>
                  </a:lnTo>
                  <a:lnTo>
                    <a:pt x="16" y="154"/>
                  </a:lnTo>
                  <a:lnTo>
                    <a:pt x="16" y="154"/>
                  </a:lnTo>
                  <a:close/>
                </a:path>
              </a:pathLst>
            </a:custGeom>
            <a:solidFill>
              <a:srgbClr val="C74018"/>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46" name="Freeform 373"/>
            <p:cNvSpPr>
              <a:spLocks/>
            </p:cNvSpPr>
            <p:nvPr/>
          </p:nvSpPr>
          <p:spPr bwMode="auto">
            <a:xfrm>
              <a:off x="1726126" y="4985973"/>
              <a:ext cx="176166" cy="382551"/>
            </a:xfrm>
            <a:custGeom>
              <a:avLst/>
              <a:gdLst>
                <a:gd name="T0" fmla="*/ 37 w 73"/>
                <a:gd name="T1" fmla="*/ 158 h 158"/>
                <a:gd name="T2" fmla="*/ 27 w 73"/>
                <a:gd name="T3" fmla="*/ 154 h 158"/>
                <a:gd name="T4" fmla="*/ 25 w 73"/>
                <a:gd name="T5" fmla="*/ 152 h 158"/>
                <a:gd name="T6" fmla="*/ 21 w 73"/>
                <a:gd name="T7" fmla="*/ 144 h 158"/>
                <a:gd name="T8" fmla="*/ 23 w 73"/>
                <a:gd name="T9" fmla="*/ 134 h 158"/>
                <a:gd name="T10" fmla="*/ 25 w 73"/>
                <a:gd name="T11" fmla="*/ 131 h 158"/>
                <a:gd name="T12" fmla="*/ 33 w 73"/>
                <a:gd name="T13" fmla="*/ 116 h 158"/>
                <a:gd name="T14" fmla="*/ 38 w 73"/>
                <a:gd name="T15" fmla="*/ 100 h 158"/>
                <a:gd name="T16" fmla="*/ 39 w 73"/>
                <a:gd name="T17" fmla="*/ 81 h 158"/>
                <a:gd name="T18" fmla="*/ 38 w 73"/>
                <a:gd name="T19" fmla="*/ 74 h 158"/>
                <a:gd name="T20" fmla="*/ 33 w 73"/>
                <a:gd name="T21" fmla="*/ 60 h 158"/>
                <a:gd name="T22" fmla="*/ 25 w 73"/>
                <a:gd name="T23" fmla="*/ 48 h 158"/>
                <a:gd name="T24" fmla="*/ 13 w 73"/>
                <a:gd name="T25" fmla="*/ 35 h 158"/>
                <a:gd name="T26" fmla="*/ 6 w 73"/>
                <a:gd name="T27" fmla="*/ 30 h 158"/>
                <a:gd name="T28" fmla="*/ 2 w 73"/>
                <a:gd name="T29" fmla="*/ 25 h 158"/>
                <a:gd name="T30" fmla="*/ 1 w 73"/>
                <a:gd name="T31" fmla="*/ 13 h 158"/>
                <a:gd name="T32" fmla="*/ 3 w 73"/>
                <a:gd name="T33" fmla="*/ 6 h 158"/>
                <a:gd name="T34" fmla="*/ 6 w 73"/>
                <a:gd name="T35" fmla="*/ 4 h 158"/>
                <a:gd name="T36" fmla="*/ 14 w 73"/>
                <a:gd name="T37" fmla="*/ 0 h 158"/>
                <a:gd name="T38" fmla="*/ 24 w 73"/>
                <a:gd name="T39" fmla="*/ 2 h 158"/>
                <a:gd name="T40" fmla="*/ 27 w 73"/>
                <a:gd name="T41" fmla="*/ 3 h 158"/>
                <a:gd name="T42" fmla="*/ 45 w 73"/>
                <a:gd name="T43" fmla="*/ 20 h 158"/>
                <a:gd name="T44" fmla="*/ 58 w 73"/>
                <a:gd name="T45" fmla="*/ 39 h 158"/>
                <a:gd name="T46" fmla="*/ 68 w 73"/>
                <a:gd name="T47" fmla="*/ 57 h 158"/>
                <a:gd name="T48" fmla="*/ 73 w 73"/>
                <a:gd name="T49" fmla="*/ 77 h 158"/>
                <a:gd name="T50" fmla="*/ 73 w 73"/>
                <a:gd name="T51" fmla="*/ 85 h 158"/>
                <a:gd name="T52" fmla="*/ 71 w 73"/>
                <a:gd name="T53" fmla="*/ 106 h 158"/>
                <a:gd name="T54" fmla="*/ 63 w 73"/>
                <a:gd name="T55" fmla="*/ 130 h 158"/>
                <a:gd name="T56" fmla="*/ 55 w 73"/>
                <a:gd name="T57" fmla="*/ 146 h 158"/>
                <a:gd name="T58" fmla="*/ 50 w 73"/>
                <a:gd name="T59" fmla="*/ 152 h 158"/>
                <a:gd name="T60" fmla="*/ 45 w 73"/>
                <a:gd name="T61" fmla="*/ 156 h 158"/>
                <a:gd name="T62" fmla="*/ 37 w 73"/>
                <a:gd name="T63"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3" h="158">
                  <a:moveTo>
                    <a:pt x="37" y="158"/>
                  </a:moveTo>
                  <a:lnTo>
                    <a:pt x="37" y="158"/>
                  </a:lnTo>
                  <a:lnTo>
                    <a:pt x="32" y="157"/>
                  </a:lnTo>
                  <a:lnTo>
                    <a:pt x="27" y="154"/>
                  </a:lnTo>
                  <a:lnTo>
                    <a:pt x="27" y="154"/>
                  </a:lnTo>
                  <a:lnTo>
                    <a:pt x="25" y="152"/>
                  </a:lnTo>
                  <a:lnTo>
                    <a:pt x="23" y="149"/>
                  </a:lnTo>
                  <a:lnTo>
                    <a:pt x="21" y="144"/>
                  </a:lnTo>
                  <a:lnTo>
                    <a:pt x="22" y="138"/>
                  </a:lnTo>
                  <a:lnTo>
                    <a:pt x="23" y="134"/>
                  </a:lnTo>
                  <a:lnTo>
                    <a:pt x="25" y="131"/>
                  </a:lnTo>
                  <a:lnTo>
                    <a:pt x="25" y="131"/>
                  </a:lnTo>
                  <a:lnTo>
                    <a:pt x="28" y="127"/>
                  </a:lnTo>
                  <a:lnTo>
                    <a:pt x="33" y="116"/>
                  </a:lnTo>
                  <a:lnTo>
                    <a:pt x="36" y="108"/>
                  </a:lnTo>
                  <a:lnTo>
                    <a:pt x="38" y="100"/>
                  </a:lnTo>
                  <a:lnTo>
                    <a:pt x="39" y="91"/>
                  </a:lnTo>
                  <a:lnTo>
                    <a:pt x="39" y="81"/>
                  </a:lnTo>
                  <a:lnTo>
                    <a:pt x="39" y="81"/>
                  </a:lnTo>
                  <a:lnTo>
                    <a:pt x="38" y="74"/>
                  </a:lnTo>
                  <a:lnTo>
                    <a:pt x="36" y="68"/>
                  </a:lnTo>
                  <a:lnTo>
                    <a:pt x="33" y="60"/>
                  </a:lnTo>
                  <a:lnTo>
                    <a:pt x="29" y="54"/>
                  </a:lnTo>
                  <a:lnTo>
                    <a:pt x="25" y="48"/>
                  </a:lnTo>
                  <a:lnTo>
                    <a:pt x="20" y="42"/>
                  </a:lnTo>
                  <a:lnTo>
                    <a:pt x="13" y="35"/>
                  </a:lnTo>
                  <a:lnTo>
                    <a:pt x="6" y="30"/>
                  </a:lnTo>
                  <a:lnTo>
                    <a:pt x="6" y="30"/>
                  </a:lnTo>
                  <a:lnTo>
                    <a:pt x="4" y="27"/>
                  </a:lnTo>
                  <a:lnTo>
                    <a:pt x="2" y="25"/>
                  </a:lnTo>
                  <a:lnTo>
                    <a:pt x="0" y="19"/>
                  </a:lnTo>
                  <a:lnTo>
                    <a:pt x="1" y="13"/>
                  </a:lnTo>
                  <a:lnTo>
                    <a:pt x="2" y="9"/>
                  </a:lnTo>
                  <a:lnTo>
                    <a:pt x="3" y="6"/>
                  </a:lnTo>
                  <a:lnTo>
                    <a:pt x="3" y="6"/>
                  </a:lnTo>
                  <a:lnTo>
                    <a:pt x="6" y="4"/>
                  </a:lnTo>
                  <a:lnTo>
                    <a:pt x="8" y="2"/>
                  </a:lnTo>
                  <a:lnTo>
                    <a:pt x="14" y="0"/>
                  </a:lnTo>
                  <a:lnTo>
                    <a:pt x="21" y="1"/>
                  </a:lnTo>
                  <a:lnTo>
                    <a:pt x="24" y="2"/>
                  </a:lnTo>
                  <a:lnTo>
                    <a:pt x="27" y="3"/>
                  </a:lnTo>
                  <a:lnTo>
                    <a:pt x="27" y="3"/>
                  </a:lnTo>
                  <a:lnTo>
                    <a:pt x="36" y="11"/>
                  </a:lnTo>
                  <a:lnTo>
                    <a:pt x="45" y="20"/>
                  </a:lnTo>
                  <a:lnTo>
                    <a:pt x="52" y="29"/>
                  </a:lnTo>
                  <a:lnTo>
                    <a:pt x="58" y="39"/>
                  </a:lnTo>
                  <a:lnTo>
                    <a:pt x="63" y="48"/>
                  </a:lnTo>
                  <a:lnTo>
                    <a:pt x="68" y="57"/>
                  </a:lnTo>
                  <a:lnTo>
                    <a:pt x="71" y="67"/>
                  </a:lnTo>
                  <a:lnTo>
                    <a:pt x="73" y="77"/>
                  </a:lnTo>
                  <a:lnTo>
                    <a:pt x="73" y="77"/>
                  </a:lnTo>
                  <a:lnTo>
                    <a:pt x="73" y="85"/>
                  </a:lnTo>
                  <a:lnTo>
                    <a:pt x="73" y="93"/>
                  </a:lnTo>
                  <a:lnTo>
                    <a:pt x="71" y="106"/>
                  </a:lnTo>
                  <a:lnTo>
                    <a:pt x="68" y="119"/>
                  </a:lnTo>
                  <a:lnTo>
                    <a:pt x="63" y="130"/>
                  </a:lnTo>
                  <a:lnTo>
                    <a:pt x="59" y="139"/>
                  </a:lnTo>
                  <a:lnTo>
                    <a:pt x="55" y="146"/>
                  </a:lnTo>
                  <a:lnTo>
                    <a:pt x="50" y="152"/>
                  </a:lnTo>
                  <a:lnTo>
                    <a:pt x="50" y="152"/>
                  </a:lnTo>
                  <a:lnTo>
                    <a:pt x="48" y="155"/>
                  </a:lnTo>
                  <a:lnTo>
                    <a:pt x="45" y="156"/>
                  </a:lnTo>
                  <a:lnTo>
                    <a:pt x="42" y="158"/>
                  </a:lnTo>
                  <a:lnTo>
                    <a:pt x="37" y="158"/>
                  </a:lnTo>
                  <a:lnTo>
                    <a:pt x="37" y="158"/>
                  </a:lnTo>
                  <a:close/>
                </a:path>
              </a:pathLst>
            </a:custGeom>
            <a:solidFill>
              <a:srgbClr val="C74018"/>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47" name="Freeform 374"/>
            <p:cNvSpPr>
              <a:spLocks/>
            </p:cNvSpPr>
            <p:nvPr/>
          </p:nvSpPr>
          <p:spPr bwMode="auto">
            <a:xfrm>
              <a:off x="2019737" y="5178042"/>
              <a:ext cx="374553" cy="182546"/>
            </a:xfrm>
            <a:custGeom>
              <a:avLst/>
              <a:gdLst>
                <a:gd name="T0" fmla="*/ 0 w 154"/>
                <a:gd name="T1" fmla="*/ 77 h 77"/>
                <a:gd name="T2" fmla="*/ 0 w 154"/>
                <a:gd name="T3" fmla="*/ 77 h 77"/>
                <a:gd name="T4" fmla="*/ 0 w 154"/>
                <a:gd name="T5" fmla="*/ 73 h 77"/>
                <a:gd name="T6" fmla="*/ 0 w 154"/>
                <a:gd name="T7" fmla="*/ 65 h 77"/>
                <a:gd name="T8" fmla="*/ 1 w 154"/>
                <a:gd name="T9" fmla="*/ 61 h 77"/>
                <a:gd name="T10" fmla="*/ 2 w 154"/>
                <a:gd name="T11" fmla="*/ 58 h 77"/>
                <a:gd name="T12" fmla="*/ 4 w 154"/>
                <a:gd name="T13" fmla="*/ 54 h 77"/>
                <a:gd name="T14" fmla="*/ 8 w 154"/>
                <a:gd name="T15" fmla="*/ 53 h 77"/>
                <a:gd name="T16" fmla="*/ 8 w 154"/>
                <a:gd name="T17" fmla="*/ 53 h 77"/>
                <a:gd name="T18" fmla="*/ 16 w 154"/>
                <a:gd name="T19" fmla="*/ 53 h 77"/>
                <a:gd name="T20" fmla="*/ 26 w 154"/>
                <a:gd name="T21" fmla="*/ 51 h 77"/>
                <a:gd name="T22" fmla="*/ 30 w 154"/>
                <a:gd name="T23" fmla="*/ 49 h 77"/>
                <a:gd name="T24" fmla="*/ 33 w 154"/>
                <a:gd name="T25" fmla="*/ 46 h 77"/>
                <a:gd name="T26" fmla="*/ 35 w 154"/>
                <a:gd name="T27" fmla="*/ 43 h 77"/>
                <a:gd name="T28" fmla="*/ 37 w 154"/>
                <a:gd name="T29" fmla="*/ 40 h 77"/>
                <a:gd name="T30" fmla="*/ 37 w 154"/>
                <a:gd name="T31" fmla="*/ 40 h 77"/>
                <a:gd name="T32" fmla="*/ 39 w 154"/>
                <a:gd name="T33" fmla="*/ 29 h 77"/>
                <a:gd name="T34" fmla="*/ 46 w 154"/>
                <a:gd name="T35" fmla="*/ 16 h 77"/>
                <a:gd name="T36" fmla="*/ 49 w 154"/>
                <a:gd name="T37" fmla="*/ 11 h 77"/>
                <a:gd name="T38" fmla="*/ 52 w 154"/>
                <a:gd name="T39" fmla="*/ 6 h 77"/>
                <a:gd name="T40" fmla="*/ 56 w 154"/>
                <a:gd name="T41" fmla="*/ 3 h 77"/>
                <a:gd name="T42" fmla="*/ 57 w 154"/>
                <a:gd name="T43" fmla="*/ 3 h 77"/>
                <a:gd name="T44" fmla="*/ 59 w 154"/>
                <a:gd name="T45" fmla="*/ 3 h 77"/>
                <a:gd name="T46" fmla="*/ 59 w 154"/>
                <a:gd name="T47" fmla="*/ 3 h 77"/>
                <a:gd name="T48" fmla="*/ 63 w 154"/>
                <a:gd name="T49" fmla="*/ 4 h 77"/>
                <a:gd name="T50" fmla="*/ 66 w 154"/>
                <a:gd name="T51" fmla="*/ 4 h 77"/>
                <a:gd name="T52" fmla="*/ 75 w 154"/>
                <a:gd name="T53" fmla="*/ 2 h 77"/>
                <a:gd name="T54" fmla="*/ 84 w 154"/>
                <a:gd name="T55" fmla="*/ 0 h 77"/>
                <a:gd name="T56" fmla="*/ 89 w 154"/>
                <a:gd name="T57" fmla="*/ 0 h 77"/>
                <a:gd name="T58" fmla="*/ 97 w 154"/>
                <a:gd name="T59" fmla="*/ 0 h 77"/>
                <a:gd name="T60" fmla="*/ 97 w 154"/>
                <a:gd name="T61" fmla="*/ 0 h 77"/>
                <a:gd name="T62" fmla="*/ 102 w 154"/>
                <a:gd name="T63" fmla="*/ 2 h 77"/>
                <a:gd name="T64" fmla="*/ 107 w 154"/>
                <a:gd name="T65" fmla="*/ 5 h 77"/>
                <a:gd name="T66" fmla="*/ 110 w 154"/>
                <a:gd name="T67" fmla="*/ 10 h 77"/>
                <a:gd name="T68" fmla="*/ 113 w 154"/>
                <a:gd name="T69" fmla="*/ 15 h 77"/>
                <a:gd name="T70" fmla="*/ 116 w 154"/>
                <a:gd name="T71" fmla="*/ 20 h 77"/>
                <a:gd name="T72" fmla="*/ 120 w 154"/>
                <a:gd name="T73" fmla="*/ 24 h 77"/>
                <a:gd name="T74" fmla="*/ 124 w 154"/>
                <a:gd name="T75" fmla="*/ 28 h 77"/>
                <a:gd name="T76" fmla="*/ 130 w 154"/>
                <a:gd name="T77" fmla="*/ 30 h 77"/>
                <a:gd name="T78" fmla="*/ 130 w 154"/>
                <a:gd name="T79" fmla="*/ 30 h 77"/>
                <a:gd name="T80" fmla="*/ 137 w 154"/>
                <a:gd name="T81" fmla="*/ 33 h 77"/>
                <a:gd name="T82" fmla="*/ 142 w 154"/>
                <a:gd name="T83" fmla="*/ 35 h 77"/>
                <a:gd name="T84" fmla="*/ 147 w 154"/>
                <a:gd name="T85" fmla="*/ 38 h 77"/>
                <a:gd name="T86" fmla="*/ 150 w 154"/>
                <a:gd name="T87" fmla="*/ 41 h 77"/>
                <a:gd name="T88" fmla="*/ 152 w 154"/>
                <a:gd name="T89" fmla="*/ 44 h 77"/>
                <a:gd name="T90" fmla="*/ 153 w 154"/>
                <a:gd name="T91" fmla="*/ 47 h 77"/>
                <a:gd name="T92" fmla="*/ 154 w 154"/>
                <a:gd name="T93" fmla="*/ 54 h 77"/>
                <a:gd name="T94" fmla="*/ 154 w 154"/>
                <a:gd name="T95" fmla="*/ 54 h 77"/>
                <a:gd name="T96" fmla="*/ 154 w 154"/>
                <a:gd name="T97" fmla="*/ 77 h 77"/>
                <a:gd name="T98" fmla="*/ 0 w 154"/>
                <a:gd name="T9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4" h="77">
                  <a:moveTo>
                    <a:pt x="0" y="77"/>
                  </a:moveTo>
                  <a:lnTo>
                    <a:pt x="0" y="77"/>
                  </a:lnTo>
                  <a:lnTo>
                    <a:pt x="0" y="73"/>
                  </a:lnTo>
                  <a:lnTo>
                    <a:pt x="0" y="65"/>
                  </a:lnTo>
                  <a:lnTo>
                    <a:pt x="1" y="61"/>
                  </a:lnTo>
                  <a:lnTo>
                    <a:pt x="2" y="58"/>
                  </a:lnTo>
                  <a:lnTo>
                    <a:pt x="4" y="54"/>
                  </a:lnTo>
                  <a:lnTo>
                    <a:pt x="8" y="53"/>
                  </a:lnTo>
                  <a:lnTo>
                    <a:pt x="8" y="53"/>
                  </a:lnTo>
                  <a:lnTo>
                    <a:pt x="16" y="53"/>
                  </a:lnTo>
                  <a:lnTo>
                    <a:pt x="26" y="51"/>
                  </a:lnTo>
                  <a:lnTo>
                    <a:pt x="30" y="49"/>
                  </a:lnTo>
                  <a:lnTo>
                    <a:pt x="33" y="46"/>
                  </a:lnTo>
                  <a:lnTo>
                    <a:pt x="35" y="43"/>
                  </a:lnTo>
                  <a:lnTo>
                    <a:pt x="37" y="40"/>
                  </a:lnTo>
                  <a:lnTo>
                    <a:pt x="37" y="40"/>
                  </a:lnTo>
                  <a:lnTo>
                    <a:pt x="39" y="29"/>
                  </a:lnTo>
                  <a:lnTo>
                    <a:pt x="46" y="16"/>
                  </a:lnTo>
                  <a:lnTo>
                    <a:pt x="49" y="11"/>
                  </a:lnTo>
                  <a:lnTo>
                    <a:pt x="52" y="6"/>
                  </a:lnTo>
                  <a:lnTo>
                    <a:pt x="56" y="3"/>
                  </a:lnTo>
                  <a:lnTo>
                    <a:pt x="57" y="3"/>
                  </a:lnTo>
                  <a:lnTo>
                    <a:pt x="59" y="3"/>
                  </a:lnTo>
                  <a:lnTo>
                    <a:pt x="59" y="3"/>
                  </a:lnTo>
                  <a:lnTo>
                    <a:pt x="63" y="4"/>
                  </a:lnTo>
                  <a:lnTo>
                    <a:pt x="66" y="4"/>
                  </a:lnTo>
                  <a:lnTo>
                    <a:pt x="75" y="2"/>
                  </a:lnTo>
                  <a:lnTo>
                    <a:pt x="84" y="0"/>
                  </a:lnTo>
                  <a:lnTo>
                    <a:pt x="89" y="0"/>
                  </a:lnTo>
                  <a:lnTo>
                    <a:pt x="97" y="0"/>
                  </a:lnTo>
                  <a:lnTo>
                    <a:pt x="97" y="0"/>
                  </a:lnTo>
                  <a:lnTo>
                    <a:pt x="102" y="2"/>
                  </a:lnTo>
                  <a:lnTo>
                    <a:pt x="107" y="5"/>
                  </a:lnTo>
                  <a:lnTo>
                    <a:pt x="110" y="10"/>
                  </a:lnTo>
                  <a:lnTo>
                    <a:pt x="113" y="15"/>
                  </a:lnTo>
                  <a:lnTo>
                    <a:pt x="116" y="20"/>
                  </a:lnTo>
                  <a:lnTo>
                    <a:pt x="120" y="24"/>
                  </a:lnTo>
                  <a:lnTo>
                    <a:pt x="124" y="28"/>
                  </a:lnTo>
                  <a:lnTo>
                    <a:pt x="130" y="30"/>
                  </a:lnTo>
                  <a:lnTo>
                    <a:pt x="130" y="30"/>
                  </a:lnTo>
                  <a:lnTo>
                    <a:pt x="137" y="33"/>
                  </a:lnTo>
                  <a:lnTo>
                    <a:pt x="142" y="35"/>
                  </a:lnTo>
                  <a:lnTo>
                    <a:pt x="147" y="38"/>
                  </a:lnTo>
                  <a:lnTo>
                    <a:pt x="150" y="41"/>
                  </a:lnTo>
                  <a:lnTo>
                    <a:pt x="152" y="44"/>
                  </a:lnTo>
                  <a:lnTo>
                    <a:pt x="153" y="47"/>
                  </a:lnTo>
                  <a:lnTo>
                    <a:pt x="154" y="54"/>
                  </a:lnTo>
                  <a:lnTo>
                    <a:pt x="154" y="54"/>
                  </a:lnTo>
                  <a:lnTo>
                    <a:pt x="154" y="77"/>
                  </a:lnTo>
                  <a:lnTo>
                    <a:pt x="0" y="77"/>
                  </a:lnTo>
                  <a:close/>
                </a:path>
              </a:pathLst>
            </a:custGeom>
            <a:solidFill>
              <a:srgbClr val="56534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48" name="Freeform 375"/>
            <p:cNvSpPr>
              <a:spLocks/>
            </p:cNvSpPr>
            <p:nvPr/>
          </p:nvSpPr>
          <p:spPr bwMode="auto">
            <a:xfrm>
              <a:off x="1924512" y="5178042"/>
              <a:ext cx="380901" cy="182546"/>
            </a:xfrm>
            <a:custGeom>
              <a:avLst/>
              <a:gdLst>
                <a:gd name="T0" fmla="*/ 1 w 155"/>
                <a:gd name="T1" fmla="*/ 77 h 77"/>
                <a:gd name="T2" fmla="*/ 1 w 155"/>
                <a:gd name="T3" fmla="*/ 77 h 77"/>
                <a:gd name="T4" fmla="*/ 0 w 155"/>
                <a:gd name="T5" fmla="*/ 73 h 77"/>
                <a:gd name="T6" fmla="*/ 0 w 155"/>
                <a:gd name="T7" fmla="*/ 65 h 77"/>
                <a:gd name="T8" fmla="*/ 1 w 155"/>
                <a:gd name="T9" fmla="*/ 61 h 77"/>
                <a:gd name="T10" fmla="*/ 3 w 155"/>
                <a:gd name="T11" fmla="*/ 58 h 77"/>
                <a:gd name="T12" fmla="*/ 5 w 155"/>
                <a:gd name="T13" fmla="*/ 54 h 77"/>
                <a:gd name="T14" fmla="*/ 9 w 155"/>
                <a:gd name="T15" fmla="*/ 53 h 77"/>
                <a:gd name="T16" fmla="*/ 9 w 155"/>
                <a:gd name="T17" fmla="*/ 53 h 77"/>
                <a:gd name="T18" fmla="*/ 18 w 155"/>
                <a:gd name="T19" fmla="*/ 53 h 77"/>
                <a:gd name="T20" fmla="*/ 27 w 155"/>
                <a:gd name="T21" fmla="*/ 51 h 77"/>
                <a:gd name="T22" fmla="*/ 30 w 155"/>
                <a:gd name="T23" fmla="*/ 49 h 77"/>
                <a:gd name="T24" fmla="*/ 35 w 155"/>
                <a:gd name="T25" fmla="*/ 46 h 77"/>
                <a:gd name="T26" fmla="*/ 37 w 155"/>
                <a:gd name="T27" fmla="*/ 43 h 77"/>
                <a:gd name="T28" fmla="*/ 38 w 155"/>
                <a:gd name="T29" fmla="*/ 40 h 77"/>
                <a:gd name="T30" fmla="*/ 38 w 155"/>
                <a:gd name="T31" fmla="*/ 40 h 77"/>
                <a:gd name="T32" fmla="*/ 39 w 155"/>
                <a:gd name="T33" fmla="*/ 36 h 77"/>
                <a:gd name="T34" fmla="*/ 41 w 155"/>
                <a:gd name="T35" fmla="*/ 33 h 77"/>
                <a:gd name="T36" fmla="*/ 43 w 155"/>
                <a:gd name="T37" fmla="*/ 29 h 77"/>
                <a:gd name="T38" fmla="*/ 45 w 155"/>
                <a:gd name="T39" fmla="*/ 28 h 77"/>
                <a:gd name="T40" fmla="*/ 48 w 155"/>
                <a:gd name="T41" fmla="*/ 26 h 77"/>
                <a:gd name="T42" fmla="*/ 52 w 155"/>
                <a:gd name="T43" fmla="*/ 26 h 77"/>
                <a:gd name="T44" fmla="*/ 55 w 155"/>
                <a:gd name="T45" fmla="*/ 26 h 77"/>
                <a:gd name="T46" fmla="*/ 59 w 155"/>
                <a:gd name="T47" fmla="*/ 26 h 77"/>
                <a:gd name="T48" fmla="*/ 59 w 155"/>
                <a:gd name="T49" fmla="*/ 26 h 77"/>
                <a:gd name="T50" fmla="*/ 61 w 155"/>
                <a:gd name="T51" fmla="*/ 26 h 77"/>
                <a:gd name="T52" fmla="*/ 63 w 155"/>
                <a:gd name="T53" fmla="*/ 26 h 77"/>
                <a:gd name="T54" fmla="*/ 67 w 155"/>
                <a:gd name="T55" fmla="*/ 23 h 77"/>
                <a:gd name="T56" fmla="*/ 75 w 155"/>
                <a:gd name="T57" fmla="*/ 14 h 77"/>
                <a:gd name="T58" fmla="*/ 79 w 155"/>
                <a:gd name="T59" fmla="*/ 9 h 77"/>
                <a:gd name="T60" fmla="*/ 85 w 155"/>
                <a:gd name="T61" fmla="*/ 4 h 77"/>
                <a:gd name="T62" fmla="*/ 91 w 155"/>
                <a:gd name="T63" fmla="*/ 1 h 77"/>
                <a:gd name="T64" fmla="*/ 94 w 155"/>
                <a:gd name="T65" fmla="*/ 0 h 77"/>
                <a:gd name="T66" fmla="*/ 97 w 155"/>
                <a:gd name="T67" fmla="*/ 0 h 77"/>
                <a:gd name="T68" fmla="*/ 97 w 155"/>
                <a:gd name="T69" fmla="*/ 0 h 77"/>
                <a:gd name="T70" fmla="*/ 103 w 155"/>
                <a:gd name="T71" fmla="*/ 2 h 77"/>
                <a:gd name="T72" fmla="*/ 108 w 155"/>
                <a:gd name="T73" fmla="*/ 5 h 77"/>
                <a:gd name="T74" fmla="*/ 112 w 155"/>
                <a:gd name="T75" fmla="*/ 10 h 77"/>
                <a:gd name="T76" fmla="*/ 115 w 155"/>
                <a:gd name="T77" fmla="*/ 15 h 77"/>
                <a:gd name="T78" fmla="*/ 117 w 155"/>
                <a:gd name="T79" fmla="*/ 20 h 77"/>
                <a:gd name="T80" fmla="*/ 121 w 155"/>
                <a:gd name="T81" fmla="*/ 24 h 77"/>
                <a:gd name="T82" fmla="*/ 125 w 155"/>
                <a:gd name="T83" fmla="*/ 28 h 77"/>
                <a:gd name="T84" fmla="*/ 132 w 155"/>
                <a:gd name="T85" fmla="*/ 30 h 77"/>
                <a:gd name="T86" fmla="*/ 132 w 155"/>
                <a:gd name="T87" fmla="*/ 30 h 77"/>
                <a:gd name="T88" fmla="*/ 138 w 155"/>
                <a:gd name="T89" fmla="*/ 33 h 77"/>
                <a:gd name="T90" fmla="*/ 143 w 155"/>
                <a:gd name="T91" fmla="*/ 35 h 77"/>
                <a:gd name="T92" fmla="*/ 147 w 155"/>
                <a:gd name="T93" fmla="*/ 38 h 77"/>
                <a:gd name="T94" fmla="*/ 150 w 155"/>
                <a:gd name="T95" fmla="*/ 41 h 77"/>
                <a:gd name="T96" fmla="*/ 153 w 155"/>
                <a:gd name="T97" fmla="*/ 44 h 77"/>
                <a:gd name="T98" fmla="*/ 154 w 155"/>
                <a:gd name="T99" fmla="*/ 47 h 77"/>
                <a:gd name="T100" fmla="*/ 155 w 155"/>
                <a:gd name="T101" fmla="*/ 54 h 77"/>
                <a:gd name="T102" fmla="*/ 155 w 155"/>
                <a:gd name="T103" fmla="*/ 54 h 77"/>
                <a:gd name="T104" fmla="*/ 155 w 155"/>
                <a:gd name="T105" fmla="*/ 77 h 77"/>
                <a:gd name="T106" fmla="*/ 1 w 155"/>
                <a:gd name="T10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5" h="77">
                  <a:moveTo>
                    <a:pt x="1" y="77"/>
                  </a:moveTo>
                  <a:lnTo>
                    <a:pt x="1" y="77"/>
                  </a:lnTo>
                  <a:lnTo>
                    <a:pt x="0" y="73"/>
                  </a:lnTo>
                  <a:lnTo>
                    <a:pt x="0" y="65"/>
                  </a:lnTo>
                  <a:lnTo>
                    <a:pt x="1" y="61"/>
                  </a:lnTo>
                  <a:lnTo>
                    <a:pt x="3" y="58"/>
                  </a:lnTo>
                  <a:lnTo>
                    <a:pt x="5" y="54"/>
                  </a:lnTo>
                  <a:lnTo>
                    <a:pt x="9" y="53"/>
                  </a:lnTo>
                  <a:lnTo>
                    <a:pt x="9" y="53"/>
                  </a:lnTo>
                  <a:lnTo>
                    <a:pt x="18" y="53"/>
                  </a:lnTo>
                  <a:lnTo>
                    <a:pt x="27" y="51"/>
                  </a:lnTo>
                  <a:lnTo>
                    <a:pt x="30" y="49"/>
                  </a:lnTo>
                  <a:lnTo>
                    <a:pt x="35" y="46"/>
                  </a:lnTo>
                  <a:lnTo>
                    <a:pt x="37" y="43"/>
                  </a:lnTo>
                  <a:lnTo>
                    <a:pt x="38" y="40"/>
                  </a:lnTo>
                  <a:lnTo>
                    <a:pt x="38" y="40"/>
                  </a:lnTo>
                  <a:lnTo>
                    <a:pt x="39" y="36"/>
                  </a:lnTo>
                  <a:lnTo>
                    <a:pt x="41" y="33"/>
                  </a:lnTo>
                  <a:lnTo>
                    <a:pt x="43" y="29"/>
                  </a:lnTo>
                  <a:lnTo>
                    <a:pt x="45" y="28"/>
                  </a:lnTo>
                  <a:lnTo>
                    <a:pt x="48" y="26"/>
                  </a:lnTo>
                  <a:lnTo>
                    <a:pt x="52" y="26"/>
                  </a:lnTo>
                  <a:lnTo>
                    <a:pt x="55" y="26"/>
                  </a:lnTo>
                  <a:lnTo>
                    <a:pt x="59" y="26"/>
                  </a:lnTo>
                  <a:lnTo>
                    <a:pt x="59" y="26"/>
                  </a:lnTo>
                  <a:lnTo>
                    <a:pt x="61" y="26"/>
                  </a:lnTo>
                  <a:lnTo>
                    <a:pt x="63" y="26"/>
                  </a:lnTo>
                  <a:lnTo>
                    <a:pt x="67" y="23"/>
                  </a:lnTo>
                  <a:lnTo>
                    <a:pt x="75" y="14"/>
                  </a:lnTo>
                  <a:lnTo>
                    <a:pt x="79" y="9"/>
                  </a:lnTo>
                  <a:lnTo>
                    <a:pt x="85" y="4"/>
                  </a:lnTo>
                  <a:lnTo>
                    <a:pt x="91" y="1"/>
                  </a:lnTo>
                  <a:lnTo>
                    <a:pt x="94" y="0"/>
                  </a:lnTo>
                  <a:lnTo>
                    <a:pt x="97" y="0"/>
                  </a:lnTo>
                  <a:lnTo>
                    <a:pt x="97" y="0"/>
                  </a:lnTo>
                  <a:lnTo>
                    <a:pt x="103" y="2"/>
                  </a:lnTo>
                  <a:lnTo>
                    <a:pt x="108" y="5"/>
                  </a:lnTo>
                  <a:lnTo>
                    <a:pt x="112" y="10"/>
                  </a:lnTo>
                  <a:lnTo>
                    <a:pt x="115" y="15"/>
                  </a:lnTo>
                  <a:lnTo>
                    <a:pt x="117" y="20"/>
                  </a:lnTo>
                  <a:lnTo>
                    <a:pt x="121" y="24"/>
                  </a:lnTo>
                  <a:lnTo>
                    <a:pt x="125" y="28"/>
                  </a:lnTo>
                  <a:lnTo>
                    <a:pt x="132" y="30"/>
                  </a:lnTo>
                  <a:lnTo>
                    <a:pt x="132" y="30"/>
                  </a:lnTo>
                  <a:lnTo>
                    <a:pt x="138" y="33"/>
                  </a:lnTo>
                  <a:lnTo>
                    <a:pt x="143" y="35"/>
                  </a:lnTo>
                  <a:lnTo>
                    <a:pt x="147" y="38"/>
                  </a:lnTo>
                  <a:lnTo>
                    <a:pt x="150" y="41"/>
                  </a:lnTo>
                  <a:lnTo>
                    <a:pt x="153" y="44"/>
                  </a:lnTo>
                  <a:lnTo>
                    <a:pt x="154" y="47"/>
                  </a:lnTo>
                  <a:lnTo>
                    <a:pt x="155" y="54"/>
                  </a:lnTo>
                  <a:lnTo>
                    <a:pt x="155" y="54"/>
                  </a:lnTo>
                  <a:lnTo>
                    <a:pt x="155" y="77"/>
                  </a:lnTo>
                  <a:lnTo>
                    <a:pt x="1" y="77"/>
                  </a:lnTo>
                  <a:close/>
                </a:path>
              </a:pathLst>
            </a:custGeom>
            <a:solidFill>
              <a:srgbClr val="56534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49" name="Freeform 376"/>
            <p:cNvSpPr>
              <a:spLocks/>
            </p:cNvSpPr>
            <p:nvPr/>
          </p:nvSpPr>
          <p:spPr bwMode="auto">
            <a:xfrm>
              <a:off x="1681688" y="4787554"/>
              <a:ext cx="242824" cy="265088"/>
            </a:xfrm>
            <a:custGeom>
              <a:avLst/>
              <a:gdLst>
                <a:gd name="T0" fmla="*/ 97 w 101"/>
                <a:gd name="T1" fmla="*/ 6 h 108"/>
                <a:gd name="T2" fmla="*/ 87 w 101"/>
                <a:gd name="T3" fmla="*/ 0 h 108"/>
                <a:gd name="T4" fmla="*/ 92 w 101"/>
                <a:gd name="T5" fmla="*/ 5 h 108"/>
                <a:gd name="T6" fmla="*/ 94 w 101"/>
                <a:gd name="T7" fmla="*/ 8 h 108"/>
                <a:gd name="T8" fmla="*/ 95 w 101"/>
                <a:gd name="T9" fmla="*/ 14 h 108"/>
                <a:gd name="T10" fmla="*/ 95 w 101"/>
                <a:gd name="T11" fmla="*/ 17 h 108"/>
                <a:gd name="T12" fmla="*/ 93 w 101"/>
                <a:gd name="T13" fmla="*/ 24 h 108"/>
                <a:gd name="T14" fmla="*/ 89 w 101"/>
                <a:gd name="T15" fmla="*/ 29 h 108"/>
                <a:gd name="T16" fmla="*/ 83 w 101"/>
                <a:gd name="T17" fmla="*/ 31 h 108"/>
                <a:gd name="T18" fmla="*/ 78 w 101"/>
                <a:gd name="T19" fmla="*/ 32 h 108"/>
                <a:gd name="T20" fmla="*/ 71 w 101"/>
                <a:gd name="T21" fmla="*/ 30 h 108"/>
                <a:gd name="T22" fmla="*/ 66 w 101"/>
                <a:gd name="T23" fmla="*/ 26 h 108"/>
                <a:gd name="T24" fmla="*/ 59 w 101"/>
                <a:gd name="T25" fmla="*/ 20 h 108"/>
                <a:gd name="T26" fmla="*/ 45 w 101"/>
                <a:gd name="T27" fmla="*/ 10 h 108"/>
                <a:gd name="T28" fmla="*/ 33 w 101"/>
                <a:gd name="T29" fmla="*/ 18 h 108"/>
                <a:gd name="T30" fmla="*/ 14 w 101"/>
                <a:gd name="T31" fmla="*/ 47 h 108"/>
                <a:gd name="T32" fmla="*/ 4 w 101"/>
                <a:gd name="T33" fmla="*/ 65 h 108"/>
                <a:gd name="T34" fmla="*/ 2 w 101"/>
                <a:gd name="T35" fmla="*/ 71 h 108"/>
                <a:gd name="T36" fmla="*/ 0 w 101"/>
                <a:gd name="T37" fmla="*/ 83 h 108"/>
                <a:gd name="T38" fmla="*/ 2 w 101"/>
                <a:gd name="T39" fmla="*/ 97 h 108"/>
                <a:gd name="T40" fmla="*/ 7 w 101"/>
                <a:gd name="T41" fmla="*/ 102 h 108"/>
                <a:gd name="T42" fmla="*/ 15 w 101"/>
                <a:gd name="T43" fmla="*/ 107 h 108"/>
                <a:gd name="T44" fmla="*/ 19 w 101"/>
                <a:gd name="T45" fmla="*/ 108 h 108"/>
                <a:gd name="T46" fmla="*/ 28 w 101"/>
                <a:gd name="T47" fmla="*/ 107 h 108"/>
                <a:gd name="T48" fmla="*/ 42 w 101"/>
                <a:gd name="T49" fmla="*/ 100 h 108"/>
                <a:gd name="T50" fmla="*/ 58 w 101"/>
                <a:gd name="T51" fmla="*/ 83 h 108"/>
                <a:gd name="T52" fmla="*/ 75 w 101"/>
                <a:gd name="T53" fmla="*/ 60 h 108"/>
                <a:gd name="T54" fmla="*/ 84 w 101"/>
                <a:gd name="T55" fmla="*/ 49 h 108"/>
                <a:gd name="T56" fmla="*/ 96 w 101"/>
                <a:gd name="T57" fmla="*/ 35 h 108"/>
                <a:gd name="T58" fmla="*/ 101 w 101"/>
                <a:gd name="T59" fmla="*/ 21 h 108"/>
                <a:gd name="T60" fmla="*/ 101 w 101"/>
                <a:gd name="T61" fmla="*/ 13 h 108"/>
                <a:gd name="T62" fmla="*/ 97 w 101"/>
                <a:gd name="T63" fmla="*/ 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1" h="108">
                  <a:moveTo>
                    <a:pt x="97" y="6"/>
                  </a:moveTo>
                  <a:lnTo>
                    <a:pt x="97" y="6"/>
                  </a:lnTo>
                  <a:lnTo>
                    <a:pt x="93" y="3"/>
                  </a:lnTo>
                  <a:lnTo>
                    <a:pt x="87" y="0"/>
                  </a:lnTo>
                  <a:lnTo>
                    <a:pt x="87" y="0"/>
                  </a:lnTo>
                  <a:lnTo>
                    <a:pt x="92" y="5"/>
                  </a:lnTo>
                  <a:lnTo>
                    <a:pt x="92" y="5"/>
                  </a:lnTo>
                  <a:lnTo>
                    <a:pt x="94" y="8"/>
                  </a:lnTo>
                  <a:lnTo>
                    <a:pt x="95" y="11"/>
                  </a:lnTo>
                  <a:lnTo>
                    <a:pt x="95" y="14"/>
                  </a:lnTo>
                  <a:lnTo>
                    <a:pt x="95" y="17"/>
                  </a:lnTo>
                  <a:lnTo>
                    <a:pt x="95" y="17"/>
                  </a:lnTo>
                  <a:lnTo>
                    <a:pt x="94" y="21"/>
                  </a:lnTo>
                  <a:lnTo>
                    <a:pt x="93" y="24"/>
                  </a:lnTo>
                  <a:lnTo>
                    <a:pt x="91" y="27"/>
                  </a:lnTo>
                  <a:lnTo>
                    <a:pt x="89" y="29"/>
                  </a:lnTo>
                  <a:lnTo>
                    <a:pt x="89" y="29"/>
                  </a:lnTo>
                  <a:lnTo>
                    <a:pt x="83" y="31"/>
                  </a:lnTo>
                  <a:lnTo>
                    <a:pt x="78" y="32"/>
                  </a:lnTo>
                  <a:lnTo>
                    <a:pt x="78" y="32"/>
                  </a:lnTo>
                  <a:lnTo>
                    <a:pt x="75" y="32"/>
                  </a:lnTo>
                  <a:lnTo>
                    <a:pt x="71" y="30"/>
                  </a:lnTo>
                  <a:lnTo>
                    <a:pt x="68" y="28"/>
                  </a:lnTo>
                  <a:lnTo>
                    <a:pt x="66" y="26"/>
                  </a:lnTo>
                  <a:lnTo>
                    <a:pt x="66" y="26"/>
                  </a:lnTo>
                  <a:lnTo>
                    <a:pt x="59" y="20"/>
                  </a:lnTo>
                  <a:lnTo>
                    <a:pt x="53" y="14"/>
                  </a:lnTo>
                  <a:lnTo>
                    <a:pt x="45" y="10"/>
                  </a:lnTo>
                  <a:lnTo>
                    <a:pt x="45" y="10"/>
                  </a:lnTo>
                  <a:lnTo>
                    <a:pt x="33" y="18"/>
                  </a:lnTo>
                  <a:lnTo>
                    <a:pt x="23" y="31"/>
                  </a:lnTo>
                  <a:lnTo>
                    <a:pt x="14" y="47"/>
                  </a:lnTo>
                  <a:lnTo>
                    <a:pt x="8" y="56"/>
                  </a:lnTo>
                  <a:lnTo>
                    <a:pt x="4" y="65"/>
                  </a:lnTo>
                  <a:lnTo>
                    <a:pt x="4" y="65"/>
                  </a:lnTo>
                  <a:lnTo>
                    <a:pt x="2" y="71"/>
                  </a:lnTo>
                  <a:lnTo>
                    <a:pt x="1" y="76"/>
                  </a:lnTo>
                  <a:lnTo>
                    <a:pt x="0" y="83"/>
                  </a:lnTo>
                  <a:lnTo>
                    <a:pt x="0" y="89"/>
                  </a:lnTo>
                  <a:lnTo>
                    <a:pt x="2" y="97"/>
                  </a:lnTo>
                  <a:lnTo>
                    <a:pt x="4" y="100"/>
                  </a:lnTo>
                  <a:lnTo>
                    <a:pt x="7" y="102"/>
                  </a:lnTo>
                  <a:lnTo>
                    <a:pt x="10" y="105"/>
                  </a:lnTo>
                  <a:lnTo>
                    <a:pt x="15" y="107"/>
                  </a:lnTo>
                  <a:lnTo>
                    <a:pt x="15" y="107"/>
                  </a:lnTo>
                  <a:lnTo>
                    <a:pt x="19" y="108"/>
                  </a:lnTo>
                  <a:lnTo>
                    <a:pt x="23" y="108"/>
                  </a:lnTo>
                  <a:lnTo>
                    <a:pt x="28" y="107"/>
                  </a:lnTo>
                  <a:lnTo>
                    <a:pt x="32" y="105"/>
                  </a:lnTo>
                  <a:lnTo>
                    <a:pt x="42" y="100"/>
                  </a:lnTo>
                  <a:lnTo>
                    <a:pt x="51" y="91"/>
                  </a:lnTo>
                  <a:lnTo>
                    <a:pt x="58" y="83"/>
                  </a:lnTo>
                  <a:lnTo>
                    <a:pt x="66" y="75"/>
                  </a:lnTo>
                  <a:lnTo>
                    <a:pt x="75" y="60"/>
                  </a:lnTo>
                  <a:lnTo>
                    <a:pt x="75" y="60"/>
                  </a:lnTo>
                  <a:lnTo>
                    <a:pt x="84" y="49"/>
                  </a:lnTo>
                  <a:lnTo>
                    <a:pt x="91" y="42"/>
                  </a:lnTo>
                  <a:lnTo>
                    <a:pt x="96" y="35"/>
                  </a:lnTo>
                  <a:lnTo>
                    <a:pt x="99" y="28"/>
                  </a:lnTo>
                  <a:lnTo>
                    <a:pt x="101" y="21"/>
                  </a:lnTo>
                  <a:lnTo>
                    <a:pt x="101" y="16"/>
                  </a:lnTo>
                  <a:lnTo>
                    <a:pt x="101" y="13"/>
                  </a:lnTo>
                  <a:lnTo>
                    <a:pt x="99" y="9"/>
                  </a:lnTo>
                  <a:lnTo>
                    <a:pt x="97" y="6"/>
                  </a:lnTo>
                  <a:lnTo>
                    <a:pt x="97" y="6"/>
                  </a:lnTo>
                  <a:close/>
                </a:path>
              </a:pathLst>
            </a:custGeom>
            <a:solidFill>
              <a:srgbClr val="C74018"/>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50" name="Freeform 377"/>
            <p:cNvSpPr>
              <a:spLocks/>
            </p:cNvSpPr>
            <p:nvPr/>
          </p:nvSpPr>
          <p:spPr bwMode="auto">
            <a:xfrm>
              <a:off x="1615030" y="4736759"/>
              <a:ext cx="287262" cy="153973"/>
            </a:xfrm>
            <a:custGeom>
              <a:avLst/>
              <a:gdLst>
                <a:gd name="T0" fmla="*/ 10 w 117"/>
                <a:gd name="T1" fmla="*/ 62 h 62"/>
                <a:gd name="T2" fmla="*/ 10 w 117"/>
                <a:gd name="T3" fmla="*/ 62 h 62"/>
                <a:gd name="T4" fmla="*/ 6 w 117"/>
                <a:gd name="T5" fmla="*/ 60 h 62"/>
                <a:gd name="T6" fmla="*/ 6 w 117"/>
                <a:gd name="T7" fmla="*/ 60 h 62"/>
                <a:gd name="T8" fmla="*/ 3 w 117"/>
                <a:gd name="T9" fmla="*/ 57 h 62"/>
                <a:gd name="T10" fmla="*/ 1 w 117"/>
                <a:gd name="T11" fmla="*/ 53 h 62"/>
                <a:gd name="T12" fmla="*/ 0 w 117"/>
                <a:gd name="T13" fmla="*/ 49 h 62"/>
                <a:gd name="T14" fmla="*/ 2 w 117"/>
                <a:gd name="T15" fmla="*/ 44 h 62"/>
                <a:gd name="T16" fmla="*/ 2 w 117"/>
                <a:gd name="T17" fmla="*/ 44 h 62"/>
                <a:gd name="T18" fmla="*/ 8 w 117"/>
                <a:gd name="T19" fmla="*/ 34 h 62"/>
                <a:gd name="T20" fmla="*/ 15 w 117"/>
                <a:gd name="T21" fmla="*/ 25 h 62"/>
                <a:gd name="T22" fmla="*/ 22 w 117"/>
                <a:gd name="T23" fmla="*/ 18 h 62"/>
                <a:gd name="T24" fmla="*/ 29 w 117"/>
                <a:gd name="T25" fmla="*/ 11 h 62"/>
                <a:gd name="T26" fmla="*/ 36 w 117"/>
                <a:gd name="T27" fmla="*/ 7 h 62"/>
                <a:gd name="T28" fmla="*/ 44 w 117"/>
                <a:gd name="T29" fmla="*/ 3 h 62"/>
                <a:gd name="T30" fmla="*/ 52 w 117"/>
                <a:gd name="T31" fmla="*/ 1 h 62"/>
                <a:gd name="T32" fmla="*/ 59 w 117"/>
                <a:gd name="T33" fmla="*/ 0 h 62"/>
                <a:gd name="T34" fmla="*/ 59 w 117"/>
                <a:gd name="T35" fmla="*/ 0 h 62"/>
                <a:gd name="T36" fmla="*/ 66 w 117"/>
                <a:gd name="T37" fmla="*/ 0 h 62"/>
                <a:gd name="T38" fmla="*/ 71 w 117"/>
                <a:gd name="T39" fmla="*/ 0 h 62"/>
                <a:gd name="T40" fmla="*/ 81 w 117"/>
                <a:gd name="T41" fmla="*/ 3 h 62"/>
                <a:gd name="T42" fmla="*/ 91 w 117"/>
                <a:gd name="T43" fmla="*/ 7 h 62"/>
                <a:gd name="T44" fmla="*/ 98 w 117"/>
                <a:gd name="T45" fmla="*/ 12 h 62"/>
                <a:gd name="T46" fmla="*/ 105 w 117"/>
                <a:gd name="T47" fmla="*/ 18 h 62"/>
                <a:gd name="T48" fmla="*/ 109 w 117"/>
                <a:gd name="T49" fmla="*/ 23 h 62"/>
                <a:gd name="T50" fmla="*/ 115 w 117"/>
                <a:gd name="T51" fmla="*/ 28 h 62"/>
                <a:gd name="T52" fmla="*/ 115 w 117"/>
                <a:gd name="T53" fmla="*/ 28 h 62"/>
                <a:gd name="T54" fmla="*/ 117 w 117"/>
                <a:gd name="T55" fmla="*/ 32 h 62"/>
                <a:gd name="T56" fmla="*/ 117 w 117"/>
                <a:gd name="T57" fmla="*/ 37 h 62"/>
                <a:gd name="T58" fmla="*/ 115 w 117"/>
                <a:gd name="T59" fmla="*/ 42 h 62"/>
                <a:gd name="T60" fmla="*/ 112 w 117"/>
                <a:gd name="T61" fmla="*/ 45 h 62"/>
                <a:gd name="T62" fmla="*/ 112 w 117"/>
                <a:gd name="T63" fmla="*/ 45 h 62"/>
                <a:gd name="T64" fmla="*/ 107 w 117"/>
                <a:gd name="T65" fmla="*/ 47 h 62"/>
                <a:gd name="T66" fmla="*/ 103 w 117"/>
                <a:gd name="T67" fmla="*/ 47 h 62"/>
                <a:gd name="T68" fmla="*/ 99 w 117"/>
                <a:gd name="T69" fmla="*/ 46 h 62"/>
                <a:gd name="T70" fmla="*/ 95 w 117"/>
                <a:gd name="T71" fmla="*/ 43 h 62"/>
                <a:gd name="T72" fmla="*/ 95 w 117"/>
                <a:gd name="T73" fmla="*/ 43 h 62"/>
                <a:gd name="T74" fmla="*/ 92 w 117"/>
                <a:gd name="T75" fmla="*/ 40 h 62"/>
                <a:gd name="T76" fmla="*/ 84 w 117"/>
                <a:gd name="T77" fmla="*/ 32 h 62"/>
                <a:gd name="T78" fmla="*/ 80 w 117"/>
                <a:gd name="T79" fmla="*/ 29 h 62"/>
                <a:gd name="T80" fmla="*/ 74 w 117"/>
                <a:gd name="T81" fmla="*/ 26 h 62"/>
                <a:gd name="T82" fmla="*/ 68 w 117"/>
                <a:gd name="T83" fmla="*/ 24 h 62"/>
                <a:gd name="T84" fmla="*/ 60 w 117"/>
                <a:gd name="T85" fmla="*/ 24 h 62"/>
                <a:gd name="T86" fmla="*/ 60 w 117"/>
                <a:gd name="T87" fmla="*/ 24 h 62"/>
                <a:gd name="T88" fmla="*/ 55 w 117"/>
                <a:gd name="T89" fmla="*/ 25 h 62"/>
                <a:gd name="T90" fmla="*/ 49 w 117"/>
                <a:gd name="T91" fmla="*/ 27 h 62"/>
                <a:gd name="T92" fmla="*/ 44 w 117"/>
                <a:gd name="T93" fmla="*/ 31 h 62"/>
                <a:gd name="T94" fmla="*/ 39 w 117"/>
                <a:gd name="T95" fmla="*/ 35 h 62"/>
                <a:gd name="T96" fmla="*/ 30 w 117"/>
                <a:gd name="T97" fmla="*/ 46 h 62"/>
                <a:gd name="T98" fmla="*/ 23 w 117"/>
                <a:gd name="T99" fmla="*/ 56 h 62"/>
                <a:gd name="T100" fmla="*/ 23 w 117"/>
                <a:gd name="T101" fmla="*/ 56 h 62"/>
                <a:gd name="T102" fmla="*/ 21 w 117"/>
                <a:gd name="T103" fmla="*/ 59 h 62"/>
                <a:gd name="T104" fmla="*/ 18 w 117"/>
                <a:gd name="T105" fmla="*/ 61 h 62"/>
                <a:gd name="T106" fmla="*/ 15 w 117"/>
                <a:gd name="T107" fmla="*/ 62 h 62"/>
                <a:gd name="T108" fmla="*/ 10 w 117"/>
                <a:gd name="T109" fmla="*/ 62 h 62"/>
                <a:gd name="T110" fmla="*/ 10 w 117"/>
                <a:gd name="T11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 h="62">
                  <a:moveTo>
                    <a:pt x="10" y="62"/>
                  </a:moveTo>
                  <a:lnTo>
                    <a:pt x="10" y="62"/>
                  </a:lnTo>
                  <a:lnTo>
                    <a:pt x="6" y="60"/>
                  </a:lnTo>
                  <a:lnTo>
                    <a:pt x="6" y="60"/>
                  </a:lnTo>
                  <a:lnTo>
                    <a:pt x="3" y="57"/>
                  </a:lnTo>
                  <a:lnTo>
                    <a:pt x="1" y="53"/>
                  </a:lnTo>
                  <a:lnTo>
                    <a:pt x="0" y="49"/>
                  </a:lnTo>
                  <a:lnTo>
                    <a:pt x="2" y="44"/>
                  </a:lnTo>
                  <a:lnTo>
                    <a:pt x="2" y="44"/>
                  </a:lnTo>
                  <a:lnTo>
                    <a:pt x="8" y="34"/>
                  </a:lnTo>
                  <a:lnTo>
                    <a:pt x="15" y="25"/>
                  </a:lnTo>
                  <a:lnTo>
                    <a:pt x="22" y="18"/>
                  </a:lnTo>
                  <a:lnTo>
                    <a:pt x="29" y="11"/>
                  </a:lnTo>
                  <a:lnTo>
                    <a:pt x="36" y="7"/>
                  </a:lnTo>
                  <a:lnTo>
                    <a:pt x="44" y="3"/>
                  </a:lnTo>
                  <a:lnTo>
                    <a:pt x="52" y="1"/>
                  </a:lnTo>
                  <a:lnTo>
                    <a:pt x="59" y="0"/>
                  </a:lnTo>
                  <a:lnTo>
                    <a:pt x="59" y="0"/>
                  </a:lnTo>
                  <a:lnTo>
                    <a:pt x="66" y="0"/>
                  </a:lnTo>
                  <a:lnTo>
                    <a:pt x="71" y="0"/>
                  </a:lnTo>
                  <a:lnTo>
                    <a:pt x="81" y="3"/>
                  </a:lnTo>
                  <a:lnTo>
                    <a:pt x="91" y="7"/>
                  </a:lnTo>
                  <a:lnTo>
                    <a:pt x="98" y="12"/>
                  </a:lnTo>
                  <a:lnTo>
                    <a:pt x="105" y="18"/>
                  </a:lnTo>
                  <a:lnTo>
                    <a:pt x="109" y="23"/>
                  </a:lnTo>
                  <a:lnTo>
                    <a:pt x="115" y="28"/>
                  </a:lnTo>
                  <a:lnTo>
                    <a:pt x="115" y="28"/>
                  </a:lnTo>
                  <a:lnTo>
                    <a:pt x="117" y="32"/>
                  </a:lnTo>
                  <a:lnTo>
                    <a:pt x="117" y="37"/>
                  </a:lnTo>
                  <a:lnTo>
                    <a:pt x="115" y="42"/>
                  </a:lnTo>
                  <a:lnTo>
                    <a:pt x="112" y="45"/>
                  </a:lnTo>
                  <a:lnTo>
                    <a:pt x="112" y="45"/>
                  </a:lnTo>
                  <a:lnTo>
                    <a:pt x="107" y="47"/>
                  </a:lnTo>
                  <a:lnTo>
                    <a:pt x="103" y="47"/>
                  </a:lnTo>
                  <a:lnTo>
                    <a:pt x="99" y="46"/>
                  </a:lnTo>
                  <a:lnTo>
                    <a:pt x="95" y="43"/>
                  </a:lnTo>
                  <a:lnTo>
                    <a:pt x="95" y="43"/>
                  </a:lnTo>
                  <a:lnTo>
                    <a:pt x="92" y="40"/>
                  </a:lnTo>
                  <a:lnTo>
                    <a:pt x="84" y="32"/>
                  </a:lnTo>
                  <a:lnTo>
                    <a:pt x="80" y="29"/>
                  </a:lnTo>
                  <a:lnTo>
                    <a:pt x="74" y="26"/>
                  </a:lnTo>
                  <a:lnTo>
                    <a:pt x="68" y="24"/>
                  </a:lnTo>
                  <a:lnTo>
                    <a:pt x="60" y="24"/>
                  </a:lnTo>
                  <a:lnTo>
                    <a:pt x="60" y="24"/>
                  </a:lnTo>
                  <a:lnTo>
                    <a:pt x="55" y="25"/>
                  </a:lnTo>
                  <a:lnTo>
                    <a:pt x="49" y="27"/>
                  </a:lnTo>
                  <a:lnTo>
                    <a:pt x="44" y="31"/>
                  </a:lnTo>
                  <a:lnTo>
                    <a:pt x="39" y="35"/>
                  </a:lnTo>
                  <a:lnTo>
                    <a:pt x="30" y="46"/>
                  </a:lnTo>
                  <a:lnTo>
                    <a:pt x="23" y="56"/>
                  </a:lnTo>
                  <a:lnTo>
                    <a:pt x="23" y="56"/>
                  </a:lnTo>
                  <a:lnTo>
                    <a:pt x="21" y="59"/>
                  </a:lnTo>
                  <a:lnTo>
                    <a:pt x="18" y="61"/>
                  </a:lnTo>
                  <a:lnTo>
                    <a:pt x="15" y="62"/>
                  </a:lnTo>
                  <a:lnTo>
                    <a:pt x="10" y="62"/>
                  </a:lnTo>
                  <a:lnTo>
                    <a:pt x="10" y="62"/>
                  </a:lnTo>
                  <a:close/>
                </a:path>
              </a:pathLst>
            </a:custGeom>
            <a:solidFill>
              <a:srgbClr val="C74018"/>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grpSp>
      <p:grpSp>
        <p:nvGrpSpPr>
          <p:cNvPr id="220" name="Group 219"/>
          <p:cNvGrpSpPr/>
          <p:nvPr/>
        </p:nvGrpSpPr>
        <p:grpSpPr>
          <a:xfrm>
            <a:off x="4032797" y="3502235"/>
            <a:ext cx="345338" cy="822931"/>
            <a:chOff x="4032797" y="3502235"/>
            <a:chExt cx="345338" cy="822931"/>
          </a:xfrm>
          <a:effectLst>
            <a:outerShdw blurRad="50800" dist="38100" dir="16200000" rotWithShape="0">
              <a:prstClr val="black">
                <a:alpha val="40000"/>
              </a:prstClr>
            </a:outerShdw>
          </a:effectLst>
        </p:grpSpPr>
        <p:sp>
          <p:nvSpPr>
            <p:cNvPr id="51" name="Freeform 278"/>
            <p:cNvSpPr>
              <a:spLocks/>
            </p:cNvSpPr>
            <p:nvPr/>
          </p:nvSpPr>
          <p:spPr bwMode="auto">
            <a:xfrm>
              <a:off x="4047492" y="3737358"/>
              <a:ext cx="44085" cy="51435"/>
            </a:xfrm>
            <a:custGeom>
              <a:avLst/>
              <a:gdLst>
                <a:gd name="T0" fmla="*/ 19 w 19"/>
                <a:gd name="T1" fmla="*/ 0 h 20"/>
                <a:gd name="T2" fmla="*/ 0 w 19"/>
                <a:gd name="T3" fmla="*/ 20 h 20"/>
                <a:gd name="T4" fmla="*/ 19 w 19"/>
                <a:gd name="T5" fmla="*/ 20 h 20"/>
                <a:gd name="T6" fmla="*/ 19 w 19"/>
                <a:gd name="T7" fmla="*/ 0 h 20"/>
              </a:gdLst>
              <a:ahLst/>
              <a:cxnLst>
                <a:cxn ang="0">
                  <a:pos x="T0" y="T1"/>
                </a:cxn>
                <a:cxn ang="0">
                  <a:pos x="T2" y="T3"/>
                </a:cxn>
                <a:cxn ang="0">
                  <a:pos x="T4" y="T5"/>
                </a:cxn>
                <a:cxn ang="0">
                  <a:pos x="T6" y="T7"/>
                </a:cxn>
              </a:cxnLst>
              <a:rect l="0" t="0" r="r" b="b"/>
              <a:pathLst>
                <a:path w="19" h="20">
                  <a:moveTo>
                    <a:pt x="19" y="0"/>
                  </a:moveTo>
                  <a:lnTo>
                    <a:pt x="0" y="20"/>
                  </a:lnTo>
                  <a:lnTo>
                    <a:pt x="19" y="20"/>
                  </a:lnTo>
                  <a:lnTo>
                    <a:pt x="1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51" name="Freeform 378"/>
            <p:cNvSpPr>
              <a:spLocks/>
            </p:cNvSpPr>
            <p:nvPr/>
          </p:nvSpPr>
          <p:spPr bwMode="auto">
            <a:xfrm>
              <a:off x="4120968" y="3502235"/>
              <a:ext cx="168997" cy="168997"/>
            </a:xfrm>
            <a:custGeom>
              <a:avLst/>
              <a:gdLst>
                <a:gd name="T0" fmla="*/ 34 w 69"/>
                <a:gd name="T1" fmla="*/ 69 h 69"/>
                <a:gd name="T2" fmla="*/ 34 w 69"/>
                <a:gd name="T3" fmla="*/ 69 h 69"/>
                <a:gd name="T4" fmla="*/ 41 w 69"/>
                <a:gd name="T5" fmla="*/ 69 h 69"/>
                <a:gd name="T6" fmla="*/ 47 w 69"/>
                <a:gd name="T7" fmla="*/ 67 h 69"/>
                <a:gd name="T8" fmla="*/ 54 w 69"/>
                <a:gd name="T9" fmla="*/ 64 h 69"/>
                <a:gd name="T10" fmla="*/ 59 w 69"/>
                <a:gd name="T11" fmla="*/ 59 h 69"/>
                <a:gd name="T12" fmla="*/ 63 w 69"/>
                <a:gd name="T13" fmla="*/ 55 h 69"/>
                <a:gd name="T14" fmla="*/ 66 w 69"/>
                <a:gd name="T15" fmla="*/ 48 h 69"/>
                <a:gd name="T16" fmla="*/ 68 w 69"/>
                <a:gd name="T17" fmla="*/ 42 h 69"/>
                <a:gd name="T18" fmla="*/ 69 w 69"/>
                <a:gd name="T19" fmla="*/ 35 h 69"/>
                <a:gd name="T20" fmla="*/ 69 w 69"/>
                <a:gd name="T21" fmla="*/ 35 h 69"/>
                <a:gd name="T22" fmla="*/ 68 w 69"/>
                <a:gd name="T23" fmla="*/ 28 h 69"/>
                <a:gd name="T24" fmla="*/ 66 w 69"/>
                <a:gd name="T25" fmla="*/ 21 h 69"/>
                <a:gd name="T26" fmla="*/ 63 w 69"/>
                <a:gd name="T27" fmla="*/ 15 h 69"/>
                <a:gd name="T28" fmla="*/ 59 w 69"/>
                <a:gd name="T29" fmla="*/ 10 h 69"/>
                <a:gd name="T30" fmla="*/ 54 w 69"/>
                <a:gd name="T31" fmla="*/ 6 h 69"/>
                <a:gd name="T32" fmla="*/ 47 w 69"/>
                <a:gd name="T33" fmla="*/ 2 h 69"/>
                <a:gd name="T34" fmla="*/ 41 w 69"/>
                <a:gd name="T35" fmla="*/ 0 h 69"/>
                <a:gd name="T36" fmla="*/ 34 w 69"/>
                <a:gd name="T37" fmla="*/ 0 h 69"/>
                <a:gd name="T38" fmla="*/ 34 w 69"/>
                <a:gd name="T39" fmla="*/ 0 h 69"/>
                <a:gd name="T40" fmla="*/ 28 w 69"/>
                <a:gd name="T41" fmla="*/ 0 h 69"/>
                <a:gd name="T42" fmla="*/ 20 w 69"/>
                <a:gd name="T43" fmla="*/ 2 h 69"/>
                <a:gd name="T44" fmla="*/ 15 w 69"/>
                <a:gd name="T45" fmla="*/ 6 h 69"/>
                <a:gd name="T46" fmla="*/ 10 w 69"/>
                <a:gd name="T47" fmla="*/ 10 h 69"/>
                <a:gd name="T48" fmla="*/ 6 w 69"/>
                <a:gd name="T49" fmla="*/ 15 h 69"/>
                <a:gd name="T50" fmla="*/ 3 w 69"/>
                <a:gd name="T51" fmla="*/ 21 h 69"/>
                <a:gd name="T52" fmla="*/ 1 w 69"/>
                <a:gd name="T53" fmla="*/ 28 h 69"/>
                <a:gd name="T54" fmla="*/ 0 w 69"/>
                <a:gd name="T55" fmla="*/ 35 h 69"/>
                <a:gd name="T56" fmla="*/ 0 w 69"/>
                <a:gd name="T57" fmla="*/ 35 h 69"/>
                <a:gd name="T58" fmla="*/ 1 w 69"/>
                <a:gd name="T59" fmla="*/ 42 h 69"/>
                <a:gd name="T60" fmla="*/ 3 w 69"/>
                <a:gd name="T61" fmla="*/ 48 h 69"/>
                <a:gd name="T62" fmla="*/ 6 w 69"/>
                <a:gd name="T63" fmla="*/ 55 h 69"/>
                <a:gd name="T64" fmla="*/ 10 w 69"/>
                <a:gd name="T65" fmla="*/ 59 h 69"/>
                <a:gd name="T66" fmla="*/ 15 w 69"/>
                <a:gd name="T67" fmla="*/ 64 h 69"/>
                <a:gd name="T68" fmla="*/ 20 w 69"/>
                <a:gd name="T69" fmla="*/ 67 h 69"/>
                <a:gd name="T70" fmla="*/ 28 w 69"/>
                <a:gd name="T71" fmla="*/ 69 h 69"/>
                <a:gd name="T72" fmla="*/ 34 w 69"/>
                <a:gd name="T73" fmla="*/ 69 h 69"/>
                <a:gd name="T74" fmla="*/ 34 w 69"/>
                <a:gd name="T75"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9" h="69">
                  <a:moveTo>
                    <a:pt x="34" y="69"/>
                  </a:moveTo>
                  <a:lnTo>
                    <a:pt x="34" y="69"/>
                  </a:lnTo>
                  <a:lnTo>
                    <a:pt x="41" y="69"/>
                  </a:lnTo>
                  <a:lnTo>
                    <a:pt x="47" y="67"/>
                  </a:lnTo>
                  <a:lnTo>
                    <a:pt x="54" y="64"/>
                  </a:lnTo>
                  <a:lnTo>
                    <a:pt x="59" y="59"/>
                  </a:lnTo>
                  <a:lnTo>
                    <a:pt x="63" y="55"/>
                  </a:lnTo>
                  <a:lnTo>
                    <a:pt x="66" y="48"/>
                  </a:lnTo>
                  <a:lnTo>
                    <a:pt x="68" y="42"/>
                  </a:lnTo>
                  <a:lnTo>
                    <a:pt x="69" y="35"/>
                  </a:lnTo>
                  <a:lnTo>
                    <a:pt x="69" y="35"/>
                  </a:lnTo>
                  <a:lnTo>
                    <a:pt x="68" y="28"/>
                  </a:lnTo>
                  <a:lnTo>
                    <a:pt x="66" y="21"/>
                  </a:lnTo>
                  <a:lnTo>
                    <a:pt x="63" y="15"/>
                  </a:lnTo>
                  <a:lnTo>
                    <a:pt x="59" y="10"/>
                  </a:lnTo>
                  <a:lnTo>
                    <a:pt x="54" y="6"/>
                  </a:lnTo>
                  <a:lnTo>
                    <a:pt x="47" y="2"/>
                  </a:lnTo>
                  <a:lnTo>
                    <a:pt x="41" y="0"/>
                  </a:lnTo>
                  <a:lnTo>
                    <a:pt x="34" y="0"/>
                  </a:lnTo>
                  <a:lnTo>
                    <a:pt x="34" y="0"/>
                  </a:lnTo>
                  <a:lnTo>
                    <a:pt x="28" y="0"/>
                  </a:lnTo>
                  <a:lnTo>
                    <a:pt x="20" y="2"/>
                  </a:lnTo>
                  <a:lnTo>
                    <a:pt x="15" y="6"/>
                  </a:lnTo>
                  <a:lnTo>
                    <a:pt x="10" y="10"/>
                  </a:lnTo>
                  <a:lnTo>
                    <a:pt x="6" y="15"/>
                  </a:lnTo>
                  <a:lnTo>
                    <a:pt x="3" y="21"/>
                  </a:lnTo>
                  <a:lnTo>
                    <a:pt x="1" y="28"/>
                  </a:lnTo>
                  <a:lnTo>
                    <a:pt x="0" y="35"/>
                  </a:lnTo>
                  <a:lnTo>
                    <a:pt x="0" y="35"/>
                  </a:lnTo>
                  <a:lnTo>
                    <a:pt x="1" y="42"/>
                  </a:lnTo>
                  <a:lnTo>
                    <a:pt x="3" y="48"/>
                  </a:lnTo>
                  <a:lnTo>
                    <a:pt x="6" y="55"/>
                  </a:lnTo>
                  <a:lnTo>
                    <a:pt x="10" y="59"/>
                  </a:lnTo>
                  <a:lnTo>
                    <a:pt x="15" y="64"/>
                  </a:lnTo>
                  <a:lnTo>
                    <a:pt x="20" y="67"/>
                  </a:lnTo>
                  <a:lnTo>
                    <a:pt x="28" y="69"/>
                  </a:lnTo>
                  <a:lnTo>
                    <a:pt x="34" y="69"/>
                  </a:lnTo>
                  <a:lnTo>
                    <a:pt x="34" y="69"/>
                  </a:lnTo>
                  <a:close/>
                </a:path>
              </a:pathLst>
            </a:custGeom>
            <a:solidFill>
              <a:srgbClr val="56534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52" name="Freeform 379"/>
            <p:cNvSpPr>
              <a:spLocks/>
            </p:cNvSpPr>
            <p:nvPr/>
          </p:nvSpPr>
          <p:spPr bwMode="auto">
            <a:xfrm>
              <a:off x="4032797" y="3707968"/>
              <a:ext cx="345338" cy="617198"/>
            </a:xfrm>
            <a:custGeom>
              <a:avLst/>
              <a:gdLst>
                <a:gd name="T0" fmla="*/ 138 w 141"/>
                <a:gd name="T1" fmla="*/ 55 h 253"/>
                <a:gd name="T2" fmla="*/ 128 w 141"/>
                <a:gd name="T3" fmla="*/ 20 h 253"/>
                <a:gd name="T4" fmla="*/ 111 w 141"/>
                <a:gd name="T5" fmla="*/ 2 h 253"/>
                <a:gd name="T6" fmla="*/ 101 w 141"/>
                <a:gd name="T7" fmla="*/ 0 h 253"/>
                <a:gd name="T8" fmla="*/ 40 w 141"/>
                <a:gd name="T9" fmla="*/ 0 h 253"/>
                <a:gd name="T10" fmla="*/ 38 w 141"/>
                <a:gd name="T11" fmla="*/ 0 h 253"/>
                <a:gd name="T12" fmla="*/ 18 w 141"/>
                <a:gd name="T13" fmla="*/ 12 h 253"/>
                <a:gd name="T14" fmla="*/ 5 w 141"/>
                <a:gd name="T15" fmla="*/ 41 h 253"/>
                <a:gd name="T16" fmla="*/ 1 w 141"/>
                <a:gd name="T17" fmla="*/ 70 h 253"/>
                <a:gd name="T18" fmla="*/ 2 w 141"/>
                <a:gd name="T19" fmla="*/ 126 h 253"/>
                <a:gd name="T20" fmla="*/ 4 w 141"/>
                <a:gd name="T21" fmla="*/ 133 h 253"/>
                <a:gd name="T22" fmla="*/ 11 w 141"/>
                <a:gd name="T23" fmla="*/ 146 h 253"/>
                <a:gd name="T24" fmla="*/ 6 w 141"/>
                <a:gd name="T25" fmla="*/ 147 h 253"/>
                <a:gd name="T26" fmla="*/ 2 w 141"/>
                <a:gd name="T27" fmla="*/ 155 h 253"/>
                <a:gd name="T28" fmla="*/ 2 w 141"/>
                <a:gd name="T29" fmla="*/ 216 h 253"/>
                <a:gd name="T30" fmla="*/ 12 w 141"/>
                <a:gd name="T31" fmla="*/ 222 h 253"/>
                <a:gd name="T32" fmla="*/ 19 w 141"/>
                <a:gd name="T33" fmla="*/ 221 h 253"/>
                <a:gd name="T34" fmla="*/ 25 w 141"/>
                <a:gd name="T35" fmla="*/ 212 h 253"/>
                <a:gd name="T36" fmla="*/ 24 w 141"/>
                <a:gd name="T37" fmla="*/ 152 h 253"/>
                <a:gd name="T38" fmla="*/ 18 w 141"/>
                <a:gd name="T39" fmla="*/ 146 h 253"/>
                <a:gd name="T40" fmla="*/ 18 w 141"/>
                <a:gd name="T41" fmla="*/ 136 h 253"/>
                <a:gd name="T42" fmla="*/ 25 w 141"/>
                <a:gd name="T43" fmla="*/ 128 h 253"/>
                <a:gd name="T44" fmla="*/ 24 w 141"/>
                <a:gd name="T45" fmla="*/ 99 h 253"/>
                <a:gd name="T46" fmla="*/ 29 w 141"/>
                <a:gd name="T47" fmla="*/ 42 h 253"/>
                <a:gd name="T48" fmla="*/ 32 w 141"/>
                <a:gd name="T49" fmla="*/ 107 h 253"/>
                <a:gd name="T50" fmla="*/ 31 w 141"/>
                <a:gd name="T51" fmla="*/ 236 h 253"/>
                <a:gd name="T52" fmla="*/ 37 w 141"/>
                <a:gd name="T53" fmla="*/ 248 h 253"/>
                <a:gd name="T54" fmla="*/ 48 w 141"/>
                <a:gd name="T55" fmla="*/ 253 h 253"/>
                <a:gd name="T56" fmla="*/ 54 w 141"/>
                <a:gd name="T57" fmla="*/ 252 h 253"/>
                <a:gd name="T58" fmla="*/ 65 w 141"/>
                <a:gd name="T59" fmla="*/ 239 h 253"/>
                <a:gd name="T60" fmla="*/ 75 w 141"/>
                <a:gd name="T61" fmla="*/ 118 h 253"/>
                <a:gd name="T62" fmla="*/ 76 w 141"/>
                <a:gd name="T63" fmla="*/ 239 h 253"/>
                <a:gd name="T64" fmla="*/ 86 w 141"/>
                <a:gd name="T65" fmla="*/ 252 h 253"/>
                <a:gd name="T66" fmla="*/ 92 w 141"/>
                <a:gd name="T67" fmla="*/ 253 h 253"/>
                <a:gd name="T68" fmla="*/ 104 w 141"/>
                <a:gd name="T69" fmla="*/ 248 h 253"/>
                <a:gd name="T70" fmla="*/ 109 w 141"/>
                <a:gd name="T71" fmla="*/ 236 h 253"/>
                <a:gd name="T72" fmla="*/ 109 w 141"/>
                <a:gd name="T73" fmla="*/ 35 h 253"/>
                <a:gd name="T74" fmla="*/ 114 w 141"/>
                <a:gd name="T75" fmla="*/ 52 h 253"/>
                <a:gd name="T76" fmla="*/ 115 w 141"/>
                <a:gd name="T77" fmla="*/ 124 h 253"/>
                <a:gd name="T78" fmla="*/ 118 w 141"/>
                <a:gd name="T79" fmla="*/ 133 h 253"/>
                <a:gd name="T80" fmla="*/ 126 w 141"/>
                <a:gd name="T81" fmla="*/ 137 h 253"/>
                <a:gd name="T82" fmla="*/ 131 w 141"/>
                <a:gd name="T83" fmla="*/ 136 h 253"/>
                <a:gd name="T84" fmla="*/ 139 w 141"/>
                <a:gd name="T85" fmla="*/ 126 h 253"/>
                <a:gd name="T86" fmla="*/ 141 w 141"/>
                <a:gd name="T87" fmla="*/ 9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 h="253">
                  <a:moveTo>
                    <a:pt x="140" y="70"/>
                  </a:moveTo>
                  <a:lnTo>
                    <a:pt x="140" y="70"/>
                  </a:lnTo>
                  <a:lnTo>
                    <a:pt x="138" y="55"/>
                  </a:lnTo>
                  <a:lnTo>
                    <a:pt x="136" y="41"/>
                  </a:lnTo>
                  <a:lnTo>
                    <a:pt x="132" y="30"/>
                  </a:lnTo>
                  <a:lnTo>
                    <a:pt x="128" y="20"/>
                  </a:lnTo>
                  <a:lnTo>
                    <a:pt x="123" y="12"/>
                  </a:lnTo>
                  <a:lnTo>
                    <a:pt x="117" y="6"/>
                  </a:lnTo>
                  <a:lnTo>
                    <a:pt x="111" y="2"/>
                  </a:lnTo>
                  <a:lnTo>
                    <a:pt x="103" y="0"/>
                  </a:lnTo>
                  <a:lnTo>
                    <a:pt x="103" y="0"/>
                  </a:lnTo>
                  <a:lnTo>
                    <a:pt x="101" y="0"/>
                  </a:lnTo>
                  <a:lnTo>
                    <a:pt x="101" y="0"/>
                  </a:lnTo>
                  <a:lnTo>
                    <a:pt x="40" y="0"/>
                  </a:lnTo>
                  <a:lnTo>
                    <a:pt x="40" y="0"/>
                  </a:lnTo>
                  <a:lnTo>
                    <a:pt x="40" y="0"/>
                  </a:lnTo>
                  <a:lnTo>
                    <a:pt x="38" y="0"/>
                  </a:lnTo>
                  <a:lnTo>
                    <a:pt x="38" y="0"/>
                  </a:lnTo>
                  <a:lnTo>
                    <a:pt x="30" y="2"/>
                  </a:lnTo>
                  <a:lnTo>
                    <a:pt x="24" y="6"/>
                  </a:lnTo>
                  <a:lnTo>
                    <a:pt x="18" y="12"/>
                  </a:lnTo>
                  <a:lnTo>
                    <a:pt x="13" y="20"/>
                  </a:lnTo>
                  <a:lnTo>
                    <a:pt x="8" y="30"/>
                  </a:lnTo>
                  <a:lnTo>
                    <a:pt x="5" y="41"/>
                  </a:lnTo>
                  <a:lnTo>
                    <a:pt x="3" y="55"/>
                  </a:lnTo>
                  <a:lnTo>
                    <a:pt x="1" y="70"/>
                  </a:lnTo>
                  <a:lnTo>
                    <a:pt x="1" y="70"/>
                  </a:lnTo>
                  <a:lnTo>
                    <a:pt x="0" y="90"/>
                  </a:lnTo>
                  <a:lnTo>
                    <a:pt x="1" y="108"/>
                  </a:lnTo>
                  <a:lnTo>
                    <a:pt x="2" y="126"/>
                  </a:lnTo>
                  <a:lnTo>
                    <a:pt x="2" y="126"/>
                  </a:lnTo>
                  <a:lnTo>
                    <a:pt x="2" y="130"/>
                  </a:lnTo>
                  <a:lnTo>
                    <a:pt x="4" y="133"/>
                  </a:lnTo>
                  <a:lnTo>
                    <a:pt x="7" y="135"/>
                  </a:lnTo>
                  <a:lnTo>
                    <a:pt x="11" y="136"/>
                  </a:lnTo>
                  <a:lnTo>
                    <a:pt x="11" y="146"/>
                  </a:lnTo>
                  <a:lnTo>
                    <a:pt x="11" y="146"/>
                  </a:lnTo>
                  <a:lnTo>
                    <a:pt x="11" y="146"/>
                  </a:lnTo>
                  <a:lnTo>
                    <a:pt x="6" y="147"/>
                  </a:lnTo>
                  <a:lnTo>
                    <a:pt x="4" y="149"/>
                  </a:lnTo>
                  <a:lnTo>
                    <a:pt x="2" y="152"/>
                  </a:lnTo>
                  <a:lnTo>
                    <a:pt x="2" y="155"/>
                  </a:lnTo>
                  <a:lnTo>
                    <a:pt x="2" y="212"/>
                  </a:lnTo>
                  <a:lnTo>
                    <a:pt x="2" y="212"/>
                  </a:lnTo>
                  <a:lnTo>
                    <a:pt x="2" y="216"/>
                  </a:lnTo>
                  <a:lnTo>
                    <a:pt x="4" y="219"/>
                  </a:lnTo>
                  <a:lnTo>
                    <a:pt x="7" y="221"/>
                  </a:lnTo>
                  <a:lnTo>
                    <a:pt x="12" y="222"/>
                  </a:lnTo>
                  <a:lnTo>
                    <a:pt x="15" y="222"/>
                  </a:lnTo>
                  <a:lnTo>
                    <a:pt x="15" y="222"/>
                  </a:lnTo>
                  <a:lnTo>
                    <a:pt x="19" y="221"/>
                  </a:lnTo>
                  <a:lnTo>
                    <a:pt x="22" y="219"/>
                  </a:lnTo>
                  <a:lnTo>
                    <a:pt x="24" y="216"/>
                  </a:lnTo>
                  <a:lnTo>
                    <a:pt x="25" y="212"/>
                  </a:lnTo>
                  <a:lnTo>
                    <a:pt x="25" y="155"/>
                  </a:lnTo>
                  <a:lnTo>
                    <a:pt x="25" y="155"/>
                  </a:lnTo>
                  <a:lnTo>
                    <a:pt x="24" y="152"/>
                  </a:lnTo>
                  <a:lnTo>
                    <a:pt x="23" y="149"/>
                  </a:lnTo>
                  <a:lnTo>
                    <a:pt x="20" y="147"/>
                  </a:lnTo>
                  <a:lnTo>
                    <a:pt x="18" y="146"/>
                  </a:lnTo>
                  <a:lnTo>
                    <a:pt x="18" y="146"/>
                  </a:lnTo>
                  <a:lnTo>
                    <a:pt x="18" y="136"/>
                  </a:lnTo>
                  <a:lnTo>
                    <a:pt x="18" y="136"/>
                  </a:lnTo>
                  <a:lnTo>
                    <a:pt x="21" y="135"/>
                  </a:lnTo>
                  <a:lnTo>
                    <a:pt x="24" y="132"/>
                  </a:lnTo>
                  <a:lnTo>
                    <a:pt x="25" y="128"/>
                  </a:lnTo>
                  <a:lnTo>
                    <a:pt x="26" y="124"/>
                  </a:lnTo>
                  <a:lnTo>
                    <a:pt x="26" y="124"/>
                  </a:lnTo>
                  <a:lnTo>
                    <a:pt x="24" y="99"/>
                  </a:lnTo>
                  <a:lnTo>
                    <a:pt x="25" y="74"/>
                  </a:lnTo>
                  <a:lnTo>
                    <a:pt x="27" y="52"/>
                  </a:lnTo>
                  <a:lnTo>
                    <a:pt x="29" y="42"/>
                  </a:lnTo>
                  <a:lnTo>
                    <a:pt x="32" y="35"/>
                  </a:lnTo>
                  <a:lnTo>
                    <a:pt x="32" y="107"/>
                  </a:lnTo>
                  <a:lnTo>
                    <a:pt x="32" y="107"/>
                  </a:lnTo>
                  <a:lnTo>
                    <a:pt x="31" y="109"/>
                  </a:lnTo>
                  <a:lnTo>
                    <a:pt x="31" y="236"/>
                  </a:lnTo>
                  <a:lnTo>
                    <a:pt x="31" y="236"/>
                  </a:lnTo>
                  <a:lnTo>
                    <a:pt x="32" y="239"/>
                  </a:lnTo>
                  <a:lnTo>
                    <a:pt x="33" y="243"/>
                  </a:lnTo>
                  <a:lnTo>
                    <a:pt x="37" y="248"/>
                  </a:lnTo>
                  <a:lnTo>
                    <a:pt x="42" y="252"/>
                  </a:lnTo>
                  <a:lnTo>
                    <a:pt x="45" y="252"/>
                  </a:lnTo>
                  <a:lnTo>
                    <a:pt x="48" y="253"/>
                  </a:lnTo>
                  <a:lnTo>
                    <a:pt x="48" y="253"/>
                  </a:lnTo>
                  <a:lnTo>
                    <a:pt x="51" y="252"/>
                  </a:lnTo>
                  <a:lnTo>
                    <a:pt x="54" y="252"/>
                  </a:lnTo>
                  <a:lnTo>
                    <a:pt x="60" y="248"/>
                  </a:lnTo>
                  <a:lnTo>
                    <a:pt x="64" y="243"/>
                  </a:lnTo>
                  <a:lnTo>
                    <a:pt x="65" y="239"/>
                  </a:lnTo>
                  <a:lnTo>
                    <a:pt x="65" y="236"/>
                  </a:lnTo>
                  <a:lnTo>
                    <a:pt x="65" y="118"/>
                  </a:lnTo>
                  <a:lnTo>
                    <a:pt x="75" y="118"/>
                  </a:lnTo>
                  <a:lnTo>
                    <a:pt x="75" y="236"/>
                  </a:lnTo>
                  <a:lnTo>
                    <a:pt x="75" y="236"/>
                  </a:lnTo>
                  <a:lnTo>
                    <a:pt x="76" y="239"/>
                  </a:lnTo>
                  <a:lnTo>
                    <a:pt x="77" y="243"/>
                  </a:lnTo>
                  <a:lnTo>
                    <a:pt x="80" y="248"/>
                  </a:lnTo>
                  <a:lnTo>
                    <a:pt x="86" y="252"/>
                  </a:lnTo>
                  <a:lnTo>
                    <a:pt x="89" y="252"/>
                  </a:lnTo>
                  <a:lnTo>
                    <a:pt x="92" y="253"/>
                  </a:lnTo>
                  <a:lnTo>
                    <a:pt x="92" y="253"/>
                  </a:lnTo>
                  <a:lnTo>
                    <a:pt x="96" y="252"/>
                  </a:lnTo>
                  <a:lnTo>
                    <a:pt x="99" y="252"/>
                  </a:lnTo>
                  <a:lnTo>
                    <a:pt x="104" y="248"/>
                  </a:lnTo>
                  <a:lnTo>
                    <a:pt x="107" y="243"/>
                  </a:lnTo>
                  <a:lnTo>
                    <a:pt x="109" y="239"/>
                  </a:lnTo>
                  <a:lnTo>
                    <a:pt x="109" y="236"/>
                  </a:lnTo>
                  <a:lnTo>
                    <a:pt x="109" y="109"/>
                  </a:lnTo>
                  <a:lnTo>
                    <a:pt x="109" y="109"/>
                  </a:lnTo>
                  <a:lnTo>
                    <a:pt x="109" y="35"/>
                  </a:lnTo>
                  <a:lnTo>
                    <a:pt x="109" y="35"/>
                  </a:lnTo>
                  <a:lnTo>
                    <a:pt x="112" y="42"/>
                  </a:lnTo>
                  <a:lnTo>
                    <a:pt x="114" y="52"/>
                  </a:lnTo>
                  <a:lnTo>
                    <a:pt x="116" y="74"/>
                  </a:lnTo>
                  <a:lnTo>
                    <a:pt x="117" y="99"/>
                  </a:lnTo>
                  <a:lnTo>
                    <a:pt x="115" y="124"/>
                  </a:lnTo>
                  <a:lnTo>
                    <a:pt x="115" y="124"/>
                  </a:lnTo>
                  <a:lnTo>
                    <a:pt x="116" y="129"/>
                  </a:lnTo>
                  <a:lnTo>
                    <a:pt x="118" y="133"/>
                  </a:lnTo>
                  <a:lnTo>
                    <a:pt x="121" y="136"/>
                  </a:lnTo>
                  <a:lnTo>
                    <a:pt x="126" y="137"/>
                  </a:lnTo>
                  <a:lnTo>
                    <a:pt x="126" y="137"/>
                  </a:lnTo>
                  <a:lnTo>
                    <a:pt x="127" y="137"/>
                  </a:lnTo>
                  <a:lnTo>
                    <a:pt x="127" y="137"/>
                  </a:lnTo>
                  <a:lnTo>
                    <a:pt x="131" y="136"/>
                  </a:lnTo>
                  <a:lnTo>
                    <a:pt x="136" y="134"/>
                  </a:lnTo>
                  <a:lnTo>
                    <a:pt x="138" y="131"/>
                  </a:lnTo>
                  <a:lnTo>
                    <a:pt x="139" y="126"/>
                  </a:lnTo>
                  <a:lnTo>
                    <a:pt x="139" y="126"/>
                  </a:lnTo>
                  <a:lnTo>
                    <a:pt x="140" y="108"/>
                  </a:lnTo>
                  <a:lnTo>
                    <a:pt x="141" y="90"/>
                  </a:lnTo>
                  <a:lnTo>
                    <a:pt x="140" y="70"/>
                  </a:lnTo>
                  <a:lnTo>
                    <a:pt x="140" y="70"/>
                  </a:lnTo>
                  <a:close/>
                </a:path>
              </a:pathLst>
            </a:custGeom>
            <a:solidFill>
              <a:srgbClr val="56534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53" name="Freeform 380"/>
            <p:cNvSpPr>
              <a:spLocks/>
            </p:cNvSpPr>
            <p:nvPr/>
          </p:nvSpPr>
          <p:spPr bwMode="auto">
            <a:xfrm>
              <a:off x="4179749" y="3715313"/>
              <a:ext cx="51435" cy="44086"/>
            </a:xfrm>
            <a:custGeom>
              <a:avLst/>
              <a:gdLst>
                <a:gd name="T0" fmla="*/ 21 w 21"/>
                <a:gd name="T1" fmla="*/ 7 h 16"/>
                <a:gd name="T2" fmla="*/ 21 w 21"/>
                <a:gd name="T3" fmla="*/ 7 h 16"/>
                <a:gd name="T4" fmla="*/ 21 w 21"/>
                <a:gd name="T5" fmla="*/ 10 h 16"/>
                <a:gd name="T6" fmla="*/ 19 w 21"/>
                <a:gd name="T7" fmla="*/ 13 h 16"/>
                <a:gd name="T8" fmla="*/ 17 w 21"/>
                <a:gd name="T9" fmla="*/ 15 h 16"/>
                <a:gd name="T10" fmla="*/ 14 w 21"/>
                <a:gd name="T11" fmla="*/ 16 h 16"/>
                <a:gd name="T12" fmla="*/ 8 w 21"/>
                <a:gd name="T13" fmla="*/ 16 h 16"/>
                <a:gd name="T14" fmla="*/ 8 w 21"/>
                <a:gd name="T15" fmla="*/ 16 h 16"/>
                <a:gd name="T16" fmla="*/ 5 w 21"/>
                <a:gd name="T17" fmla="*/ 15 h 16"/>
                <a:gd name="T18" fmla="*/ 3 w 21"/>
                <a:gd name="T19" fmla="*/ 13 h 16"/>
                <a:gd name="T20" fmla="*/ 1 w 21"/>
                <a:gd name="T21" fmla="*/ 10 h 16"/>
                <a:gd name="T22" fmla="*/ 0 w 21"/>
                <a:gd name="T23" fmla="*/ 7 h 16"/>
                <a:gd name="T24" fmla="*/ 0 w 21"/>
                <a:gd name="T25" fmla="*/ 7 h 16"/>
                <a:gd name="T26" fmla="*/ 1 w 21"/>
                <a:gd name="T27" fmla="*/ 4 h 16"/>
                <a:gd name="T28" fmla="*/ 3 w 21"/>
                <a:gd name="T29" fmla="*/ 2 h 16"/>
                <a:gd name="T30" fmla="*/ 5 w 21"/>
                <a:gd name="T31" fmla="*/ 0 h 16"/>
                <a:gd name="T32" fmla="*/ 8 w 21"/>
                <a:gd name="T33" fmla="*/ 0 h 16"/>
                <a:gd name="T34" fmla="*/ 14 w 21"/>
                <a:gd name="T35" fmla="*/ 0 h 16"/>
                <a:gd name="T36" fmla="*/ 14 w 21"/>
                <a:gd name="T37" fmla="*/ 0 h 16"/>
                <a:gd name="T38" fmla="*/ 17 w 21"/>
                <a:gd name="T39" fmla="*/ 0 h 16"/>
                <a:gd name="T40" fmla="*/ 19 w 21"/>
                <a:gd name="T41" fmla="*/ 2 h 16"/>
                <a:gd name="T42" fmla="*/ 21 w 21"/>
                <a:gd name="T43" fmla="*/ 4 h 16"/>
                <a:gd name="T44" fmla="*/ 21 w 21"/>
                <a:gd name="T45" fmla="*/ 7 h 16"/>
                <a:gd name="T46" fmla="*/ 21 w 21"/>
                <a:gd name="T47" fmla="*/ 7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 h="16">
                  <a:moveTo>
                    <a:pt x="21" y="7"/>
                  </a:moveTo>
                  <a:lnTo>
                    <a:pt x="21" y="7"/>
                  </a:lnTo>
                  <a:lnTo>
                    <a:pt x="21" y="10"/>
                  </a:lnTo>
                  <a:lnTo>
                    <a:pt x="19" y="13"/>
                  </a:lnTo>
                  <a:lnTo>
                    <a:pt x="17" y="15"/>
                  </a:lnTo>
                  <a:lnTo>
                    <a:pt x="14" y="16"/>
                  </a:lnTo>
                  <a:lnTo>
                    <a:pt x="8" y="16"/>
                  </a:lnTo>
                  <a:lnTo>
                    <a:pt x="8" y="16"/>
                  </a:lnTo>
                  <a:lnTo>
                    <a:pt x="5" y="15"/>
                  </a:lnTo>
                  <a:lnTo>
                    <a:pt x="3" y="13"/>
                  </a:lnTo>
                  <a:lnTo>
                    <a:pt x="1" y="10"/>
                  </a:lnTo>
                  <a:lnTo>
                    <a:pt x="0" y="7"/>
                  </a:lnTo>
                  <a:lnTo>
                    <a:pt x="0" y="7"/>
                  </a:lnTo>
                  <a:lnTo>
                    <a:pt x="1" y="4"/>
                  </a:lnTo>
                  <a:lnTo>
                    <a:pt x="3" y="2"/>
                  </a:lnTo>
                  <a:lnTo>
                    <a:pt x="5" y="0"/>
                  </a:lnTo>
                  <a:lnTo>
                    <a:pt x="8" y="0"/>
                  </a:lnTo>
                  <a:lnTo>
                    <a:pt x="14" y="0"/>
                  </a:lnTo>
                  <a:lnTo>
                    <a:pt x="14" y="0"/>
                  </a:lnTo>
                  <a:lnTo>
                    <a:pt x="17" y="0"/>
                  </a:lnTo>
                  <a:lnTo>
                    <a:pt x="19" y="2"/>
                  </a:lnTo>
                  <a:lnTo>
                    <a:pt x="21" y="4"/>
                  </a:lnTo>
                  <a:lnTo>
                    <a:pt x="21" y="7"/>
                  </a:lnTo>
                  <a:lnTo>
                    <a:pt x="21" y="7"/>
                  </a:lnTo>
                  <a:close/>
                </a:path>
              </a:pathLst>
            </a:custGeom>
            <a:solidFill>
              <a:srgbClr val="FFF1CA"/>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54" name="Freeform 381"/>
            <p:cNvSpPr>
              <a:spLocks/>
            </p:cNvSpPr>
            <p:nvPr/>
          </p:nvSpPr>
          <p:spPr bwMode="auto">
            <a:xfrm>
              <a:off x="4179749" y="3744703"/>
              <a:ext cx="51435" cy="183692"/>
            </a:xfrm>
            <a:custGeom>
              <a:avLst/>
              <a:gdLst>
                <a:gd name="T0" fmla="*/ 11 w 21"/>
                <a:gd name="T1" fmla="*/ 74 h 75"/>
                <a:gd name="T2" fmla="*/ 21 w 21"/>
                <a:gd name="T3" fmla="*/ 55 h 75"/>
                <a:gd name="T4" fmla="*/ 14 w 21"/>
                <a:gd name="T5" fmla="*/ 1 h 75"/>
                <a:gd name="T6" fmla="*/ 11 w 21"/>
                <a:gd name="T7" fmla="*/ 0 h 75"/>
                <a:gd name="T8" fmla="*/ 11 w 21"/>
                <a:gd name="T9" fmla="*/ 0 h 75"/>
                <a:gd name="T10" fmla="*/ 10 w 21"/>
                <a:gd name="T11" fmla="*/ 0 h 75"/>
                <a:gd name="T12" fmla="*/ 10 w 21"/>
                <a:gd name="T13" fmla="*/ 0 h 75"/>
                <a:gd name="T14" fmla="*/ 10 w 21"/>
                <a:gd name="T15" fmla="*/ 0 h 75"/>
                <a:gd name="T16" fmla="*/ 7 w 21"/>
                <a:gd name="T17" fmla="*/ 1 h 75"/>
                <a:gd name="T18" fmla="*/ 0 w 21"/>
                <a:gd name="T19" fmla="*/ 55 h 75"/>
                <a:gd name="T20" fmla="*/ 10 w 21"/>
                <a:gd name="T21" fmla="*/ 74 h 75"/>
                <a:gd name="T22" fmla="*/ 10 w 21"/>
                <a:gd name="T23" fmla="*/ 75 h 75"/>
                <a:gd name="T24" fmla="*/ 10 w 21"/>
                <a:gd name="T25" fmla="*/ 74 h 75"/>
                <a:gd name="T26" fmla="*/ 11 w 21"/>
                <a:gd name="T27" fmla="*/ 75 h 75"/>
                <a:gd name="T28" fmla="*/ 11 w 21"/>
                <a:gd name="T29" fmla="*/ 7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75">
                  <a:moveTo>
                    <a:pt x="11" y="74"/>
                  </a:moveTo>
                  <a:lnTo>
                    <a:pt x="21" y="55"/>
                  </a:lnTo>
                  <a:lnTo>
                    <a:pt x="14" y="1"/>
                  </a:lnTo>
                  <a:lnTo>
                    <a:pt x="11" y="0"/>
                  </a:lnTo>
                  <a:lnTo>
                    <a:pt x="11" y="0"/>
                  </a:lnTo>
                  <a:lnTo>
                    <a:pt x="10" y="0"/>
                  </a:lnTo>
                  <a:lnTo>
                    <a:pt x="10" y="0"/>
                  </a:lnTo>
                  <a:lnTo>
                    <a:pt x="10" y="0"/>
                  </a:lnTo>
                  <a:lnTo>
                    <a:pt x="7" y="1"/>
                  </a:lnTo>
                  <a:lnTo>
                    <a:pt x="0" y="55"/>
                  </a:lnTo>
                  <a:lnTo>
                    <a:pt x="10" y="74"/>
                  </a:lnTo>
                  <a:lnTo>
                    <a:pt x="10" y="75"/>
                  </a:lnTo>
                  <a:lnTo>
                    <a:pt x="10" y="74"/>
                  </a:lnTo>
                  <a:lnTo>
                    <a:pt x="11" y="75"/>
                  </a:lnTo>
                  <a:lnTo>
                    <a:pt x="11" y="74"/>
                  </a:lnTo>
                  <a:close/>
                </a:path>
              </a:pathLst>
            </a:custGeom>
            <a:solidFill>
              <a:srgbClr val="FFF1CA"/>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grpSp>
      <p:grpSp>
        <p:nvGrpSpPr>
          <p:cNvPr id="8" name="Group 7"/>
          <p:cNvGrpSpPr>
            <a:grpSpLocks/>
          </p:cNvGrpSpPr>
          <p:nvPr/>
        </p:nvGrpSpPr>
        <p:grpSpPr bwMode="auto">
          <a:xfrm>
            <a:off x="1865313" y="4083050"/>
            <a:ext cx="279400" cy="374650"/>
            <a:chOff x="1865259" y="4082692"/>
            <a:chExt cx="279208" cy="374730"/>
          </a:xfrm>
        </p:grpSpPr>
        <p:sp>
          <p:nvSpPr>
            <p:cNvPr id="155" name="Freeform 382"/>
            <p:cNvSpPr>
              <a:spLocks/>
            </p:cNvSpPr>
            <p:nvPr/>
          </p:nvSpPr>
          <p:spPr bwMode="auto">
            <a:xfrm>
              <a:off x="1865259" y="4082692"/>
              <a:ext cx="279208" cy="279460"/>
            </a:xfrm>
            <a:custGeom>
              <a:avLst/>
              <a:gdLst>
                <a:gd name="T0" fmla="*/ 114 w 114"/>
                <a:gd name="T1" fmla="*/ 56 h 114"/>
                <a:gd name="T2" fmla="*/ 114 w 114"/>
                <a:gd name="T3" fmla="*/ 56 h 114"/>
                <a:gd name="T4" fmla="*/ 113 w 114"/>
                <a:gd name="T5" fmla="*/ 68 h 114"/>
                <a:gd name="T6" fmla="*/ 110 w 114"/>
                <a:gd name="T7" fmla="*/ 79 h 114"/>
                <a:gd name="T8" fmla="*/ 104 w 114"/>
                <a:gd name="T9" fmla="*/ 89 h 114"/>
                <a:gd name="T10" fmla="*/ 97 w 114"/>
                <a:gd name="T11" fmla="*/ 97 h 114"/>
                <a:gd name="T12" fmla="*/ 89 w 114"/>
                <a:gd name="T13" fmla="*/ 104 h 114"/>
                <a:gd name="T14" fmla="*/ 79 w 114"/>
                <a:gd name="T15" fmla="*/ 109 h 114"/>
                <a:gd name="T16" fmla="*/ 69 w 114"/>
                <a:gd name="T17" fmla="*/ 113 h 114"/>
                <a:gd name="T18" fmla="*/ 57 w 114"/>
                <a:gd name="T19" fmla="*/ 114 h 114"/>
                <a:gd name="T20" fmla="*/ 57 w 114"/>
                <a:gd name="T21" fmla="*/ 114 h 114"/>
                <a:gd name="T22" fmla="*/ 46 w 114"/>
                <a:gd name="T23" fmla="*/ 113 h 114"/>
                <a:gd name="T24" fmla="*/ 36 w 114"/>
                <a:gd name="T25" fmla="*/ 109 h 114"/>
                <a:gd name="T26" fmla="*/ 25 w 114"/>
                <a:gd name="T27" fmla="*/ 104 h 114"/>
                <a:gd name="T28" fmla="*/ 17 w 114"/>
                <a:gd name="T29" fmla="*/ 97 h 114"/>
                <a:gd name="T30" fmla="*/ 11 w 114"/>
                <a:gd name="T31" fmla="*/ 89 h 114"/>
                <a:gd name="T32" fmla="*/ 5 w 114"/>
                <a:gd name="T33" fmla="*/ 79 h 114"/>
                <a:gd name="T34" fmla="*/ 1 w 114"/>
                <a:gd name="T35" fmla="*/ 68 h 114"/>
                <a:gd name="T36" fmla="*/ 0 w 114"/>
                <a:gd name="T37" fmla="*/ 56 h 114"/>
                <a:gd name="T38" fmla="*/ 0 w 114"/>
                <a:gd name="T39" fmla="*/ 56 h 114"/>
                <a:gd name="T40" fmla="*/ 1 w 114"/>
                <a:gd name="T41" fmla="*/ 45 h 114"/>
                <a:gd name="T42" fmla="*/ 5 w 114"/>
                <a:gd name="T43" fmla="*/ 34 h 114"/>
                <a:gd name="T44" fmla="*/ 11 w 114"/>
                <a:gd name="T45" fmla="*/ 25 h 114"/>
                <a:gd name="T46" fmla="*/ 17 w 114"/>
                <a:gd name="T47" fmla="*/ 17 h 114"/>
                <a:gd name="T48" fmla="*/ 25 w 114"/>
                <a:gd name="T49" fmla="*/ 9 h 114"/>
                <a:gd name="T50" fmla="*/ 36 w 114"/>
                <a:gd name="T51" fmla="*/ 4 h 114"/>
                <a:gd name="T52" fmla="*/ 46 w 114"/>
                <a:gd name="T53" fmla="*/ 1 h 114"/>
                <a:gd name="T54" fmla="*/ 57 w 114"/>
                <a:gd name="T55" fmla="*/ 0 h 114"/>
                <a:gd name="T56" fmla="*/ 57 w 114"/>
                <a:gd name="T57" fmla="*/ 0 h 114"/>
                <a:gd name="T58" fmla="*/ 69 w 114"/>
                <a:gd name="T59" fmla="*/ 1 h 114"/>
                <a:gd name="T60" fmla="*/ 79 w 114"/>
                <a:gd name="T61" fmla="*/ 4 h 114"/>
                <a:gd name="T62" fmla="*/ 89 w 114"/>
                <a:gd name="T63" fmla="*/ 9 h 114"/>
                <a:gd name="T64" fmla="*/ 97 w 114"/>
                <a:gd name="T65" fmla="*/ 17 h 114"/>
                <a:gd name="T66" fmla="*/ 104 w 114"/>
                <a:gd name="T67" fmla="*/ 25 h 114"/>
                <a:gd name="T68" fmla="*/ 110 w 114"/>
                <a:gd name="T69" fmla="*/ 34 h 114"/>
                <a:gd name="T70" fmla="*/ 113 w 114"/>
                <a:gd name="T71" fmla="*/ 45 h 114"/>
                <a:gd name="T72" fmla="*/ 114 w 114"/>
                <a:gd name="T73" fmla="*/ 56 h 114"/>
                <a:gd name="T74" fmla="*/ 114 w 114"/>
                <a:gd name="T75" fmla="*/ 5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4" h="114">
                  <a:moveTo>
                    <a:pt x="114" y="56"/>
                  </a:moveTo>
                  <a:lnTo>
                    <a:pt x="114" y="56"/>
                  </a:lnTo>
                  <a:lnTo>
                    <a:pt x="113" y="68"/>
                  </a:lnTo>
                  <a:lnTo>
                    <a:pt x="110" y="79"/>
                  </a:lnTo>
                  <a:lnTo>
                    <a:pt x="104" y="89"/>
                  </a:lnTo>
                  <a:lnTo>
                    <a:pt x="97" y="97"/>
                  </a:lnTo>
                  <a:lnTo>
                    <a:pt x="89" y="104"/>
                  </a:lnTo>
                  <a:lnTo>
                    <a:pt x="79" y="109"/>
                  </a:lnTo>
                  <a:lnTo>
                    <a:pt x="69" y="113"/>
                  </a:lnTo>
                  <a:lnTo>
                    <a:pt x="57" y="114"/>
                  </a:lnTo>
                  <a:lnTo>
                    <a:pt x="57" y="114"/>
                  </a:lnTo>
                  <a:lnTo>
                    <a:pt x="46" y="113"/>
                  </a:lnTo>
                  <a:lnTo>
                    <a:pt x="36" y="109"/>
                  </a:lnTo>
                  <a:lnTo>
                    <a:pt x="25" y="104"/>
                  </a:lnTo>
                  <a:lnTo>
                    <a:pt x="17" y="97"/>
                  </a:lnTo>
                  <a:lnTo>
                    <a:pt x="11" y="89"/>
                  </a:lnTo>
                  <a:lnTo>
                    <a:pt x="5" y="79"/>
                  </a:lnTo>
                  <a:lnTo>
                    <a:pt x="1" y="68"/>
                  </a:lnTo>
                  <a:lnTo>
                    <a:pt x="0" y="56"/>
                  </a:lnTo>
                  <a:lnTo>
                    <a:pt x="0" y="56"/>
                  </a:lnTo>
                  <a:lnTo>
                    <a:pt x="1" y="45"/>
                  </a:lnTo>
                  <a:lnTo>
                    <a:pt x="5" y="34"/>
                  </a:lnTo>
                  <a:lnTo>
                    <a:pt x="11" y="25"/>
                  </a:lnTo>
                  <a:lnTo>
                    <a:pt x="17" y="17"/>
                  </a:lnTo>
                  <a:lnTo>
                    <a:pt x="25" y="9"/>
                  </a:lnTo>
                  <a:lnTo>
                    <a:pt x="36" y="4"/>
                  </a:lnTo>
                  <a:lnTo>
                    <a:pt x="46" y="1"/>
                  </a:lnTo>
                  <a:lnTo>
                    <a:pt x="57" y="0"/>
                  </a:lnTo>
                  <a:lnTo>
                    <a:pt x="57" y="0"/>
                  </a:lnTo>
                  <a:lnTo>
                    <a:pt x="69" y="1"/>
                  </a:lnTo>
                  <a:lnTo>
                    <a:pt x="79" y="4"/>
                  </a:lnTo>
                  <a:lnTo>
                    <a:pt x="89" y="9"/>
                  </a:lnTo>
                  <a:lnTo>
                    <a:pt x="97" y="17"/>
                  </a:lnTo>
                  <a:lnTo>
                    <a:pt x="104" y="25"/>
                  </a:lnTo>
                  <a:lnTo>
                    <a:pt x="110" y="34"/>
                  </a:lnTo>
                  <a:lnTo>
                    <a:pt x="113" y="45"/>
                  </a:lnTo>
                  <a:lnTo>
                    <a:pt x="114" y="56"/>
                  </a:lnTo>
                  <a:lnTo>
                    <a:pt x="114" y="56"/>
                  </a:lnTo>
                  <a:close/>
                </a:path>
              </a:pathLst>
            </a:custGeom>
            <a:solidFill>
              <a:srgbClr val="92D050"/>
            </a:solidFill>
            <a:ln>
              <a:noFill/>
            </a:ln>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56" name="Freeform 383"/>
            <p:cNvSpPr>
              <a:spLocks/>
            </p:cNvSpPr>
            <p:nvPr/>
          </p:nvSpPr>
          <p:spPr bwMode="auto">
            <a:xfrm>
              <a:off x="1954098" y="4420902"/>
              <a:ext cx="117394" cy="36520"/>
            </a:xfrm>
            <a:custGeom>
              <a:avLst/>
              <a:gdLst>
                <a:gd name="T0" fmla="*/ 24 w 48"/>
                <a:gd name="T1" fmla="*/ 0 h 15"/>
                <a:gd name="T2" fmla="*/ 24 w 48"/>
                <a:gd name="T3" fmla="*/ 0 h 15"/>
                <a:gd name="T4" fmla="*/ 14 w 48"/>
                <a:gd name="T5" fmla="*/ 1 h 15"/>
                <a:gd name="T6" fmla="*/ 6 w 48"/>
                <a:gd name="T7" fmla="*/ 2 h 15"/>
                <a:gd name="T8" fmla="*/ 1 w 48"/>
                <a:gd name="T9" fmla="*/ 5 h 15"/>
                <a:gd name="T10" fmla="*/ 0 w 48"/>
                <a:gd name="T11" fmla="*/ 6 h 15"/>
                <a:gd name="T12" fmla="*/ 0 w 48"/>
                <a:gd name="T13" fmla="*/ 8 h 15"/>
                <a:gd name="T14" fmla="*/ 0 w 48"/>
                <a:gd name="T15" fmla="*/ 8 h 15"/>
                <a:gd name="T16" fmla="*/ 0 w 48"/>
                <a:gd name="T17" fmla="*/ 9 h 15"/>
                <a:gd name="T18" fmla="*/ 1 w 48"/>
                <a:gd name="T19" fmla="*/ 11 h 15"/>
                <a:gd name="T20" fmla="*/ 6 w 48"/>
                <a:gd name="T21" fmla="*/ 13 h 15"/>
                <a:gd name="T22" fmla="*/ 14 w 48"/>
                <a:gd name="T23" fmla="*/ 15 h 15"/>
                <a:gd name="T24" fmla="*/ 24 w 48"/>
                <a:gd name="T25" fmla="*/ 15 h 15"/>
                <a:gd name="T26" fmla="*/ 24 w 48"/>
                <a:gd name="T27" fmla="*/ 15 h 15"/>
                <a:gd name="T28" fmla="*/ 33 w 48"/>
                <a:gd name="T29" fmla="*/ 15 h 15"/>
                <a:gd name="T30" fmla="*/ 40 w 48"/>
                <a:gd name="T31" fmla="*/ 13 h 15"/>
                <a:gd name="T32" fmla="*/ 46 w 48"/>
                <a:gd name="T33" fmla="*/ 11 h 15"/>
                <a:gd name="T34" fmla="*/ 47 w 48"/>
                <a:gd name="T35" fmla="*/ 9 h 15"/>
                <a:gd name="T36" fmla="*/ 48 w 48"/>
                <a:gd name="T37" fmla="*/ 8 h 15"/>
                <a:gd name="T38" fmla="*/ 48 w 48"/>
                <a:gd name="T39" fmla="*/ 8 h 15"/>
                <a:gd name="T40" fmla="*/ 47 w 48"/>
                <a:gd name="T41" fmla="*/ 6 h 15"/>
                <a:gd name="T42" fmla="*/ 46 w 48"/>
                <a:gd name="T43" fmla="*/ 5 h 15"/>
                <a:gd name="T44" fmla="*/ 40 w 48"/>
                <a:gd name="T45" fmla="*/ 2 h 15"/>
                <a:gd name="T46" fmla="*/ 33 w 48"/>
                <a:gd name="T47" fmla="*/ 1 h 15"/>
                <a:gd name="T48" fmla="*/ 24 w 48"/>
                <a:gd name="T4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 h="15">
                  <a:moveTo>
                    <a:pt x="24" y="0"/>
                  </a:moveTo>
                  <a:lnTo>
                    <a:pt x="24" y="0"/>
                  </a:lnTo>
                  <a:lnTo>
                    <a:pt x="14" y="1"/>
                  </a:lnTo>
                  <a:lnTo>
                    <a:pt x="6" y="2"/>
                  </a:lnTo>
                  <a:lnTo>
                    <a:pt x="1" y="5"/>
                  </a:lnTo>
                  <a:lnTo>
                    <a:pt x="0" y="6"/>
                  </a:lnTo>
                  <a:lnTo>
                    <a:pt x="0" y="8"/>
                  </a:lnTo>
                  <a:lnTo>
                    <a:pt x="0" y="8"/>
                  </a:lnTo>
                  <a:lnTo>
                    <a:pt x="0" y="9"/>
                  </a:lnTo>
                  <a:lnTo>
                    <a:pt x="1" y="11"/>
                  </a:lnTo>
                  <a:lnTo>
                    <a:pt x="6" y="13"/>
                  </a:lnTo>
                  <a:lnTo>
                    <a:pt x="14" y="15"/>
                  </a:lnTo>
                  <a:lnTo>
                    <a:pt x="24" y="15"/>
                  </a:lnTo>
                  <a:lnTo>
                    <a:pt x="24" y="15"/>
                  </a:lnTo>
                  <a:lnTo>
                    <a:pt x="33" y="15"/>
                  </a:lnTo>
                  <a:lnTo>
                    <a:pt x="40" y="13"/>
                  </a:lnTo>
                  <a:lnTo>
                    <a:pt x="46" y="11"/>
                  </a:lnTo>
                  <a:lnTo>
                    <a:pt x="47" y="9"/>
                  </a:lnTo>
                  <a:lnTo>
                    <a:pt x="48" y="8"/>
                  </a:lnTo>
                  <a:lnTo>
                    <a:pt x="48" y="8"/>
                  </a:lnTo>
                  <a:lnTo>
                    <a:pt x="47" y="6"/>
                  </a:lnTo>
                  <a:lnTo>
                    <a:pt x="46" y="5"/>
                  </a:lnTo>
                  <a:lnTo>
                    <a:pt x="40" y="2"/>
                  </a:lnTo>
                  <a:lnTo>
                    <a:pt x="33" y="1"/>
                  </a:lnTo>
                  <a:lnTo>
                    <a:pt x="24" y="0"/>
                  </a:lnTo>
                  <a:close/>
                </a:path>
              </a:pathLst>
            </a:custGeom>
            <a:solidFill>
              <a:srgbClr val="90913D"/>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57" name="Freeform 384"/>
            <p:cNvSpPr>
              <a:spLocks/>
            </p:cNvSpPr>
            <p:nvPr/>
          </p:nvSpPr>
          <p:spPr bwMode="auto">
            <a:xfrm>
              <a:off x="1954098" y="4420902"/>
              <a:ext cx="117394" cy="36520"/>
            </a:xfrm>
            <a:custGeom>
              <a:avLst/>
              <a:gdLst>
                <a:gd name="T0" fmla="*/ 24 w 48"/>
                <a:gd name="T1" fmla="*/ 0 h 15"/>
                <a:gd name="T2" fmla="*/ 24 w 48"/>
                <a:gd name="T3" fmla="*/ 0 h 15"/>
                <a:gd name="T4" fmla="*/ 14 w 48"/>
                <a:gd name="T5" fmla="*/ 1 h 15"/>
                <a:gd name="T6" fmla="*/ 6 w 48"/>
                <a:gd name="T7" fmla="*/ 2 h 15"/>
                <a:gd name="T8" fmla="*/ 1 w 48"/>
                <a:gd name="T9" fmla="*/ 5 h 15"/>
                <a:gd name="T10" fmla="*/ 0 w 48"/>
                <a:gd name="T11" fmla="*/ 6 h 15"/>
                <a:gd name="T12" fmla="*/ 0 w 48"/>
                <a:gd name="T13" fmla="*/ 8 h 15"/>
                <a:gd name="T14" fmla="*/ 0 w 48"/>
                <a:gd name="T15" fmla="*/ 8 h 15"/>
                <a:gd name="T16" fmla="*/ 0 w 48"/>
                <a:gd name="T17" fmla="*/ 9 h 15"/>
                <a:gd name="T18" fmla="*/ 1 w 48"/>
                <a:gd name="T19" fmla="*/ 11 h 15"/>
                <a:gd name="T20" fmla="*/ 6 w 48"/>
                <a:gd name="T21" fmla="*/ 13 h 15"/>
                <a:gd name="T22" fmla="*/ 14 w 48"/>
                <a:gd name="T23" fmla="*/ 15 h 15"/>
                <a:gd name="T24" fmla="*/ 24 w 48"/>
                <a:gd name="T25" fmla="*/ 15 h 15"/>
                <a:gd name="T26" fmla="*/ 24 w 48"/>
                <a:gd name="T27" fmla="*/ 15 h 15"/>
                <a:gd name="T28" fmla="*/ 33 w 48"/>
                <a:gd name="T29" fmla="*/ 15 h 15"/>
                <a:gd name="T30" fmla="*/ 40 w 48"/>
                <a:gd name="T31" fmla="*/ 13 h 15"/>
                <a:gd name="T32" fmla="*/ 46 w 48"/>
                <a:gd name="T33" fmla="*/ 11 h 15"/>
                <a:gd name="T34" fmla="*/ 47 w 48"/>
                <a:gd name="T35" fmla="*/ 9 h 15"/>
                <a:gd name="T36" fmla="*/ 48 w 48"/>
                <a:gd name="T37" fmla="*/ 8 h 15"/>
                <a:gd name="T38" fmla="*/ 48 w 48"/>
                <a:gd name="T39" fmla="*/ 8 h 15"/>
                <a:gd name="T40" fmla="*/ 47 w 48"/>
                <a:gd name="T41" fmla="*/ 6 h 15"/>
                <a:gd name="T42" fmla="*/ 46 w 48"/>
                <a:gd name="T43" fmla="*/ 5 h 15"/>
                <a:gd name="T44" fmla="*/ 40 w 48"/>
                <a:gd name="T45" fmla="*/ 2 h 15"/>
                <a:gd name="T46" fmla="*/ 33 w 48"/>
                <a:gd name="T47" fmla="*/ 1 h 15"/>
                <a:gd name="T48" fmla="*/ 24 w 48"/>
                <a:gd name="T4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 h="15">
                  <a:moveTo>
                    <a:pt x="24" y="0"/>
                  </a:moveTo>
                  <a:lnTo>
                    <a:pt x="24" y="0"/>
                  </a:lnTo>
                  <a:lnTo>
                    <a:pt x="14" y="1"/>
                  </a:lnTo>
                  <a:lnTo>
                    <a:pt x="6" y="2"/>
                  </a:lnTo>
                  <a:lnTo>
                    <a:pt x="1" y="5"/>
                  </a:lnTo>
                  <a:lnTo>
                    <a:pt x="0" y="6"/>
                  </a:lnTo>
                  <a:lnTo>
                    <a:pt x="0" y="8"/>
                  </a:lnTo>
                  <a:lnTo>
                    <a:pt x="0" y="8"/>
                  </a:lnTo>
                  <a:lnTo>
                    <a:pt x="0" y="9"/>
                  </a:lnTo>
                  <a:lnTo>
                    <a:pt x="1" y="11"/>
                  </a:lnTo>
                  <a:lnTo>
                    <a:pt x="6" y="13"/>
                  </a:lnTo>
                  <a:lnTo>
                    <a:pt x="14" y="15"/>
                  </a:lnTo>
                  <a:lnTo>
                    <a:pt x="24" y="15"/>
                  </a:lnTo>
                  <a:lnTo>
                    <a:pt x="24" y="15"/>
                  </a:lnTo>
                  <a:lnTo>
                    <a:pt x="33" y="15"/>
                  </a:lnTo>
                  <a:lnTo>
                    <a:pt x="40" y="13"/>
                  </a:lnTo>
                  <a:lnTo>
                    <a:pt x="46" y="11"/>
                  </a:lnTo>
                  <a:lnTo>
                    <a:pt x="47" y="9"/>
                  </a:lnTo>
                  <a:lnTo>
                    <a:pt x="48" y="8"/>
                  </a:lnTo>
                  <a:lnTo>
                    <a:pt x="48" y="8"/>
                  </a:lnTo>
                  <a:lnTo>
                    <a:pt x="47" y="6"/>
                  </a:lnTo>
                  <a:lnTo>
                    <a:pt x="46" y="5"/>
                  </a:lnTo>
                  <a:lnTo>
                    <a:pt x="40" y="2"/>
                  </a:lnTo>
                  <a:lnTo>
                    <a:pt x="33" y="1"/>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58" name="Freeform 385"/>
            <p:cNvSpPr>
              <a:spLocks/>
            </p:cNvSpPr>
            <p:nvPr/>
          </p:nvSpPr>
          <p:spPr bwMode="auto">
            <a:xfrm>
              <a:off x="1954098" y="4317692"/>
              <a:ext cx="117394" cy="117500"/>
            </a:xfrm>
            <a:custGeom>
              <a:avLst/>
              <a:gdLst>
                <a:gd name="T0" fmla="*/ 33 w 47"/>
                <a:gd name="T1" fmla="*/ 49 h 49"/>
                <a:gd name="T2" fmla="*/ 47 w 47"/>
                <a:gd name="T3" fmla="*/ 6 h 49"/>
                <a:gd name="T4" fmla="*/ 40 w 47"/>
                <a:gd name="T5" fmla="*/ 0 h 49"/>
                <a:gd name="T6" fmla="*/ 27 w 47"/>
                <a:gd name="T7" fmla="*/ 26 h 49"/>
                <a:gd name="T8" fmla="*/ 4 w 47"/>
                <a:gd name="T9" fmla="*/ 1 h 49"/>
                <a:gd name="T10" fmla="*/ 0 w 47"/>
                <a:gd name="T11" fmla="*/ 8 h 49"/>
                <a:gd name="T12" fmla="*/ 15 w 47"/>
                <a:gd name="T13" fmla="*/ 31 h 49"/>
                <a:gd name="T14" fmla="*/ 20 w 47"/>
                <a:gd name="T15" fmla="*/ 48 h 49"/>
                <a:gd name="T16" fmla="*/ 20 w 47"/>
                <a:gd name="T17" fmla="*/ 48 h 49"/>
                <a:gd name="T18" fmla="*/ 26 w 47"/>
                <a:gd name="T19" fmla="*/ 49 h 49"/>
                <a:gd name="T20" fmla="*/ 30 w 47"/>
                <a:gd name="T21" fmla="*/ 49 h 49"/>
                <a:gd name="T22" fmla="*/ 33 w 47"/>
                <a:gd name="T23" fmla="*/ 49 h 49"/>
                <a:gd name="T24" fmla="*/ 33 w 47"/>
                <a:gd name="T2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 h="49">
                  <a:moveTo>
                    <a:pt x="33" y="49"/>
                  </a:moveTo>
                  <a:lnTo>
                    <a:pt x="47" y="6"/>
                  </a:lnTo>
                  <a:lnTo>
                    <a:pt x="40" y="0"/>
                  </a:lnTo>
                  <a:lnTo>
                    <a:pt x="27" y="26"/>
                  </a:lnTo>
                  <a:lnTo>
                    <a:pt x="4" y="1"/>
                  </a:lnTo>
                  <a:lnTo>
                    <a:pt x="0" y="8"/>
                  </a:lnTo>
                  <a:lnTo>
                    <a:pt x="15" y="31"/>
                  </a:lnTo>
                  <a:lnTo>
                    <a:pt x="20" y="48"/>
                  </a:lnTo>
                  <a:lnTo>
                    <a:pt x="20" y="48"/>
                  </a:lnTo>
                  <a:lnTo>
                    <a:pt x="26" y="49"/>
                  </a:lnTo>
                  <a:lnTo>
                    <a:pt x="30" y="49"/>
                  </a:lnTo>
                  <a:lnTo>
                    <a:pt x="33" y="49"/>
                  </a:lnTo>
                  <a:lnTo>
                    <a:pt x="33" y="49"/>
                  </a:lnTo>
                  <a:close/>
                </a:path>
              </a:pathLst>
            </a:custGeom>
            <a:solidFill>
              <a:srgbClr val="56534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59" name="Freeform 386"/>
            <p:cNvSpPr>
              <a:spLocks/>
            </p:cNvSpPr>
            <p:nvPr/>
          </p:nvSpPr>
          <p:spPr bwMode="auto">
            <a:xfrm>
              <a:off x="1923956" y="4119213"/>
              <a:ext cx="111049" cy="111149"/>
            </a:xfrm>
            <a:custGeom>
              <a:avLst/>
              <a:gdLst>
                <a:gd name="T0" fmla="*/ 46 w 46"/>
                <a:gd name="T1" fmla="*/ 23 h 45"/>
                <a:gd name="T2" fmla="*/ 46 w 46"/>
                <a:gd name="T3" fmla="*/ 23 h 45"/>
                <a:gd name="T4" fmla="*/ 46 w 46"/>
                <a:gd name="T5" fmla="*/ 28 h 45"/>
                <a:gd name="T6" fmla="*/ 45 w 46"/>
                <a:gd name="T7" fmla="*/ 32 h 45"/>
                <a:gd name="T8" fmla="*/ 42 w 46"/>
                <a:gd name="T9" fmla="*/ 36 h 45"/>
                <a:gd name="T10" fmla="*/ 40 w 46"/>
                <a:gd name="T11" fmla="*/ 39 h 45"/>
                <a:gd name="T12" fmla="*/ 36 w 46"/>
                <a:gd name="T13" fmla="*/ 42 h 45"/>
                <a:gd name="T14" fmla="*/ 32 w 46"/>
                <a:gd name="T15" fmla="*/ 44 h 45"/>
                <a:gd name="T16" fmla="*/ 28 w 46"/>
                <a:gd name="T17" fmla="*/ 45 h 45"/>
                <a:gd name="T18" fmla="*/ 23 w 46"/>
                <a:gd name="T19" fmla="*/ 45 h 45"/>
                <a:gd name="T20" fmla="*/ 23 w 46"/>
                <a:gd name="T21" fmla="*/ 45 h 45"/>
                <a:gd name="T22" fmla="*/ 19 w 46"/>
                <a:gd name="T23" fmla="*/ 45 h 45"/>
                <a:gd name="T24" fmla="*/ 14 w 46"/>
                <a:gd name="T25" fmla="*/ 44 h 45"/>
                <a:gd name="T26" fmla="*/ 11 w 46"/>
                <a:gd name="T27" fmla="*/ 42 h 45"/>
                <a:gd name="T28" fmla="*/ 6 w 46"/>
                <a:gd name="T29" fmla="*/ 39 h 45"/>
                <a:gd name="T30" fmla="*/ 4 w 46"/>
                <a:gd name="T31" fmla="*/ 36 h 45"/>
                <a:gd name="T32" fmla="*/ 2 w 46"/>
                <a:gd name="T33" fmla="*/ 32 h 45"/>
                <a:gd name="T34" fmla="*/ 0 w 46"/>
                <a:gd name="T35" fmla="*/ 28 h 45"/>
                <a:gd name="T36" fmla="*/ 0 w 46"/>
                <a:gd name="T37" fmla="*/ 23 h 45"/>
                <a:gd name="T38" fmla="*/ 0 w 46"/>
                <a:gd name="T39" fmla="*/ 23 h 45"/>
                <a:gd name="T40" fmla="*/ 0 w 46"/>
                <a:gd name="T41" fmla="*/ 18 h 45"/>
                <a:gd name="T42" fmla="*/ 2 w 46"/>
                <a:gd name="T43" fmla="*/ 14 h 45"/>
                <a:gd name="T44" fmla="*/ 4 w 46"/>
                <a:gd name="T45" fmla="*/ 10 h 45"/>
                <a:gd name="T46" fmla="*/ 6 w 46"/>
                <a:gd name="T47" fmla="*/ 7 h 45"/>
                <a:gd name="T48" fmla="*/ 11 w 46"/>
                <a:gd name="T49" fmla="*/ 4 h 45"/>
                <a:gd name="T50" fmla="*/ 14 w 46"/>
                <a:gd name="T51" fmla="*/ 2 h 45"/>
                <a:gd name="T52" fmla="*/ 19 w 46"/>
                <a:gd name="T53" fmla="*/ 1 h 45"/>
                <a:gd name="T54" fmla="*/ 23 w 46"/>
                <a:gd name="T55" fmla="*/ 0 h 45"/>
                <a:gd name="T56" fmla="*/ 23 w 46"/>
                <a:gd name="T57" fmla="*/ 0 h 45"/>
                <a:gd name="T58" fmla="*/ 28 w 46"/>
                <a:gd name="T59" fmla="*/ 1 h 45"/>
                <a:gd name="T60" fmla="*/ 32 w 46"/>
                <a:gd name="T61" fmla="*/ 2 h 45"/>
                <a:gd name="T62" fmla="*/ 36 w 46"/>
                <a:gd name="T63" fmla="*/ 4 h 45"/>
                <a:gd name="T64" fmla="*/ 40 w 46"/>
                <a:gd name="T65" fmla="*/ 7 h 45"/>
                <a:gd name="T66" fmla="*/ 42 w 46"/>
                <a:gd name="T67" fmla="*/ 10 h 45"/>
                <a:gd name="T68" fmla="*/ 45 w 46"/>
                <a:gd name="T69" fmla="*/ 14 h 45"/>
                <a:gd name="T70" fmla="*/ 46 w 46"/>
                <a:gd name="T71" fmla="*/ 18 h 45"/>
                <a:gd name="T72" fmla="*/ 46 w 46"/>
                <a:gd name="T73" fmla="*/ 23 h 45"/>
                <a:gd name="T74" fmla="*/ 46 w 46"/>
                <a:gd name="T75" fmla="*/ 2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 h="45">
                  <a:moveTo>
                    <a:pt x="46" y="23"/>
                  </a:moveTo>
                  <a:lnTo>
                    <a:pt x="46" y="23"/>
                  </a:lnTo>
                  <a:lnTo>
                    <a:pt x="46" y="28"/>
                  </a:lnTo>
                  <a:lnTo>
                    <a:pt x="45" y="32"/>
                  </a:lnTo>
                  <a:lnTo>
                    <a:pt x="42" y="36"/>
                  </a:lnTo>
                  <a:lnTo>
                    <a:pt x="40" y="39"/>
                  </a:lnTo>
                  <a:lnTo>
                    <a:pt x="36" y="42"/>
                  </a:lnTo>
                  <a:lnTo>
                    <a:pt x="32" y="44"/>
                  </a:lnTo>
                  <a:lnTo>
                    <a:pt x="28" y="45"/>
                  </a:lnTo>
                  <a:lnTo>
                    <a:pt x="23" y="45"/>
                  </a:lnTo>
                  <a:lnTo>
                    <a:pt x="23" y="45"/>
                  </a:lnTo>
                  <a:lnTo>
                    <a:pt x="19" y="45"/>
                  </a:lnTo>
                  <a:lnTo>
                    <a:pt x="14" y="44"/>
                  </a:lnTo>
                  <a:lnTo>
                    <a:pt x="11" y="42"/>
                  </a:lnTo>
                  <a:lnTo>
                    <a:pt x="6" y="39"/>
                  </a:lnTo>
                  <a:lnTo>
                    <a:pt x="4" y="36"/>
                  </a:lnTo>
                  <a:lnTo>
                    <a:pt x="2" y="32"/>
                  </a:lnTo>
                  <a:lnTo>
                    <a:pt x="0" y="28"/>
                  </a:lnTo>
                  <a:lnTo>
                    <a:pt x="0" y="23"/>
                  </a:lnTo>
                  <a:lnTo>
                    <a:pt x="0" y="23"/>
                  </a:lnTo>
                  <a:lnTo>
                    <a:pt x="0" y="18"/>
                  </a:lnTo>
                  <a:lnTo>
                    <a:pt x="2" y="14"/>
                  </a:lnTo>
                  <a:lnTo>
                    <a:pt x="4" y="10"/>
                  </a:lnTo>
                  <a:lnTo>
                    <a:pt x="6" y="7"/>
                  </a:lnTo>
                  <a:lnTo>
                    <a:pt x="11" y="4"/>
                  </a:lnTo>
                  <a:lnTo>
                    <a:pt x="14" y="2"/>
                  </a:lnTo>
                  <a:lnTo>
                    <a:pt x="19" y="1"/>
                  </a:lnTo>
                  <a:lnTo>
                    <a:pt x="23" y="0"/>
                  </a:lnTo>
                  <a:lnTo>
                    <a:pt x="23" y="0"/>
                  </a:lnTo>
                  <a:lnTo>
                    <a:pt x="28" y="1"/>
                  </a:lnTo>
                  <a:lnTo>
                    <a:pt x="32" y="2"/>
                  </a:lnTo>
                  <a:lnTo>
                    <a:pt x="36" y="4"/>
                  </a:lnTo>
                  <a:lnTo>
                    <a:pt x="40" y="7"/>
                  </a:lnTo>
                  <a:lnTo>
                    <a:pt x="42" y="10"/>
                  </a:lnTo>
                  <a:lnTo>
                    <a:pt x="45" y="14"/>
                  </a:lnTo>
                  <a:lnTo>
                    <a:pt x="46" y="18"/>
                  </a:lnTo>
                  <a:lnTo>
                    <a:pt x="46" y="23"/>
                  </a:lnTo>
                  <a:lnTo>
                    <a:pt x="46" y="23"/>
                  </a:lnTo>
                  <a:close/>
                </a:path>
              </a:pathLst>
            </a:custGeom>
            <a:solidFill>
              <a:srgbClr val="A2A345"/>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grpSp>
      <p:grpSp>
        <p:nvGrpSpPr>
          <p:cNvPr id="12" name="Group 11"/>
          <p:cNvGrpSpPr>
            <a:grpSpLocks/>
          </p:cNvGrpSpPr>
          <p:nvPr/>
        </p:nvGrpSpPr>
        <p:grpSpPr bwMode="auto">
          <a:xfrm>
            <a:off x="3394075" y="4854575"/>
            <a:ext cx="1241425" cy="889000"/>
            <a:chOff x="3393555" y="4854192"/>
            <a:chExt cx="1241744" cy="889056"/>
          </a:xfrm>
        </p:grpSpPr>
        <p:sp>
          <p:nvSpPr>
            <p:cNvPr id="44" name="Freeform 271"/>
            <p:cNvSpPr>
              <a:spLocks/>
            </p:cNvSpPr>
            <p:nvPr/>
          </p:nvSpPr>
          <p:spPr bwMode="auto">
            <a:xfrm>
              <a:off x="3393555" y="5022478"/>
              <a:ext cx="1168700" cy="720770"/>
            </a:xfrm>
            <a:custGeom>
              <a:avLst/>
              <a:gdLst>
                <a:gd name="T0" fmla="*/ 467 w 475"/>
                <a:gd name="T1" fmla="*/ 0 h 295"/>
                <a:gd name="T2" fmla="*/ 467 w 475"/>
                <a:gd name="T3" fmla="*/ 186 h 295"/>
                <a:gd name="T4" fmla="*/ 467 w 475"/>
                <a:gd name="T5" fmla="*/ 186 h 295"/>
                <a:gd name="T6" fmla="*/ 465 w 475"/>
                <a:gd name="T7" fmla="*/ 197 h 295"/>
                <a:gd name="T8" fmla="*/ 464 w 475"/>
                <a:gd name="T9" fmla="*/ 206 h 295"/>
                <a:gd name="T10" fmla="*/ 461 w 475"/>
                <a:gd name="T11" fmla="*/ 215 h 295"/>
                <a:gd name="T12" fmla="*/ 458 w 475"/>
                <a:gd name="T13" fmla="*/ 225 h 295"/>
                <a:gd name="T14" fmla="*/ 454 w 475"/>
                <a:gd name="T15" fmla="*/ 234 h 295"/>
                <a:gd name="T16" fmla="*/ 449 w 475"/>
                <a:gd name="T17" fmla="*/ 242 h 295"/>
                <a:gd name="T18" fmla="*/ 444 w 475"/>
                <a:gd name="T19" fmla="*/ 250 h 295"/>
                <a:gd name="T20" fmla="*/ 436 w 475"/>
                <a:gd name="T21" fmla="*/ 257 h 295"/>
                <a:gd name="T22" fmla="*/ 436 w 475"/>
                <a:gd name="T23" fmla="*/ 257 h 295"/>
                <a:gd name="T24" fmla="*/ 430 w 475"/>
                <a:gd name="T25" fmla="*/ 263 h 295"/>
                <a:gd name="T26" fmla="*/ 422 w 475"/>
                <a:gd name="T27" fmla="*/ 270 h 295"/>
                <a:gd name="T28" fmla="*/ 413 w 475"/>
                <a:gd name="T29" fmla="*/ 275 h 295"/>
                <a:gd name="T30" fmla="*/ 405 w 475"/>
                <a:gd name="T31" fmla="*/ 279 h 295"/>
                <a:gd name="T32" fmla="*/ 396 w 475"/>
                <a:gd name="T33" fmla="*/ 282 h 295"/>
                <a:gd name="T34" fmla="*/ 386 w 475"/>
                <a:gd name="T35" fmla="*/ 284 h 295"/>
                <a:gd name="T36" fmla="*/ 376 w 475"/>
                <a:gd name="T37" fmla="*/ 286 h 295"/>
                <a:gd name="T38" fmla="*/ 365 w 475"/>
                <a:gd name="T39" fmla="*/ 286 h 295"/>
                <a:gd name="T40" fmla="*/ 0 w 475"/>
                <a:gd name="T41" fmla="*/ 286 h 295"/>
                <a:gd name="T42" fmla="*/ 0 w 475"/>
                <a:gd name="T43" fmla="*/ 295 h 295"/>
                <a:gd name="T44" fmla="*/ 365 w 475"/>
                <a:gd name="T45" fmla="*/ 295 h 295"/>
                <a:gd name="T46" fmla="*/ 365 w 475"/>
                <a:gd name="T47" fmla="*/ 295 h 295"/>
                <a:gd name="T48" fmla="*/ 377 w 475"/>
                <a:gd name="T49" fmla="*/ 295 h 295"/>
                <a:gd name="T50" fmla="*/ 387 w 475"/>
                <a:gd name="T51" fmla="*/ 293 h 295"/>
                <a:gd name="T52" fmla="*/ 398 w 475"/>
                <a:gd name="T53" fmla="*/ 290 h 295"/>
                <a:gd name="T54" fmla="*/ 408 w 475"/>
                <a:gd name="T55" fmla="*/ 286 h 295"/>
                <a:gd name="T56" fmla="*/ 418 w 475"/>
                <a:gd name="T57" fmla="*/ 282 h 295"/>
                <a:gd name="T58" fmla="*/ 427 w 475"/>
                <a:gd name="T59" fmla="*/ 277 h 295"/>
                <a:gd name="T60" fmla="*/ 435 w 475"/>
                <a:gd name="T61" fmla="*/ 270 h 295"/>
                <a:gd name="T62" fmla="*/ 443 w 475"/>
                <a:gd name="T63" fmla="*/ 263 h 295"/>
                <a:gd name="T64" fmla="*/ 450 w 475"/>
                <a:gd name="T65" fmla="*/ 255 h 295"/>
                <a:gd name="T66" fmla="*/ 456 w 475"/>
                <a:gd name="T67" fmla="*/ 247 h 295"/>
                <a:gd name="T68" fmla="*/ 461 w 475"/>
                <a:gd name="T69" fmla="*/ 238 h 295"/>
                <a:gd name="T70" fmla="*/ 465 w 475"/>
                <a:gd name="T71" fmla="*/ 228 h 295"/>
                <a:gd name="T72" fmla="*/ 470 w 475"/>
                <a:gd name="T73" fmla="*/ 219 h 295"/>
                <a:gd name="T74" fmla="*/ 473 w 475"/>
                <a:gd name="T75" fmla="*/ 208 h 295"/>
                <a:gd name="T76" fmla="*/ 474 w 475"/>
                <a:gd name="T77" fmla="*/ 197 h 295"/>
                <a:gd name="T78" fmla="*/ 475 w 475"/>
                <a:gd name="T79" fmla="*/ 186 h 295"/>
                <a:gd name="T80" fmla="*/ 475 w 475"/>
                <a:gd name="T81" fmla="*/ 0 h 295"/>
                <a:gd name="T82" fmla="*/ 467 w 475"/>
                <a:gd name="T83" fmla="*/ 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75" h="295">
                  <a:moveTo>
                    <a:pt x="467" y="0"/>
                  </a:moveTo>
                  <a:lnTo>
                    <a:pt x="467" y="186"/>
                  </a:lnTo>
                  <a:lnTo>
                    <a:pt x="467" y="186"/>
                  </a:lnTo>
                  <a:lnTo>
                    <a:pt x="465" y="197"/>
                  </a:lnTo>
                  <a:lnTo>
                    <a:pt x="464" y="206"/>
                  </a:lnTo>
                  <a:lnTo>
                    <a:pt x="461" y="215"/>
                  </a:lnTo>
                  <a:lnTo>
                    <a:pt x="458" y="225"/>
                  </a:lnTo>
                  <a:lnTo>
                    <a:pt x="454" y="234"/>
                  </a:lnTo>
                  <a:lnTo>
                    <a:pt x="449" y="242"/>
                  </a:lnTo>
                  <a:lnTo>
                    <a:pt x="444" y="250"/>
                  </a:lnTo>
                  <a:lnTo>
                    <a:pt x="436" y="257"/>
                  </a:lnTo>
                  <a:lnTo>
                    <a:pt x="436" y="257"/>
                  </a:lnTo>
                  <a:lnTo>
                    <a:pt x="430" y="263"/>
                  </a:lnTo>
                  <a:lnTo>
                    <a:pt x="422" y="270"/>
                  </a:lnTo>
                  <a:lnTo>
                    <a:pt x="413" y="275"/>
                  </a:lnTo>
                  <a:lnTo>
                    <a:pt x="405" y="279"/>
                  </a:lnTo>
                  <a:lnTo>
                    <a:pt x="396" y="282"/>
                  </a:lnTo>
                  <a:lnTo>
                    <a:pt x="386" y="284"/>
                  </a:lnTo>
                  <a:lnTo>
                    <a:pt x="376" y="286"/>
                  </a:lnTo>
                  <a:lnTo>
                    <a:pt x="365" y="286"/>
                  </a:lnTo>
                  <a:lnTo>
                    <a:pt x="0" y="286"/>
                  </a:lnTo>
                  <a:lnTo>
                    <a:pt x="0" y="295"/>
                  </a:lnTo>
                  <a:lnTo>
                    <a:pt x="365" y="295"/>
                  </a:lnTo>
                  <a:lnTo>
                    <a:pt x="365" y="295"/>
                  </a:lnTo>
                  <a:lnTo>
                    <a:pt x="377" y="295"/>
                  </a:lnTo>
                  <a:lnTo>
                    <a:pt x="387" y="293"/>
                  </a:lnTo>
                  <a:lnTo>
                    <a:pt x="398" y="290"/>
                  </a:lnTo>
                  <a:lnTo>
                    <a:pt x="408" y="286"/>
                  </a:lnTo>
                  <a:lnTo>
                    <a:pt x="418" y="282"/>
                  </a:lnTo>
                  <a:lnTo>
                    <a:pt x="427" y="277"/>
                  </a:lnTo>
                  <a:lnTo>
                    <a:pt x="435" y="270"/>
                  </a:lnTo>
                  <a:lnTo>
                    <a:pt x="443" y="263"/>
                  </a:lnTo>
                  <a:lnTo>
                    <a:pt x="450" y="255"/>
                  </a:lnTo>
                  <a:lnTo>
                    <a:pt x="456" y="247"/>
                  </a:lnTo>
                  <a:lnTo>
                    <a:pt x="461" y="238"/>
                  </a:lnTo>
                  <a:lnTo>
                    <a:pt x="465" y="228"/>
                  </a:lnTo>
                  <a:lnTo>
                    <a:pt x="470" y="219"/>
                  </a:lnTo>
                  <a:lnTo>
                    <a:pt x="473" y="208"/>
                  </a:lnTo>
                  <a:lnTo>
                    <a:pt x="474" y="197"/>
                  </a:lnTo>
                  <a:lnTo>
                    <a:pt x="475" y="186"/>
                  </a:lnTo>
                  <a:lnTo>
                    <a:pt x="475" y="0"/>
                  </a:lnTo>
                  <a:lnTo>
                    <a:pt x="467" y="0"/>
                  </a:lnTo>
                  <a:close/>
                </a:path>
              </a:pathLst>
            </a:custGeom>
            <a:solidFill>
              <a:srgbClr val="BABCBB"/>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45" name="Freeform 272"/>
            <p:cNvSpPr>
              <a:spLocks/>
            </p:cNvSpPr>
            <p:nvPr/>
          </p:nvSpPr>
          <p:spPr bwMode="auto">
            <a:xfrm>
              <a:off x="4451102" y="4854192"/>
              <a:ext cx="184197" cy="184162"/>
            </a:xfrm>
            <a:custGeom>
              <a:avLst/>
              <a:gdLst>
                <a:gd name="T0" fmla="*/ 0 w 74"/>
                <a:gd name="T1" fmla="*/ 37 h 74"/>
                <a:gd name="T2" fmla="*/ 1 w 74"/>
                <a:gd name="T3" fmla="*/ 45 h 74"/>
                <a:gd name="T4" fmla="*/ 6 w 74"/>
                <a:gd name="T5" fmla="*/ 58 h 74"/>
                <a:gd name="T6" fmla="*/ 12 w 74"/>
                <a:gd name="T7" fmla="*/ 63 h 74"/>
                <a:gd name="T8" fmla="*/ 23 w 74"/>
                <a:gd name="T9" fmla="*/ 72 h 74"/>
                <a:gd name="T10" fmla="*/ 38 w 74"/>
                <a:gd name="T11" fmla="*/ 74 h 74"/>
                <a:gd name="T12" fmla="*/ 45 w 74"/>
                <a:gd name="T13" fmla="*/ 74 h 74"/>
                <a:gd name="T14" fmla="*/ 58 w 74"/>
                <a:gd name="T15" fmla="*/ 68 h 74"/>
                <a:gd name="T16" fmla="*/ 68 w 74"/>
                <a:gd name="T17" fmla="*/ 58 h 74"/>
                <a:gd name="T18" fmla="*/ 73 w 74"/>
                <a:gd name="T19" fmla="*/ 45 h 74"/>
                <a:gd name="T20" fmla="*/ 74 w 74"/>
                <a:gd name="T21" fmla="*/ 37 h 74"/>
                <a:gd name="T22" fmla="*/ 71 w 74"/>
                <a:gd name="T23" fmla="*/ 23 h 74"/>
                <a:gd name="T24" fmla="*/ 64 w 74"/>
                <a:gd name="T25" fmla="*/ 11 h 74"/>
                <a:gd name="T26" fmla="*/ 58 w 74"/>
                <a:gd name="T27" fmla="*/ 6 h 74"/>
                <a:gd name="T28" fmla="*/ 45 w 74"/>
                <a:gd name="T29" fmla="*/ 1 h 74"/>
                <a:gd name="T30" fmla="*/ 38 w 74"/>
                <a:gd name="T31" fmla="*/ 0 h 74"/>
                <a:gd name="T32" fmla="*/ 23 w 74"/>
                <a:gd name="T33" fmla="*/ 3 h 74"/>
                <a:gd name="T34" fmla="*/ 12 w 74"/>
                <a:gd name="T35" fmla="*/ 11 h 74"/>
                <a:gd name="T36" fmla="*/ 6 w 74"/>
                <a:gd name="T37" fmla="*/ 17 h 74"/>
                <a:gd name="T38" fmla="*/ 1 w 74"/>
                <a:gd name="T39" fmla="*/ 30 h 74"/>
                <a:gd name="T40" fmla="*/ 11 w 74"/>
                <a:gd name="T41" fmla="*/ 37 h 74"/>
                <a:gd name="T42" fmla="*/ 21 w 74"/>
                <a:gd name="T43" fmla="*/ 37 h 74"/>
                <a:gd name="T44" fmla="*/ 22 w 74"/>
                <a:gd name="T45" fmla="*/ 31 h 74"/>
                <a:gd name="T46" fmla="*/ 26 w 74"/>
                <a:gd name="T47" fmla="*/ 26 h 74"/>
                <a:gd name="T48" fmla="*/ 34 w 74"/>
                <a:gd name="T49" fmla="*/ 22 h 74"/>
                <a:gd name="T50" fmla="*/ 38 w 74"/>
                <a:gd name="T51" fmla="*/ 21 h 74"/>
                <a:gd name="T52" fmla="*/ 44 w 74"/>
                <a:gd name="T53" fmla="*/ 23 h 74"/>
                <a:gd name="T54" fmla="*/ 49 w 74"/>
                <a:gd name="T55" fmla="*/ 26 h 74"/>
                <a:gd name="T56" fmla="*/ 53 w 74"/>
                <a:gd name="T57" fmla="*/ 34 h 74"/>
                <a:gd name="T58" fmla="*/ 53 w 74"/>
                <a:gd name="T59" fmla="*/ 37 h 74"/>
                <a:gd name="T60" fmla="*/ 52 w 74"/>
                <a:gd name="T61" fmla="*/ 44 h 74"/>
                <a:gd name="T62" fmla="*/ 49 w 74"/>
                <a:gd name="T63" fmla="*/ 49 h 74"/>
                <a:gd name="T64" fmla="*/ 41 w 74"/>
                <a:gd name="T65" fmla="*/ 53 h 74"/>
                <a:gd name="T66" fmla="*/ 38 w 74"/>
                <a:gd name="T67" fmla="*/ 53 h 74"/>
                <a:gd name="T68" fmla="*/ 31 w 74"/>
                <a:gd name="T69" fmla="*/ 52 h 74"/>
                <a:gd name="T70" fmla="*/ 26 w 74"/>
                <a:gd name="T71" fmla="*/ 49 h 74"/>
                <a:gd name="T72" fmla="*/ 22 w 74"/>
                <a:gd name="T73" fmla="*/ 40 h 74"/>
                <a:gd name="T74" fmla="*/ 11 w 74"/>
                <a:gd name="T75"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 h="74">
                  <a:moveTo>
                    <a:pt x="11" y="37"/>
                  </a:moveTo>
                  <a:lnTo>
                    <a:pt x="0" y="37"/>
                  </a:lnTo>
                  <a:lnTo>
                    <a:pt x="0" y="37"/>
                  </a:lnTo>
                  <a:lnTo>
                    <a:pt x="1" y="45"/>
                  </a:lnTo>
                  <a:lnTo>
                    <a:pt x="3" y="52"/>
                  </a:lnTo>
                  <a:lnTo>
                    <a:pt x="6" y="58"/>
                  </a:lnTo>
                  <a:lnTo>
                    <a:pt x="12" y="63"/>
                  </a:lnTo>
                  <a:lnTo>
                    <a:pt x="12" y="63"/>
                  </a:lnTo>
                  <a:lnTo>
                    <a:pt x="17" y="68"/>
                  </a:lnTo>
                  <a:lnTo>
                    <a:pt x="23" y="72"/>
                  </a:lnTo>
                  <a:lnTo>
                    <a:pt x="30" y="74"/>
                  </a:lnTo>
                  <a:lnTo>
                    <a:pt x="38" y="74"/>
                  </a:lnTo>
                  <a:lnTo>
                    <a:pt x="38" y="74"/>
                  </a:lnTo>
                  <a:lnTo>
                    <a:pt x="45" y="74"/>
                  </a:lnTo>
                  <a:lnTo>
                    <a:pt x="52" y="72"/>
                  </a:lnTo>
                  <a:lnTo>
                    <a:pt x="58" y="68"/>
                  </a:lnTo>
                  <a:lnTo>
                    <a:pt x="64" y="63"/>
                  </a:lnTo>
                  <a:lnTo>
                    <a:pt x="68" y="58"/>
                  </a:lnTo>
                  <a:lnTo>
                    <a:pt x="71" y="52"/>
                  </a:lnTo>
                  <a:lnTo>
                    <a:pt x="73" y="45"/>
                  </a:lnTo>
                  <a:lnTo>
                    <a:pt x="74" y="37"/>
                  </a:lnTo>
                  <a:lnTo>
                    <a:pt x="74" y="37"/>
                  </a:lnTo>
                  <a:lnTo>
                    <a:pt x="73" y="30"/>
                  </a:lnTo>
                  <a:lnTo>
                    <a:pt x="71" y="23"/>
                  </a:lnTo>
                  <a:lnTo>
                    <a:pt x="68" y="17"/>
                  </a:lnTo>
                  <a:lnTo>
                    <a:pt x="64" y="11"/>
                  </a:lnTo>
                  <a:lnTo>
                    <a:pt x="64" y="11"/>
                  </a:lnTo>
                  <a:lnTo>
                    <a:pt x="58" y="6"/>
                  </a:lnTo>
                  <a:lnTo>
                    <a:pt x="52" y="3"/>
                  </a:lnTo>
                  <a:lnTo>
                    <a:pt x="45" y="1"/>
                  </a:lnTo>
                  <a:lnTo>
                    <a:pt x="38" y="0"/>
                  </a:lnTo>
                  <a:lnTo>
                    <a:pt x="38" y="0"/>
                  </a:lnTo>
                  <a:lnTo>
                    <a:pt x="30" y="1"/>
                  </a:lnTo>
                  <a:lnTo>
                    <a:pt x="23" y="3"/>
                  </a:lnTo>
                  <a:lnTo>
                    <a:pt x="17" y="6"/>
                  </a:lnTo>
                  <a:lnTo>
                    <a:pt x="12" y="11"/>
                  </a:lnTo>
                  <a:lnTo>
                    <a:pt x="12" y="11"/>
                  </a:lnTo>
                  <a:lnTo>
                    <a:pt x="6" y="17"/>
                  </a:lnTo>
                  <a:lnTo>
                    <a:pt x="3" y="23"/>
                  </a:lnTo>
                  <a:lnTo>
                    <a:pt x="1" y="30"/>
                  </a:lnTo>
                  <a:lnTo>
                    <a:pt x="0" y="37"/>
                  </a:lnTo>
                  <a:lnTo>
                    <a:pt x="11" y="37"/>
                  </a:lnTo>
                  <a:lnTo>
                    <a:pt x="21" y="37"/>
                  </a:lnTo>
                  <a:lnTo>
                    <a:pt x="21" y="37"/>
                  </a:lnTo>
                  <a:lnTo>
                    <a:pt x="22" y="34"/>
                  </a:lnTo>
                  <a:lnTo>
                    <a:pt x="22" y="31"/>
                  </a:lnTo>
                  <a:lnTo>
                    <a:pt x="26" y="26"/>
                  </a:lnTo>
                  <a:lnTo>
                    <a:pt x="26" y="26"/>
                  </a:lnTo>
                  <a:lnTo>
                    <a:pt x="31" y="23"/>
                  </a:lnTo>
                  <a:lnTo>
                    <a:pt x="34" y="22"/>
                  </a:lnTo>
                  <a:lnTo>
                    <a:pt x="38" y="21"/>
                  </a:lnTo>
                  <a:lnTo>
                    <a:pt x="38" y="21"/>
                  </a:lnTo>
                  <a:lnTo>
                    <a:pt x="41" y="22"/>
                  </a:lnTo>
                  <a:lnTo>
                    <a:pt x="44" y="23"/>
                  </a:lnTo>
                  <a:lnTo>
                    <a:pt x="49" y="26"/>
                  </a:lnTo>
                  <a:lnTo>
                    <a:pt x="49" y="26"/>
                  </a:lnTo>
                  <a:lnTo>
                    <a:pt x="52" y="31"/>
                  </a:lnTo>
                  <a:lnTo>
                    <a:pt x="53" y="34"/>
                  </a:lnTo>
                  <a:lnTo>
                    <a:pt x="53" y="37"/>
                  </a:lnTo>
                  <a:lnTo>
                    <a:pt x="53" y="37"/>
                  </a:lnTo>
                  <a:lnTo>
                    <a:pt x="53" y="40"/>
                  </a:lnTo>
                  <a:lnTo>
                    <a:pt x="52" y="44"/>
                  </a:lnTo>
                  <a:lnTo>
                    <a:pt x="49" y="49"/>
                  </a:lnTo>
                  <a:lnTo>
                    <a:pt x="49" y="49"/>
                  </a:lnTo>
                  <a:lnTo>
                    <a:pt x="44" y="52"/>
                  </a:lnTo>
                  <a:lnTo>
                    <a:pt x="41" y="53"/>
                  </a:lnTo>
                  <a:lnTo>
                    <a:pt x="38" y="53"/>
                  </a:lnTo>
                  <a:lnTo>
                    <a:pt x="38" y="53"/>
                  </a:lnTo>
                  <a:lnTo>
                    <a:pt x="34" y="53"/>
                  </a:lnTo>
                  <a:lnTo>
                    <a:pt x="31" y="52"/>
                  </a:lnTo>
                  <a:lnTo>
                    <a:pt x="26" y="49"/>
                  </a:lnTo>
                  <a:lnTo>
                    <a:pt x="26" y="49"/>
                  </a:lnTo>
                  <a:lnTo>
                    <a:pt x="22" y="44"/>
                  </a:lnTo>
                  <a:lnTo>
                    <a:pt x="22" y="40"/>
                  </a:lnTo>
                  <a:lnTo>
                    <a:pt x="21" y="37"/>
                  </a:lnTo>
                  <a:lnTo>
                    <a:pt x="11" y="37"/>
                  </a:lnTo>
                  <a:close/>
                </a:path>
              </a:pathLst>
            </a:custGeom>
            <a:solidFill>
              <a:srgbClr val="4D9C9A"/>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65" name="Freeform 392"/>
            <p:cNvSpPr>
              <a:spLocks/>
            </p:cNvSpPr>
            <p:nvPr/>
          </p:nvSpPr>
          <p:spPr bwMode="auto">
            <a:xfrm>
              <a:off x="4070004" y="5139960"/>
              <a:ext cx="279472" cy="279418"/>
            </a:xfrm>
            <a:custGeom>
              <a:avLst/>
              <a:gdLst>
                <a:gd name="T0" fmla="*/ 113 w 113"/>
                <a:gd name="T1" fmla="*/ 56 h 113"/>
                <a:gd name="T2" fmla="*/ 113 w 113"/>
                <a:gd name="T3" fmla="*/ 56 h 113"/>
                <a:gd name="T4" fmla="*/ 112 w 113"/>
                <a:gd name="T5" fmla="*/ 67 h 113"/>
                <a:gd name="T6" fmla="*/ 109 w 113"/>
                <a:gd name="T7" fmla="*/ 79 h 113"/>
                <a:gd name="T8" fmla="*/ 104 w 113"/>
                <a:gd name="T9" fmla="*/ 88 h 113"/>
                <a:gd name="T10" fmla="*/ 97 w 113"/>
                <a:gd name="T11" fmla="*/ 97 h 113"/>
                <a:gd name="T12" fmla="*/ 88 w 113"/>
                <a:gd name="T13" fmla="*/ 104 h 113"/>
                <a:gd name="T14" fmla="*/ 79 w 113"/>
                <a:gd name="T15" fmla="*/ 109 h 113"/>
                <a:gd name="T16" fmla="*/ 69 w 113"/>
                <a:gd name="T17" fmla="*/ 112 h 113"/>
                <a:gd name="T18" fmla="*/ 57 w 113"/>
                <a:gd name="T19" fmla="*/ 113 h 113"/>
                <a:gd name="T20" fmla="*/ 57 w 113"/>
                <a:gd name="T21" fmla="*/ 113 h 113"/>
                <a:gd name="T22" fmla="*/ 46 w 113"/>
                <a:gd name="T23" fmla="*/ 112 h 113"/>
                <a:gd name="T24" fmla="*/ 34 w 113"/>
                <a:gd name="T25" fmla="*/ 109 h 113"/>
                <a:gd name="T26" fmla="*/ 25 w 113"/>
                <a:gd name="T27" fmla="*/ 104 h 113"/>
                <a:gd name="T28" fmla="*/ 16 w 113"/>
                <a:gd name="T29" fmla="*/ 97 h 113"/>
                <a:gd name="T30" fmla="*/ 9 w 113"/>
                <a:gd name="T31" fmla="*/ 88 h 113"/>
                <a:gd name="T32" fmla="*/ 4 w 113"/>
                <a:gd name="T33" fmla="*/ 79 h 113"/>
                <a:gd name="T34" fmla="*/ 1 w 113"/>
                <a:gd name="T35" fmla="*/ 67 h 113"/>
                <a:gd name="T36" fmla="*/ 0 w 113"/>
                <a:gd name="T37" fmla="*/ 56 h 113"/>
                <a:gd name="T38" fmla="*/ 0 w 113"/>
                <a:gd name="T39" fmla="*/ 56 h 113"/>
                <a:gd name="T40" fmla="*/ 1 w 113"/>
                <a:gd name="T41" fmla="*/ 44 h 113"/>
                <a:gd name="T42" fmla="*/ 4 w 113"/>
                <a:gd name="T43" fmla="*/ 34 h 113"/>
                <a:gd name="T44" fmla="*/ 9 w 113"/>
                <a:gd name="T45" fmla="*/ 25 h 113"/>
                <a:gd name="T46" fmla="*/ 16 w 113"/>
                <a:gd name="T47" fmla="*/ 16 h 113"/>
                <a:gd name="T48" fmla="*/ 25 w 113"/>
                <a:gd name="T49" fmla="*/ 9 h 113"/>
                <a:gd name="T50" fmla="*/ 34 w 113"/>
                <a:gd name="T51" fmla="*/ 4 h 113"/>
                <a:gd name="T52" fmla="*/ 46 w 113"/>
                <a:gd name="T53" fmla="*/ 1 h 113"/>
                <a:gd name="T54" fmla="*/ 57 w 113"/>
                <a:gd name="T55" fmla="*/ 0 h 113"/>
                <a:gd name="T56" fmla="*/ 57 w 113"/>
                <a:gd name="T57" fmla="*/ 0 h 113"/>
                <a:gd name="T58" fmla="*/ 69 w 113"/>
                <a:gd name="T59" fmla="*/ 1 h 113"/>
                <a:gd name="T60" fmla="*/ 79 w 113"/>
                <a:gd name="T61" fmla="*/ 4 h 113"/>
                <a:gd name="T62" fmla="*/ 88 w 113"/>
                <a:gd name="T63" fmla="*/ 9 h 113"/>
                <a:gd name="T64" fmla="*/ 97 w 113"/>
                <a:gd name="T65" fmla="*/ 16 h 113"/>
                <a:gd name="T66" fmla="*/ 104 w 113"/>
                <a:gd name="T67" fmla="*/ 25 h 113"/>
                <a:gd name="T68" fmla="*/ 109 w 113"/>
                <a:gd name="T69" fmla="*/ 34 h 113"/>
                <a:gd name="T70" fmla="*/ 112 w 113"/>
                <a:gd name="T71" fmla="*/ 44 h 113"/>
                <a:gd name="T72" fmla="*/ 113 w 113"/>
                <a:gd name="T73" fmla="*/ 56 h 113"/>
                <a:gd name="T74" fmla="*/ 113 w 113"/>
                <a:gd name="T75" fmla="*/ 5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3" h="113">
                  <a:moveTo>
                    <a:pt x="113" y="56"/>
                  </a:moveTo>
                  <a:lnTo>
                    <a:pt x="113" y="56"/>
                  </a:lnTo>
                  <a:lnTo>
                    <a:pt x="112" y="67"/>
                  </a:lnTo>
                  <a:lnTo>
                    <a:pt x="109" y="79"/>
                  </a:lnTo>
                  <a:lnTo>
                    <a:pt x="104" y="88"/>
                  </a:lnTo>
                  <a:lnTo>
                    <a:pt x="97" y="97"/>
                  </a:lnTo>
                  <a:lnTo>
                    <a:pt x="88" y="104"/>
                  </a:lnTo>
                  <a:lnTo>
                    <a:pt x="79" y="109"/>
                  </a:lnTo>
                  <a:lnTo>
                    <a:pt x="69" y="112"/>
                  </a:lnTo>
                  <a:lnTo>
                    <a:pt x="57" y="113"/>
                  </a:lnTo>
                  <a:lnTo>
                    <a:pt x="57" y="113"/>
                  </a:lnTo>
                  <a:lnTo>
                    <a:pt x="46" y="112"/>
                  </a:lnTo>
                  <a:lnTo>
                    <a:pt x="34" y="109"/>
                  </a:lnTo>
                  <a:lnTo>
                    <a:pt x="25" y="104"/>
                  </a:lnTo>
                  <a:lnTo>
                    <a:pt x="16" y="97"/>
                  </a:lnTo>
                  <a:lnTo>
                    <a:pt x="9" y="88"/>
                  </a:lnTo>
                  <a:lnTo>
                    <a:pt x="4" y="79"/>
                  </a:lnTo>
                  <a:lnTo>
                    <a:pt x="1" y="67"/>
                  </a:lnTo>
                  <a:lnTo>
                    <a:pt x="0" y="56"/>
                  </a:lnTo>
                  <a:lnTo>
                    <a:pt x="0" y="56"/>
                  </a:lnTo>
                  <a:lnTo>
                    <a:pt x="1" y="44"/>
                  </a:lnTo>
                  <a:lnTo>
                    <a:pt x="4" y="34"/>
                  </a:lnTo>
                  <a:lnTo>
                    <a:pt x="9" y="25"/>
                  </a:lnTo>
                  <a:lnTo>
                    <a:pt x="16" y="16"/>
                  </a:lnTo>
                  <a:lnTo>
                    <a:pt x="25" y="9"/>
                  </a:lnTo>
                  <a:lnTo>
                    <a:pt x="34" y="4"/>
                  </a:lnTo>
                  <a:lnTo>
                    <a:pt x="46" y="1"/>
                  </a:lnTo>
                  <a:lnTo>
                    <a:pt x="57" y="0"/>
                  </a:lnTo>
                  <a:lnTo>
                    <a:pt x="57" y="0"/>
                  </a:lnTo>
                  <a:lnTo>
                    <a:pt x="69" y="1"/>
                  </a:lnTo>
                  <a:lnTo>
                    <a:pt x="79" y="4"/>
                  </a:lnTo>
                  <a:lnTo>
                    <a:pt x="88" y="9"/>
                  </a:lnTo>
                  <a:lnTo>
                    <a:pt x="97" y="16"/>
                  </a:lnTo>
                  <a:lnTo>
                    <a:pt x="104" y="25"/>
                  </a:lnTo>
                  <a:lnTo>
                    <a:pt x="109" y="34"/>
                  </a:lnTo>
                  <a:lnTo>
                    <a:pt x="112" y="44"/>
                  </a:lnTo>
                  <a:lnTo>
                    <a:pt x="113" y="56"/>
                  </a:lnTo>
                  <a:lnTo>
                    <a:pt x="113" y="56"/>
                  </a:lnTo>
                  <a:close/>
                </a:path>
              </a:pathLst>
            </a:custGeom>
            <a:solidFill>
              <a:srgbClr val="92D050"/>
            </a:solidFill>
            <a:ln>
              <a:noFill/>
            </a:ln>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66" name="Freeform 393"/>
            <p:cNvSpPr>
              <a:spLocks/>
            </p:cNvSpPr>
            <p:nvPr/>
          </p:nvSpPr>
          <p:spPr bwMode="auto">
            <a:xfrm>
              <a:off x="4157339" y="5471769"/>
              <a:ext cx="117505" cy="44453"/>
            </a:xfrm>
            <a:custGeom>
              <a:avLst/>
              <a:gdLst>
                <a:gd name="T0" fmla="*/ 24 w 48"/>
                <a:gd name="T1" fmla="*/ 0 h 16"/>
                <a:gd name="T2" fmla="*/ 24 w 48"/>
                <a:gd name="T3" fmla="*/ 0 h 16"/>
                <a:gd name="T4" fmla="*/ 15 w 48"/>
                <a:gd name="T5" fmla="*/ 1 h 16"/>
                <a:gd name="T6" fmla="*/ 7 w 48"/>
                <a:gd name="T7" fmla="*/ 2 h 16"/>
                <a:gd name="T8" fmla="*/ 2 w 48"/>
                <a:gd name="T9" fmla="*/ 5 h 16"/>
                <a:gd name="T10" fmla="*/ 1 w 48"/>
                <a:gd name="T11" fmla="*/ 6 h 16"/>
                <a:gd name="T12" fmla="*/ 0 w 48"/>
                <a:gd name="T13" fmla="*/ 9 h 16"/>
                <a:gd name="T14" fmla="*/ 0 w 48"/>
                <a:gd name="T15" fmla="*/ 9 h 16"/>
                <a:gd name="T16" fmla="*/ 1 w 48"/>
                <a:gd name="T17" fmla="*/ 10 h 16"/>
                <a:gd name="T18" fmla="*/ 2 w 48"/>
                <a:gd name="T19" fmla="*/ 12 h 16"/>
                <a:gd name="T20" fmla="*/ 7 w 48"/>
                <a:gd name="T21" fmla="*/ 14 h 16"/>
                <a:gd name="T22" fmla="*/ 15 w 48"/>
                <a:gd name="T23" fmla="*/ 16 h 16"/>
                <a:gd name="T24" fmla="*/ 24 w 48"/>
                <a:gd name="T25" fmla="*/ 16 h 16"/>
                <a:gd name="T26" fmla="*/ 24 w 48"/>
                <a:gd name="T27" fmla="*/ 16 h 16"/>
                <a:gd name="T28" fmla="*/ 34 w 48"/>
                <a:gd name="T29" fmla="*/ 16 h 16"/>
                <a:gd name="T30" fmla="*/ 42 w 48"/>
                <a:gd name="T31" fmla="*/ 14 h 16"/>
                <a:gd name="T32" fmla="*/ 46 w 48"/>
                <a:gd name="T33" fmla="*/ 12 h 16"/>
                <a:gd name="T34" fmla="*/ 48 w 48"/>
                <a:gd name="T35" fmla="*/ 10 h 16"/>
                <a:gd name="T36" fmla="*/ 48 w 48"/>
                <a:gd name="T37" fmla="*/ 9 h 16"/>
                <a:gd name="T38" fmla="*/ 48 w 48"/>
                <a:gd name="T39" fmla="*/ 9 h 16"/>
                <a:gd name="T40" fmla="*/ 48 w 48"/>
                <a:gd name="T41" fmla="*/ 6 h 16"/>
                <a:gd name="T42" fmla="*/ 46 w 48"/>
                <a:gd name="T43" fmla="*/ 5 h 16"/>
                <a:gd name="T44" fmla="*/ 42 w 48"/>
                <a:gd name="T45" fmla="*/ 2 h 16"/>
                <a:gd name="T46" fmla="*/ 34 w 48"/>
                <a:gd name="T47" fmla="*/ 1 h 16"/>
                <a:gd name="T48" fmla="*/ 24 w 48"/>
                <a:gd name="T4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 h="16">
                  <a:moveTo>
                    <a:pt x="24" y="0"/>
                  </a:moveTo>
                  <a:lnTo>
                    <a:pt x="24" y="0"/>
                  </a:lnTo>
                  <a:lnTo>
                    <a:pt x="15" y="1"/>
                  </a:lnTo>
                  <a:lnTo>
                    <a:pt x="7" y="2"/>
                  </a:lnTo>
                  <a:lnTo>
                    <a:pt x="2" y="5"/>
                  </a:lnTo>
                  <a:lnTo>
                    <a:pt x="1" y="6"/>
                  </a:lnTo>
                  <a:lnTo>
                    <a:pt x="0" y="9"/>
                  </a:lnTo>
                  <a:lnTo>
                    <a:pt x="0" y="9"/>
                  </a:lnTo>
                  <a:lnTo>
                    <a:pt x="1" y="10"/>
                  </a:lnTo>
                  <a:lnTo>
                    <a:pt x="2" y="12"/>
                  </a:lnTo>
                  <a:lnTo>
                    <a:pt x="7" y="14"/>
                  </a:lnTo>
                  <a:lnTo>
                    <a:pt x="15" y="16"/>
                  </a:lnTo>
                  <a:lnTo>
                    <a:pt x="24" y="16"/>
                  </a:lnTo>
                  <a:lnTo>
                    <a:pt x="24" y="16"/>
                  </a:lnTo>
                  <a:lnTo>
                    <a:pt x="34" y="16"/>
                  </a:lnTo>
                  <a:lnTo>
                    <a:pt x="42" y="14"/>
                  </a:lnTo>
                  <a:lnTo>
                    <a:pt x="46" y="12"/>
                  </a:lnTo>
                  <a:lnTo>
                    <a:pt x="48" y="10"/>
                  </a:lnTo>
                  <a:lnTo>
                    <a:pt x="48" y="9"/>
                  </a:lnTo>
                  <a:lnTo>
                    <a:pt x="48" y="9"/>
                  </a:lnTo>
                  <a:lnTo>
                    <a:pt x="48" y="6"/>
                  </a:lnTo>
                  <a:lnTo>
                    <a:pt x="46" y="5"/>
                  </a:lnTo>
                  <a:lnTo>
                    <a:pt x="42" y="2"/>
                  </a:lnTo>
                  <a:lnTo>
                    <a:pt x="34" y="1"/>
                  </a:lnTo>
                  <a:lnTo>
                    <a:pt x="24"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67" name="Freeform 394"/>
            <p:cNvSpPr>
              <a:spLocks/>
            </p:cNvSpPr>
            <p:nvPr/>
          </p:nvSpPr>
          <p:spPr bwMode="auto">
            <a:xfrm>
              <a:off x="4157339" y="5471769"/>
              <a:ext cx="117505" cy="44453"/>
            </a:xfrm>
            <a:custGeom>
              <a:avLst/>
              <a:gdLst>
                <a:gd name="T0" fmla="*/ 24 w 48"/>
                <a:gd name="T1" fmla="*/ 0 h 16"/>
                <a:gd name="T2" fmla="*/ 24 w 48"/>
                <a:gd name="T3" fmla="*/ 0 h 16"/>
                <a:gd name="T4" fmla="*/ 15 w 48"/>
                <a:gd name="T5" fmla="*/ 1 h 16"/>
                <a:gd name="T6" fmla="*/ 7 w 48"/>
                <a:gd name="T7" fmla="*/ 2 h 16"/>
                <a:gd name="T8" fmla="*/ 2 w 48"/>
                <a:gd name="T9" fmla="*/ 5 h 16"/>
                <a:gd name="T10" fmla="*/ 1 w 48"/>
                <a:gd name="T11" fmla="*/ 6 h 16"/>
                <a:gd name="T12" fmla="*/ 0 w 48"/>
                <a:gd name="T13" fmla="*/ 9 h 16"/>
                <a:gd name="T14" fmla="*/ 0 w 48"/>
                <a:gd name="T15" fmla="*/ 9 h 16"/>
                <a:gd name="T16" fmla="*/ 1 w 48"/>
                <a:gd name="T17" fmla="*/ 10 h 16"/>
                <a:gd name="T18" fmla="*/ 2 w 48"/>
                <a:gd name="T19" fmla="*/ 12 h 16"/>
                <a:gd name="T20" fmla="*/ 7 w 48"/>
                <a:gd name="T21" fmla="*/ 14 h 16"/>
                <a:gd name="T22" fmla="*/ 15 w 48"/>
                <a:gd name="T23" fmla="*/ 16 h 16"/>
                <a:gd name="T24" fmla="*/ 24 w 48"/>
                <a:gd name="T25" fmla="*/ 16 h 16"/>
                <a:gd name="T26" fmla="*/ 24 w 48"/>
                <a:gd name="T27" fmla="*/ 16 h 16"/>
                <a:gd name="T28" fmla="*/ 34 w 48"/>
                <a:gd name="T29" fmla="*/ 16 h 16"/>
                <a:gd name="T30" fmla="*/ 42 w 48"/>
                <a:gd name="T31" fmla="*/ 14 h 16"/>
                <a:gd name="T32" fmla="*/ 46 w 48"/>
                <a:gd name="T33" fmla="*/ 12 h 16"/>
                <a:gd name="T34" fmla="*/ 48 w 48"/>
                <a:gd name="T35" fmla="*/ 10 h 16"/>
                <a:gd name="T36" fmla="*/ 48 w 48"/>
                <a:gd name="T37" fmla="*/ 9 h 16"/>
                <a:gd name="T38" fmla="*/ 48 w 48"/>
                <a:gd name="T39" fmla="*/ 9 h 16"/>
                <a:gd name="T40" fmla="*/ 48 w 48"/>
                <a:gd name="T41" fmla="*/ 6 h 16"/>
                <a:gd name="T42" fmla="*/ 46 w 48"/>
                <a:gd name="T43" fmla="*/ 5 h 16"/>
                <a:gd name="T44" fmla="*/ 42 w 48"/>
                <a:gd name="T45" fmla="*/ 2 h 16"/>
                <a:gd name="T46" fmla="*/ 34 w 48"/>
                <a:gd name="T47" fmla="*/ 1 h 16"/>
                <a:gd name="T48" fmla="*/ 24 w 48"/>
                <a:gd name="T4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 h="16">
                  <a:moveTo>
                    <a:pt x="24" y="0"/>
                  </a:moveTo>
                  <a:lnTo>
                    <a:pt x="24" y="0"/>
                  </a:lnTo>
                  <a:lnTo>
                    <a:pt x="15" y="1"/>
                  </a:lnTo>
                  <a:lnTo>
                    <a:pt x="7" y="2"/>
                  </a:lnTo>
                  <a:lnTo>
                    <a:pt x="2" y="5"/>
                  </a:lnTo>
                  <a:lnTo>
                    <a:pt x="1" y="6"/>
                  </a:lnTo>
                  <a:lnTo>
                    <a:pt x="0" y="9"/>
                  </a:lnTo>
                  <a:lnTo>
                    <a:pt x="0" y="9"/>
                  </a:lnTo>
                  <a:lnTo>
                    <a:pt x="1" y="10"/>
                  </a:lnTo>
                  <a:lnTo>
                    <a:pt x="2" y="12"/>
                  </a:lnTo>
                  <a:lnTo>
                    <a:pt x="7" y="14"/>
                  </a:lnTo>
                  <a:lnTo>
                    <a:pt x="15" y="16"/>
                  </a:lnTo>
                  <a:lnTo>
                    <a:pt x="24" y="16"/>
                  </a:lnTo>
                  <a:lnTo>
                    <a:pt x="24" y="16"/>
                  </a:lnTo>
                  <a:lnTo>
                    <a:pt x="34" y="16"/>
                  </a:lnTo>
                  <a:lnTo>
                    <a:pt x="42" y="14"/>
                  </a:lnTo>
                  <a:lnTo>
                    <a:pt x="46" y="12"/>
                  </a:lnTo>
                  <a:lnTo>
                    <a:pt x="48" y="10"/>
                  </a:lnTo>
                  <a:lnTo>
                    <a:pt x="48" y="9"/>
                  </a:lnTo>
                  <a:lnTo>
                    <a:pt x="48" y="9"/>
                  </a:lnTo>
                  <a:lnTo>
                    <a:pt x="48" y="6"/>
                  </a:lnTo>
                  <a:lnTo>
                    <a:pt x="46" y="5"/>
                  </a:lnTo>
                  <a:lnTo>
                    <a:pt x="42" y="2"/>
                  </a:lnTo>
                  <a:lnTo>
                    <a:pt x="34" y="1"/>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68" name="Freeform 395"/>
            <p:cNvSpPr>
              <a:spLocks/>
            </p:cNvSpPr>
            <p:nvPr/>
          </p:nvSpPr>
          <p:spPr bwMode="auto">
            <a:xfrm>
              <a:off x="4157339" y="5376513"/>
              <a:ext cx="111154" cy="117482"/>
            </a:xfrm>
            <a:custGeom>
              <a:avLst/>
              <a:gdLst>
                <a:gd name="T0" fmla="*/ 34 w 47"/>
                <a:gd name="T1" fmla="*/ 48 h 48"/>
                <a:gd name="T2" fmla="*/ 47 w 47"/>
                <a:gd name="T3" fmla="*/ 5 h 48"/>
                <a:gd name="T4" fmla="*/ 41 w 47"/>
                <a:gd name="T5" fmla="*/ 0 h 48"/>
                <a:gd name="T6" fmla="*/ 27 w 47"/>
                <a:gd name="T7" fmla="*/ 25 h 48"/>
                <a:gd name="T8" fmla="*/ 4 w 47"/>
                <a:gd name="T9" fmla="*/ 0 h 48"/>
                <a:gd name="T10" fmla="*/ 0 w 47"/>
                <a:gd name="T11" fmla="*/ 7 h 48"/>
                <a:gd name="T12" fmla="*/ 16 w 47"/>
                <a:gd name="T13" fmla="*/ 30 h 48"/>
                <a:gd name="T14" fmla="*/ 21 w 47"/>
                <a:gd name="T15" fmla="*/ 46 h 48"/>
                <a:gd name="T16" fmla="*/ 21 w 47"/>
                <a:gd name="T17" fmla="*/ 46 h 48"/>
                <a:gd name="T18" fmla="*/ 26 w 47"/>
                <a:gd name="T19" fmla="*/ 48 h 48"/>
                <a:gd name="T20" fmla="*/ 30 w 47"/>
                <a:gd name="T21" fmla="*/ 48 h 48"/>
                <a:gd name="T22" fmla="*/ 34 w 47"/>
                <a:gd name="T23" fmla="*/ 48 h 48"/>
                <a:gd name="T24" fmla="*/ 34 w 47"/>
                <a:gd name="T2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 h="48">
                  <a:moveTo>
                    <a:pt x="34" y="48"/>
                  </a:moveTo>
                  <a:lnTo>
                    <a:pt x="47" y="5"/>
                  </a:lnTo>
                  <a:lnTo>
                    <a:pt x="41" y="0"/>
                  </a:lnTo>
                  <a:lnTo>
                    <a:pt x="27" y="25"/>
                  </a:lnTo>
                  <a:lnTo>
                    <a:pt x="4" y="0"/>
                  </a:lnTo>
                  <a:lnTo>
                    <a:pt x="0" y="7"/>
                  </a:lnTo>
                  <a:lnTo>
                    <a:pt x="16" y="30"/>
                  </a:lnTo>
                  <a:lnTo>
                    <a:pt x="21" y="46"/>
                  </a:lnTo>
                  <a:lnTo>
                    <a:pt x="21" y="46"/>
                  </a:lnTo>
                  <a:lnTo>
                    <a:pt x="26" y="48"/>
                  </a:lnTo>
                  <a:lnTo>
                    <a:pt x="30" y="48"/>
                  </a:lnTo>
                  <a:lnTo>
                    <a:pt x="34" y="48"/>
                  </a:lnTo>
                  <a:lnTo>
                    <a:pt x="34" y="48"/>
                  </a:lnTo>
                  <a:close/>
                </a:path>
              </a:pathLst>
            </a:custGeom>
            <a:solidFill>
              <a:srgbClr val="56534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69" name="Freeform 396"/>
            <p:cNvSpPr>
              <a:spLocks/>
            </p:cNvSpPr>
            <p:nvPr/>
          </p:nvSpPr>
          <p:spPr bwMode="auto">
            <a:xfrm>
              <a:off x="4128757" y="5178062"/>
              <a:ext cx="109565" cy="109545"/>
            </a:xfrm>
            <a:custGeom>
              <a:avLst/>
              <a:gdLst>
                <a:gd name="T0" fmla="*/ 46 w 46"/>
                <a:gd name="T1" fmla="*/ 23 h 47"/>
                <a:gd name="T2" fmla="*/ 46 w 46"/>
                <a:gd name="T3" fmla="*/ 23 h 47"/>
                <a:gd name="T4" fmla="*/ 46 w 46"/>
                <a:gd name="T5" fmla="*/ 28 h 47"/>
                <a:gd name="T6" fmla="*/ 43 w 46"/>
                <a:gd name="T7" fmla="*/ 33 h 47"/>
                <a:gd name="T8" fmla="*/ 41 w 46"/>
                <a:gd name="T9" fmla="*/ 37 h 47"/>
                <a:gd name="T10" fmla="*/ 39 w 46"/>
                <a:gd name="T11" fmla="*/ 40 h 47"/>
                <a:gd name="T12" fmla="*/ 35 w 46"/>
                <a:gd name="T13" fmla="*/ 43 h 47"/>
                <a:gd name="T14" fmla="*/ 31 w 46"/>
                <a:gd name="T15" fmla="*/ 45 h 47"/>
                <a:gd name="T16" fmla="*/ 27 w 46"/>
                <a:gd name="T17" fmla="*/ 46 h 47"/>
                <a:gd name="T18" fmla="*/ 23 w 46"/>
                <a:gd name="T19" fmla="*/ 47 h 47"/>
                <a:gd name="T20" fmla="*/ 23 w 46"/>
                <a:gd name="T21" fmla="*/ 47 h 47"/>
                <a:gd name="T22" fmla="*/ 17 w 46"/>
                <a:gd name="T23" fmla="*/ 46 h 47"/>
                <a:gd name="T24" fmla="*/ 13 w 46"/>
                <a:gd name="T25" fmla="*/ 45 h 47"/>
                <a:gd name="T26" fmla="*/ 9 w 46"/>
                <a:gd name="T27" fmla="*/ 43 h 47"/>
                <a:gd name="T28" fmla="*/ 6 w 46"/>
                <a:gd name="T29" fmla="*/ 40 h 47"/>
                <a:gd name="T30" fmla="*/ 4 w 46"/>
                <a:gd name="T31" fmla="*/ 37 h 47"/>
                <a:gd name="T32" fmla="*/ 1 w 46"/>
                <a:gd name="T33" fmla="*/ 33 h 47"/>
                <a:gd name="T34" fmla="*/ 0 w 46"/>
                <a:gd name="T35" fmla="*/ 28 h 47"/>
                <a:gd name="T36" fmla="*/ 0 w 46"/>
                <a:gd name="T37" fmla="*/ 23 h 47"/>
                <a:gd name="T38" fmla="*/ 0 w 46"/>
                <a:gd name="T39" fmla="*/ 23 h 47"/>
                <a:gd name="T40" fmla="*/ 0 w 46"/>
                <a:gd name="T41" fmla="*/ 19 h 47"/>
                <a:gd name="T42" fmla="*/ 1 w 46"/>
                <a:gd name="T43" fmla="*/ 15 h 47"/>
                <a:gd name="T44" fmla="*/ 4 w 46"/>
                <a:gd name="T45" fmla="*/ 11 h 47"/>
                <a:gd name="T46" fmla="*/ 6 w 46"/>
                <a:gd name="T47" fmla="*/ 7 h 47"/>
                <a:gd name="T48" fmla="*/ 9 w 46"/>
                <a:gd name="T49" fmla="*/ 4 h 47"/>
                <a:gd name="T50" fmla="*/ 13 w 46"/>
                <a:gd name="T51" fmla="*/ 2 h 47"/>
                <a:gd name="T52" fmla="*/ 17 w 46"/>
                <a:gd name="T53" fmla="*/ 1 h 47"/>
                <a:gd name="T54" fmla="*/ 23 w 46"/>
                <a:gd name="T55" fmla="*/ 0 h 47"/>
                <a:gd name="T56" fmla="*/ 23 w 46"/>
                <a:gd name="T57" fmla="*/ 0 h 47"/>
                <a:gd name="T58" fmla="*/ 27 w 46"/>
                <a:gd name="T59" fmla="*/ 1 h 47"/>
                <a:gd name="T60" fmla="*/ 31 w 46"/>
                <a:gd name="T61" fmla="*/ 2 h 47"/>
                <a:gd name="T62" fmla="*/ 35 w 46"/>
                <a:gd name="T63" fmla="*/ 4 h 47"/>
                <a:gd name="T64" fmla="*/ 39 w 46"/>
                <a:gd name="T65" fmla="*/ 7 h 47"/>
                <a:gd name="T66" fmla="*/ 41 w 46"/>
                <a:gd name="T67" fmla="*/ 11 h 47"/>
                <a:gd name="T68" fmla="*/ 43 w 46"/>
                <a:gd name="T69" fmla="*/ 15 h 47"/>
                <a:gd name="T70" fmla="*/ 46 w 46"/>
                <a:gd name="T71" fmla="*/ 19 h 47"/>
                <a:gd name="T72" fmla="*/ 46 w 46"/>
                <a:gd name="T73" fmla="*/ 23 h 47"/>
                <a:gd name="T74" fmla="*/ 46 w 46"/>
                <a:gd name="T7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 h="47">
                  <a:moveTo>
                    <a:pt x="46" y="23"/>
                  </a:moveTo>
                  <a:lnTo>
                    <a:pt x="46" y="23"/>
                  </a:lnTo>
                  <a:lnTo>
                    <a:pt x="46" y="28"/>
                  </a:lnTo>
                  <a:lnTo>
                    <a:pt x="43" y="33"/>
                  </a:lnTo>
                  <a:lnTo>
                    <a:pt x="41" y="37"/>
                  </a:lnTo>
                  <a:lnTo>
                    <a:pt x="39" y="40"/>
                  </a:lnTo>
                  <a:lnTo>
                    <a:pt x="35" y="43"/>
                  </a:lnTo>
                  <a:lnTo>
                    <a:pt x="31" y="45"/>
                  </a:lnTo>
                  <a:lnTo>
                    <a:pt x="27" y="46"/>
                  </a:lnTo>
                  <a:lnTo>
                    <a:pt x="23" y="47"/>
                  </a:lnTo>
                  <a:lnTo>
                    <a:pt x="23" y="47"/>
                  </a:lnTo>
                  <a:lnTo>
                    <a:pt x="17" y="46"/>
                  </a:lnTo>
                  <a:lnTo>
                    <a:pt x="13" y="45"/>
                  </a:lnTo>
                  <a:lnTo>
                    <a:pt x="9" y="43"/>
                  </a:lnTo>
                  <a:lnTo>
                    <a:pt x="6" y="40"/>
                  </a:lnTo>
                  <a:lnTo>
                    <a:pt x="4" y="37"/>
                  </a:lnTo>
                  <a:lnTo>
                    <a:pt x="1" y="33"/>
                  </a:lnTo>
                  <a:lnTo>
                    <a:pt x="0" y="28"/>
                  </a:lnTo>
                  <a:lnTo>
                    <a:pt x="0" y="23"/>
                  </a:lnTo>
                  <a:lnTo>
                    <a:pt x="0" y="23"/>
                  </a:lnTo>
                  <a:lnTo>
                    <a:pt x="0" y="19"/>
                  </a:lnTo>
                  <a:lnTo>
                    <a:pt x="1" y="15"/>
                  </a:lnTo>
                  <a:lnTo>
                    <a:pt x="4" y="11"/>
                  </a:lnTo>
                  <a:lnTo>
                    <a:pt x="6" y="7"/>
                  </a:lnTo>
                  <a:lnTo>
                    <a:pt x="9" y="4"/>
                  </a:lnTo>
                  <a:lnTo>
                    <a:pt x="13" y="2"/>
                  </a:lnTo>
                  <a:lnTo>
                    <a:pt x="17" y="1"/>
                  </a:lnTo>
                  <a:lnTo>
                    <a:pt x="23" y="0"/>
                  </a:lnTo>
                  <a:lnTo>
                    <a:pt x="23" y="0"/>
                  </a:lnTo>
                  <a:lnTo>
                    <a:pt x="27" y="1"/>
                  </a:lnTo>
                  <a:lnTo>
                    <a:pt x="31" y="2"/>
                  </a:lnTo>
                  <a:lnTo>
                    <a:pt x="35" y="4"/>
                  </a:lnTo>
                  <a:lnTo>
                    <a:pt x="39" y="7"/>
                  </a:lnTo>
                  <a:lnTo>
                    <a:pt x="41" y="11"/>
                  </a:lnTo>
                  <a:lnTo>
                    <a:pt x="43" y="15"/>
                  </a:lnTo>
                  <a:lnTo>
                    <a:pt x="46" y="19"/>
                  </a:lnTo>
                  <a:lnTo>
                    <a:pt x="46" y="23"/>
                  </a:lnTo>
                  <a:lnTo>
                    <a:pt x="46" y="23"/>
                  </a:lnTo>
                  <a:close/>
                </a:path>
              </a:pathLst>
            </a:custGeom>
            <a:solidFill>
              <a:srgbClr val="A2A345"/>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grpSp>
      <p:grpSp>
        <p:nvGrpSpPr>
          <p:cNvPr id="13" name="Group 12"/>
          <p:cNvGrpSpPr>
            <a:grpSpLocks/>
          </p:cNvGrpSpPr>
          <p:nvPr/>
        </p:nvGrpSpPr>
        <p:grpSpPr bwMode="auto">
          <a:xfrm>
            <a:off x="3467100" y="3876675"/>
            <a:ext cx="411163" cy="609600"/>
            <a:chOff x="3467031" y="3876960"/>
            <a:chExt cx="411464" cy="609852"/>
          </a:xfrm>
        </p:grpSpPr>
        <p:sp>
          <p:nvSpPr>
            <p:cNvPr id="170" name="Freeform 397"/>
            <p:cNvSpPr>
              <a:spLocks/>
            </p:cNvSpPr>
            <p:nvPr/>
          </p:nvSpPr>
          <p:spPr bwMode="auto">
            <a:xfrm>
              <a:off x="3467031" y="4318467"/>
              <a:ext cx="411464" cy="168345"/>
            </a:xfrm>
            <a:custGeom>
              <a:avLst/>
              <a:gdLst>
                <a:gd name="T0" fmla="*/ 0 w 167"/>
                <a:gd name="T1" fmla="*/ 0 h 69"/>
                <a:gd name="T2" fmla="*/ 0 w 167"/>
                <a:gd name="T3" fmla="*/ 69 h 69"/>
                <a:gd name="T4" fmla="*/ 113 w 167"/>
                <a:gd name="T5" fmla="*/ 69 h 69"/>
                <a:gd name="T6" fmla="*/ 167 w 167"/>
                <a:gd name="T7" fmla="*/ 26 h 69"/>
                <a:gd name="T8" fmla="*/ 167 w 167"/>
                <a:gd name="T9" fmla="*/ 0 h 69"/>
                <a:gd name="T10" fmla="*/ 0 w 167"/>
                <a:gd name="T11" fmla="*/ 0 h 69"/>
              </a:gdLst>
              <a:ahLst/>
              <a:cxnLst>
                <a:cxn ang="0">
                  <a:pos x="T0" y="T1"/>
                </a:cxn>
                <a:cxn ang="0">
                  <a:pos x="T2" y="T3"/>
                </a:cxn>
                <a:cxn ang="0">
                  <a:pos x="T4" y="T5"/>
                </a:cxn>
                <a:cxn ang="0">
                  <a:pos x="T6" y="T7"/>
                </a:cxn>
                <a:cxn ang="0">
                  <a:pos x="T8" y="T9"/>
                </a:cxn>
                <a:cxn ang="0">
                  <a:pos x="T10" y="T11"/>
                </a:cxn>
              </a:cxnLst>
              <a:rect l="0" t="0" r="r" b="b"/>
              <a:pathLst>
                <a:path w="167" h="69">
                  <a:moveTo>
                    <a:pt x="0" y="0"/>
                  </a:moveTo>
                  <a:lnTo>
                    <a:pt x="0" y="69"/>
                  </a:lnTo>
                  <a:lnTo>
                    <a:pt x="113" y="69"/>
                  </a:lnTo>
                  <a:lnTo>
                    <a:pt x="167" y="26"/>
                  </a:lnTo>
                  <a:lnTo>
                    <a:pt x="167" y="0"/>
                  </a:lnTo>
                  <a:lnTo>
                    <a:pt x="0" y="0"/>
                  </a:lnTo>
                  <a:close/>
                </a:path>
              </a:pathLst>
            </a:custGeom>
            <a:solidFill>
              <a:srgbClr val="6F701E"/>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71" name="Freeform 398"/>
            <p:cNvSpPr>
              <a:spLocks/>
            </p:cNvSpPr>
            <p:nvPr/>
          </p:nvSpPr>
          <p:spPr bwMode="auto">
            <a:xfrm>
              <a:off x="3467031" y="3876960"/>
              <a:ext cx="411464" cy="573325"/>
            </a:xfrm>
            <a:custGeom>
              <a:avLst/>
              <a:gdLst>
                <a:gd name="T0" fmla="*/ 167 w 167"/>
                <a:gd name="T1" fmla="*/ 191 h 233"/>
                <a:gd name="T2" fmla="*/ 167 w 167"/>
                <a:gd name="T3" fmla="*/ 0 h 233"/>
                <a:gd name="T4" fmla="*/ 0 w 167"/>
                <a:gd name="T5" fmla="*/ 0 h 233"/>
                <a:gd name="T6" fmla="*/ 0 w 167"/>
                <a:gd name="T7" fmla="*/ 233 h 233"/>
                <a:gd name="T8" fmla="*/ 113 w 167"/>
                <a:gd name="T9" fmla="*/ 233 h 233"/>
                <a:gd name="T10" fmla="*/ 167 w 167"/>
                <a:gd name="T11" fmla="*/ 191 h 233"/>
              </a:gdLst>
              <a:ahLst/>
              <a:cxnLst>
                <a:cxn ang="0">
                  <a:pos x="T0" y="T1"/>
                </a:cxn>
                <a:cxn ang="0">
                  <a:pos x="T2" y="T3"/>
                </a:cxn>
                <a:cxn ang="0">
                  <a:pos x="T4" y="T5"/>
                </a:cxn>
                <a:cxn ang="0">
                  <a:pos x="T6" y="T7"/>
                </a:cxn>
                <a:cxn ang="0">
                  <a:pos x="T8" y="T9"/>
                </a:cxn>
                <a:cxn ang="0">
                  <a:pos x="T10" y="T11"/>
                </a:cxn>
              </a:cxnLst>
              <a:rect l="0" t="0" r="r" b="b"/>
              <a:pathLst>
                <a:path w="167" h="233">
                  <a:moveTo>
                    <a:pt x="167" y="191"/>
                  </a:moveTo>
                  <a:lnTo>
                    <a:pt x="167" y="0"/>
                  </a:lnTo>
                  <a:lnTo>
                    <a:pt x="0" y="0"/>
                  </a:lnTo>
                  <a:lnTo>
                    <a:pt x="0" y="233"/>
                  </a:lnTo>
                  <a:lnTo>
                    <a:pt x="113" y="233"/>
                  </a:lnTo>
                  <a:lnTo>
                    <a:pt x="167" y="191"/>
                  </a:lnTo>
                  <a:close/>
                </a:path>
              </a:pathLst>
            </a:custGeom>
            <a:solidFill>
              <a:srgbClr val="FFF1CA"/>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72" name="Freeform 399"/>
            <p:cNvSpPr>
              <a:spLocks/>
            </p:cNvSpPr>
            <p:nvPr/>
          </p:nvSpPr>
          <p:spPr bwMode="auto">
            <a:xfrm>
              <a:off x="3746636" y="4339114"/>
              <a:ext cx="131859" cy="111171"/>
            </a:xfrm>
            <a:custGeom>
              <a:avLst/>
              <a:gdLst>
                <a:gd name="T0" fmla="*/ 14 w 54"/>
                <a:gd name="T1" fmla="*/ 0 h 46"/>
                <a:gd name="T2" fmla="*/ 54 w 54"/>
                <a:gd name="T3" fmla="*/ 4 h 46"/>
                <a:gd name="T4" fmla="*/ 0 w 54"/>
                <a:gd name="T5" fmla="*/ 46 h 46"/>
                <a:gd name="T6" fmla="*/ 14 w 54"/>
                <a:gd name="T7" fmla="*/ 0 h 46"/>
              </a:gdLst>
              <a:ahLst/>
              <a:cxnLst>
                <a:cxn ang="0">
                  <a:pos x="T0" y="T1"/>
                </a:cxn>
                <a:cxn ang="0">
                  <a:pos x="T2" y="T3"/>
                </a:cxn>
                <a:cxn ang="0">
                  <a:pos x="T4" y="T5"/>
                </a:cxn>
                <a:cxn ang="0">
                  <a:pos x="T6" y="T7"/>
                </a:cxn>
              </a:cxnLst>
              <a:rect l="0" t="0" r="r" b="b"/>
              <a:pathLst>
                <a:path w="54" h="46">
                  <a:moveTo>
                    <a:pt x="14" y="0"/>
                  </a:moveTo>
                  <a:lnTo>
                    <a:pt x="54" y="4"/>
                  </a:lnTo>
                  <a:lnTo>
                    <a:pt x="0" y="46"/>
                  </a:lnTo>
                  <a:lnTo>
                    <a:pt x="14" y="0"/>
                  </a:lnTo>
                  <a:close/>
                </a:path>
              </a:pathLst>
            </a:custGeom>
            <a:solidFill>
              <a:srgbClr val="A0A144"/>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73" name="Freeform 400"/>
            <p:cNvSpPr>
              <a:spLocks/>
            </p:cNvSpPr>
            <p:nvPr/>
          </p:nvSpPr>
          <p:spPr bwMode="auto">
            <a:xfrm>
              <a:off x="3562351" y="4324820"/>
              <a:ext cx="111206" cy="95289"/>
            </a:xfrm>
            <a:custGeom>
              <a:avLst/>
              <a:gdLst>
                <a:gd name="T0" fmla="*/ 18 w 44"/>
                <a:gd name="T1" fmla="*/ 40 h 40"/>
                <a:gd name="T2" fmla="*/ 18 w 44"/>
                <a:gd name="T3" fmla="*/ 40 h 40"/>
                <a:gd name="T4" fmla="*/ 16 w 44"/>
                <a:gd name="T5" fmla="*/ 39 h 40"/>
                <a:gd name="T6" fmla="*/ 14 w 44"/>
                <a:gd name="T7" fmla="*/ 37 h 40"/>
                <a:gd name="T8" fmla="*/ 1 w 44"/>
                <a:gd name="T9" fmla="*/ 23 h 40"/>
                <a:gd name="T10" fmla="*/ 1 w 44"/>
                <a:gd name="T11" fmla="*/ 23 h 40"/>
                <a:gd name="T12" fmla="*/ 0 w 44"/>
                <a:gd name="T13" fmla="*/ 21 h 40"/>
                <a:gd name="T14" fmla="*/ 0 w 44"/>
                <a:gd name="T15" fmla="*/ 19 h 40"/>
                <a:gd name="T16" fmla="*/ 1 w 44"/>
                <a:gd name="T17" fmla="*/ 16 h 40"/>
                <a:gd name="T18" fmla="*/ 2 w 44"/>
                <a:gd name="T19" fmla="*/ 14 h 40"/>
                <a:gd name="T20" fmla="*/ 2 w 44"/>
                <a:gd name="T21" fmla="*/ 14 h 40"/>
                <a:gd name="T22" fmla="*/ 5 w 44"/>
                <a:gd name="T23" fmla="*/ 13 h 40"/>
                <a:gd name="T24" fmla="*/ 8 w 44"/>
                <a:gd name="T25" fmla="*/ 13 h 40"/>
                <a:gd name="T26" fmla="*/ 10 w 44"/>
                <a:gd name="T27" fmla="*/ 14 h 40"/>
                <a:gd name="T28" fmla="*/ 12 w 44"/>
                <a:gd name="T29" fmla="*/ 15 h 40"/>
                <a:gd name="T30" fmla="*/ 18 w 44"/>
                <a:gd name="T31" fmla="*/ 22 h 40"/>
                <a:gd name="T32" fmla="*/ 32 w 44"/>
                <a:gd name="T33" fmla="*/ 3 h 40"/>
                <a:gd name="T34" fmla="*/ 32 w 44"/>
                <a:gd name="T35" fmla="*/ 3 h 40"/>
                <a:gd name="T36" fmla="*/ 34 w 44"/>
                <a:gd name="T37" fmla="*/ 1 h 40"/>
                <a:gd name="T38" fmla="*/ 37 w 44"/>
                <a:gd name="T39" fmla="*/ 0 h 40"/>
                <a:gd name="T40" fmla="*/ 39 w 44"/>
                <a:gd name="T41" fmla="*/ 0 h 40"/>
                <a:gd name="T42" fmla="*/ 41 w 44"/>
                <a:gd name="T43" fmla="*/ 2 h 40"/>
                <a:gd name="T44" fmla="*/ 41 w 44"/>
                <a:gd name="T45" fmla="*/ 2 h 40"/>
                <a:gd name="T46" fmla="*/ 43 w 44"/>
                <a:gd name="T47" fmla="*/ 3 h 40"/>
                <a:gd name="T48" fmla="*/ 44 w 44"/>
                <a:gd name="T49" fmla="*/ 6 h 40"/>
                <a:gd name="T50" fmla="*/ 44 w 44"/>
                <a:gd name="T51" fmla="*/ 8 h 40"/>
                <a:gd name="T52" fmla="*/ 43 w 44"/>
                <a:gd name="T53" fmla="*/ 10 h 40"/>
                <a:gd name="T54" fmla="*/ 23 w 44"/>
                <a:gd name="T55" fmla="*/ 37 h 40"/>
                <a:gd name="T56" fmla="*/ 23 w 44"/>
                <a:gd name="T57" fmla="*/ 37 h 40"/>
                <a:gd name="T58" fmla="*/ 21 w 44"/>
                <a:gd name="T59" fmla="*/ 39 h 40"/>
                <a:gd name="T60" fmla="*/ 19 w 44"/>
                <a:gd name="T61" fmla="*/ 40 h 40"/>
                <a:gd name="T62" fmla="*/ 18 w 44"/>
                <a:gd name="T63"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 h="40">
                  <a:moveTo>
                    <a:pt x="18" y="40"/>
                  </a:moveTo>
                  <a:lnTo>
                    <a:pt x="18" y="40"/>
                  </a:lnTo>
                  <a:lnTo>
                    <a:pt x="16" y="39"/>
                  </a:lnTo>
                  <a:lnTo>
                    <a:pt x="14" y="37"/>
                  </a:lnTo>
                  <a:lnTo>
                    <a:pt x="1" y="23"/>
                  </a:lnTo>
                  <a:lnTo>
                    <a:pt x="1" y="23"/>
                  </a:lnTo>
                  <a:lnTo>
                    <a:pt x="0" y="21"/>
                  </a:lnTo>
                  <a:lnTo>
                    <a:pt x="0" y="19"/>
                  </a:lnTo>
                  <a:lnTo>
                    <a:pt x="1" y="16"/>
                  </a:lnTo>
                  <a:lnTo>
                    <a:pt x="2" y="14"/>
                  </a:lnTo>
                  <a:lnTo>
                    <a:pt x="2" y="14"/>
                  </a:lnTo>
                  <a:lnTo>
                    <a:pt x="5" y="13"/>
                  </a:lnTo>
                  <a:lnTo>
                    <a:pt x="8" y="13"/>
                  </a:lnTo>
                  <a:lnTo>
                    <a:pt x="10" y="14"/>
                  </a:lnTo>
                  <a:lnTo>
                    <a:pt x="12" y="15"/>
                  </a:lnTo>
                  <a:lnTo>
                    <a:pt x="18" y="22"/>
                  </a:lnTo>
                  <a:lnTo>
                    <a:pt x="32" y="3"/>
                  </a:lnTo>
                  <a:lnTo>
                    <a:pt x="32" y="3"/>
                  </a:lnTo>
                  <a:lnTo>
                    <a:pt x="34" y="1"/>
                  </a:lnTo>
                  <a:lnTo>
                    <a:pt x="37" y="0"/>
                  </a:lnTo>
                  <a:lnTo>
                    <a:pt x="39" y="0"/>
                  </a:lnTo>
                  <a:lnTo>
                    <a:pt x="41" y="2"/>
                  </a:lnTo>
                  <a:lnTo>
                    <a:pt x="41" y="2"/>
                  </a:lnTo>
                  <a:lnTo>
                    <a:pt x="43" y="3"/>
                  </a:lnTo>
                  <a:lnTo>
                    <a:pt x="44" y="6"/>
                  </a:lnTo>
                  <a:lnTo>
                    <a:pt x="44" y="8"/>
                  </a:lnTo>
                  <a:lnTo>
                    <a:pt x="43" y="10"/>
                  </a:lnTo>
                  <a:lnTo>
                    <a:pt x="23" y="37"/>
                  </a:lnTo>
                  <a:lnTo>
                    <a:pt x="23" y="37"/>
                  </a:lnTo>
                  <a:lnTo>
                    <a:pt x="21" y="39"/>
                  </a:lnTo>
                  <a:lnTo>
                    <a:pt x="19" y="40"/>
                  </a:lnTo>
                  <a:lnTo>
                    <a:pt x="18" y="40"/>
                  </a:lnTo>
                  <a:close/>
                </a:path>
              </a:pathLst>
            </a:custGeom>
            <a:solidFill>
              <a:srgbClr val="308582"/>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74" name="Freeform 401"/>
            <p:cNvSpPr>
              <a:spLocks/>
            </p:cNvSpPr>
            <p:nvPr/>
          </p:nvSpPr>
          <p:spPr bwMode="auto">
            <a:xfrm>
              <a:off x="3555996" y="3972249"/>
              <a:ext cx="227179" cy="22234"/>
            </a:xfrm>
            <a:custGeom>
              <a:avLst/>
              <a:gdLst>
                <a:gd name="T0" fmla="*/ 87 w 91"/>
                <a:gd name="T1" fmla="*/ 9 h 9"/>
                <a:gd name="T2" fmla="*/ 4 w 91"/>
                <a:gd name="T3" fmla="*/ 9 h 9"/>
                <a:gd name="T4" fmla="*/ 4 w 91"/>
                <a:gd name="T5" fmla="*/ 9 h 9"/>
                <a:gd name="T6" fmla="*/ 3 w 91"/>
                <a:gd name="T7" fmla="*/ 9 h 9"/>
                <a:gd name="T8" fmla="*/ 2 w 91"/>
                <a:gd name="T9" fmla="*/ 7 h 9"/>
                <a:gd name="T10" fmla="*/ 1 w 91"/>
                <a:gd name="T11" fmla="*/ 6 h 9"/>
                <a:gd name="T12" fmla="*/ 0 w 91"/>
                <a:gd name="T13" fmla="*/ 4 h 9"/>
                <a:gd name="T14" fmla="*/ 0 w 91"/>
                <a:gd name="T15" fmla="*/ 4 h 9"/>
                <a:gd name="T16" fmla="*/ 1 w 91"/>
                <a:gd name="T17" fmla="*/ 3 h 9"/>
                <a:gd name="T18" fmla="*/ 2 w 91"/>
                <a:gd name="T19" fmla="*/ 1 h 9"/>
                <a:gd name="T20" fmla="*/ 3 w 91"/>
                <a:gd name="T21" fmla="*/ 0 h 9"/>
                <a:gd name="T22" fmla="*/ 4 w 91"/>
                <a:gd name="T23" fmla="*/ 0 h 9"/>
                <a:gd name="T24" fmla="*/ 87 w 91"/>
                <a:gd name="T25" fmla="*/ 0 h 9"/>
                <a:gd name="T26" fmla="*/ 87 w 91"/>
                <a:gd name="T27" fmla="*/ 0 h 9"/>
                <a:gd name="T28" fmla="*/ 89 w 91"/>
                <a:gd name="T29" fmla="*/ 0 h 9"/>
                <a:gd name="T30" fmla="*/ 90 w 91"/>
                <a:gd name="T31" fmla="*/ 1 h 9"/>
                <a:gd name="T32" fmla="*/ 91 w 91"/>
                <a:gd name="T33" fmla="*/ 3 h 9"/>
                <a:gd name="T34" fmla="*/ 91 w 91"/>
                <a:gd name="T35" fmla="*/ 4 h 9"/>
                <a:gd name="T36" fmla="*/ 91 w 91"/>
                <a:gd name="T37" fmla="*/ 4 h 9"/>
                <a:gd name="T38" fmla="*/ 91 w 91"/>
                <a:gd name="T39" fmla="*/ 6 h 9"/>
                <a:gd name="T40" fmla="*/ 90 w 91"/>
                <a:gd name="T41" fmla="*/ 7 h 9"/>
                <a:gd name="T42" fmla="*/ 89 w 91"/>
                <a:gd name="T43" fmla="*/ 9 h 9"/>
                <a:gd name="T44" fmla="*/ 87 w 91"/>
                <a:gd name="T45" fmla="*/ 9 h 9"/>
                <a:gd name="T46" fmla="*/ 87 w 91"/>
                <a:gd name="T4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1" h="9">
                  <a:moveTo>
                    <a:pt x="87" y="9"/>
                  </a:moveTo>
                  <a:lnTo>
                    <a:pt x="4" y="9"/>
                  </a:lnTo>
                  <a:lnTo>
                    <a:pt x="4" y="9"/>
                  </a:lnTo>
                  <a:lnTo>
                    <a:pt x="3" y="9"/>
                  </a:lnTo>
                  <a:lnTo>
                    <a:pt x="2" y="7"/>
                  </a:lnTo>
                  <a:lnTo>
                    <a:pt x="1" y="6"/>
                  </a:lnTo>
                  <a:lnTo>
                    <a:pt x="0" y="4"/>
                  </a:lnTo>
                  <a:lnTo>
                    <a:pt x="0" y="4"/>
                  </a:lnTo>
                  <a:lnTo>
                    <a:pt x="1" y="3"/>
                  </a:lnTo>
                  <a:lnTo>
                    <a:pt x="2" y="1"/>
                  </a:lnTo>
                  <a:lnTo>
                    <a:pt x="3" y="0"/>
                  </a:lnTo>
                  <a:lnTo>
                    <a:pt x="4" y="0"/>
                  </a:lnTo>
                  <a:lnTo>
                    <a:pt x="87" y="0"/>
                  </a:lnTo>
                  <a:lnTo>
                    <a:pt x="87" y="0"/>
                  </a:lnTo>
                  <a:lnTo>
                    <a:pt x="89" y="0"/>
                  </a:lnTo>
                  <a:lnTo>
                    <a:pt x="90" y="1"/>
                  </a:lnTo>
                  <a:lnTo>
                    <a:pt x="91" y="3"/>
                  </a:lnTo>
                  <a:lnTo>
                    <a:pt x="91" y="4"/>
                  </a:lnTo>
                  <a:lnTo>
                    <a:pt x="91" y="4"/>
                  </a:lnTo>
                  <a:lnTo>
                    <a:pt x="91" y="6"/>
                  </a:lnTo>
                  <a:lnTo>
                    <a:pt x="90" y="7"/>
                  </a:lnTo>
                  <a:lnTo>
                    <a:pt x="89" y="9"/>
                  </a:lnTo>
                  <a:lnTo>
                    <a:pt x="87" y="9"/>
                  </a:lnTo>
                  <a:lnTo>
                    <a:pt x="87" y="9"/>
                  </a:lnTo>
                  <a:close/>
                </a:path>
              </a:pathLst>
            </a:custGeom>
            <a:solidFill>
              <a:srgbClr val="308582"/>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75" name="Freeform 402"/>
            <p:cNvSpPr>
              <a:spLocks/>
            </p:cNvSpPr>
            <p:nvPr/>
          </p:nvSpPr>
          <p:spPr bwMode="auto">
            <a:xfrm>
              <a:off x="3555996" y="3921428"/>
              <a:ext cx="227179" cy="28587"/>
            </a:xfrm>
            <a:custGeom>
              <a:avLst/>
              <a:gdLst>
                <a:gd name="T0" fmla="*/ 87 w 91"/>
                <a:gd name="T1" fmla="*/ 10 h 10"/>
                <a:gd name="T2" fmla="*/ 4 w 91"/>
                <a:gd name="T3" fmla="*/ 10 h 10"/>
                <a:gd name="T4" fmla="*/ 4 w 91"/>
                <a:gd name="T5" fmla="*/ 10 h 10"/>
                <a:gd name="T6" fmla="*/ 3 w 91"/>
                <a:gd name="T7" fmla="*/ 9 h 10"/>
                <a:gd name="T8" fmla="*/ 2 w 91"/>
                <a:gd name="T9" fmla="*/ 9 h 10"/>
                <a:gd name="T10" fmla="*/ 1 w 91"/>
                <a:gd name="T11" fmla="*/ 7 h 10"/>
                <a:gd name="T12" fmla="*/ 0 w 91"/>
                <a:gd name="T13" fmla="*/ 6 h 10"/>
                <a:gd name="T14" fmla="*/ 0 w 91"/>
                <a:gd name="T15" fmla="*/ 6 h 10"/>
                <a:gd name="T16" fmla="*/ 1 w 91"/>
                <a:gd name="T17" fmla="*/ 3 h 10"/>
                <a:gd name="T18" fmla="*/ 2 w 91"/>
                <a:gd name="T19" fmla="*/ 2 h 10"/>
                <a:gd name="T20" fmla="*/ 3 w 91"/>
                <a:gd name="T21" fmla="*/ 1 h 10"/>
                <a:gd name="T22" fmla="*/ 4 w 91"/>
                <a:gd name="T23" fmla="*/ 0 h 10"/>
                <a:gd name="T24" fmla="*/ 87 w 91"/>
                <a:gd name="T25" fmla="*/ 0 h 10"/>
                <a:gd name="T26" fmla="*/ 87 w 91"/>
                <a:gd name="T27" fmla="*/ 0 h 10"/>
                <a:gd name="T28" fmla="*/ 89 w 91"/>
                <a:gd name="T29" fmla="*/ 1 h 10"/>
                <a:gd name="T30" fmla="*/ 90 w 91"/>
                <a:gd name="T31" fmla="*/ 2 h 10"/>
                <a:gd name="T32" fmla="*/ 91 w 91"/>
                <a:gd name="T33" fmla="*/ 3 h 10"/>
                <a:gd name="T34" fmla="*/ 91 w 91"/>
                <a:gd name="T35" fmla="*/ 6 h 10"/>
                <a:gd name="T36" fmla="*/ 91 w 91"/>
                <a:gd name="T37" fmla="*/ 6 h 10"/>
                <a:gd name="T38" fmla="*/ 91 w 91"/>
                <a:gd name="T39" fmla="*/ 7 h 10"/>
                <a:gd name="T40" fmla="*/ 90 w 91"/>
                <a:gd name="T41" fmla="*/ 9 h 10"/>
                <a:gd name="T42" fmla="*/ 89 w 91"/>
                <a:gd name="T43" fmla="*/ 9 h 10"/>
                <a:gd name="T44" fmla="*/ 87 w 91"/>
                <a:gd name="T45" fmla="*/ 10 h 10"/>
                <a:gd name="T46" fmla="*/ 87 w 91"/>
                <a:gd name="T4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1" h="10">
                  <a:moveTo>
                    <a:pt x="87" y="10"/>
                  </a:moveTo>
                  <a:lnTo>
                    <a:pt x="4" y="10"/>
                  </a:lnTo>
                  <a:lnTo>
                    <a:pt x="4" y="10"/>
                  </a:lnTo>
                  <a:lnTo>
                    <a:pt x="3" y="9"/>
                  </a:lnTo>
                  <a:lnTo>
                    <a:pt x="2" y="9"/>
                  </a:lnTo>
                  <a:lnTo>
                    <a:pt x="1" y="7"/>
                  </a:lnTo>
                  <a:lnTo>
                    <a:pt x="0" y="6"/>
                  </a:lnTo>
                  <a:lnTo>
                    <a:pt x="0" y="6"/>
                  </a:lnTo>
                  <a:lnTo>
                    <a:pt x="1" y="3"/>
                  </a:lnTo>
                  <a:lnTo>
                    <a:pt x="2" y="2"/>
                  </a:lnTo>
                  <a:lnTo>
                    <a:pt x="3" y="1"/>
                  </a:lnTo>
                  <a:lnTo>
                    <a:pt x="4" y="0"/>
                  </a:lnTo>
                  <a:lnTo>
                    <a:pt x="87" y="0"/>
                  </a:lnTo>
                  <a:lnTo>
                    <a:pt x="87" y="0"/>
                  </a:lnTo>
                  <a:lnTo>
                    <a:pt x="89" y="1"/>
                  </a:lnTo>
                  <a:lnTo>
                    <a:pt x="90" y="2"/>
                  </a:lnTo>
                  <a:lnTo>
                    <a:pt x="91" y="3"/>
                  </a:lnTo>
                  <a:lnTo>
                    <a:pt x="91" y="6"/>
                  </a:lnTo>
                  <a:lnTo>
                    <a:pt x="91" y="6"/>
                  </a:lnTo>
                  <a:lnTo>
                    <a:pt x="91" y="7"/>
                  </a:lnTo>
                  <a:lnTo>
                    <a:pt x="90" y="9"/>
                  </a:lnTo>
                  <a:lnTo>
                    <a:pt x="89" y="9"/>
                  </a:lnTo>
                  <a:lnTo>
                    <a:pt x="87" y="10"/>
                  </a:lnTo>
                  <a:lnTo>
                    <a:pt x="87" y="10"/>
                  </a:lnTo>
                  <a:close/>
                </a:path>
              </a:pathLst>
            </a:custGeom>
            <a:solidFill>
              <a:srgbClr val="308582"/>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76" name="Freeform 403"/>
            <p:cNvSpPr>
              <a:spLocks/>
            </p:cNvSpPr>
            <p:nvPr/>
          </p:nvSpPr>
          <p:spPr bwMode="auto">
            <a:xfrm>
              <a:off x="3497216" y="4061186"/>
              <a:ext cx="344739" cy="22234"/>
            </a:xfrm>
            <a:custGeom>
              <a:avLst/>
              <a:gdLst>
                <a:gd name="T0" fmla="*/ 135 w 140"/>
                <a:gd name="T1" fmla="*/ 8 h 8"/>
                <a:gd name="T2" fmla="*/ 4 w 140"/>
                <a:gd name="T3" fmla="*/ 8 h 8"/>
                <a:gd name="T4" fmla="*/ 4 w 140"/>
                <a:gd name="T5" fmla="*/ 8 h 8"/>
                <a:gd name="T6" fmla="*/ 2 w 140"/>
                <a:gd name="T7" fmla="*/ 8 h 8"/>
                <a:gd name="T8" fmla="*/ 1 w 140"/>
                <a:gd name="T9" fmla="*/ 7 h 8"/>
                <a:gd name="T10" fmla="*/ 0 w 140"/>
                <a:gd name="T11" fmla="*/ 6 h 8"/>
                <a:gd name="T12" fmla="*/ 0 w 140"/>
                <a:gd name="T13" fmla="*/ 4 h 8"/>
                <a:gd name="T14" fmla="*/ 0 w 140"/>
                <a:gd name="T15" fmla="*/ 4 h 8"/>
                <a:gd name="T16" fmla="*/ 0 w 140"/>
                <a:gd name="T17" fmla="*/ 3 h 8"/>
                <a:gd name="T18" fmla="*/ 1 w 140"/>
                <a:gd name="T19" fmla="*/ 1 h 8"/>
                <a:gd name="T20" fmla="*/ 2 w 140"/>
                <a:gd name="T21" fmla="*/ 0 h 8"/>
                <a:gd name="T22" fmla="*/ 4 w 140"/>
                <a:gd name="T23" fmla="*/ 0 h 8"/>
                <a:gd name="T24" fmla="*/ 135 w 140"/>
                <a:gd name="T25" fmla="*/ 0 h 8"/>
                <a:gd name="T26" fmla="*/ 135 w 140"/>
                <a:gd name="T27" fmla="*/ 0 h 8"/>
                <a:gd name="T28" fmla="*/ 137 w 140"/>
                <a:gd name="T29" fmla="*/ 0 h 8"/>
                <a:gd name="T30" fmla="*/ 138 w 140"/>
                <a:gd name="T31" fmla="*/ 1 h 8"/>
                <a:gd name="T32" fmla="*/ 139 w 140"/>
                <a:gd name="T33" fmla="*/ 3 h 8"/>
                <a:gd name="T34" fmla="*/ 140 w 140"/>
                <a:gd name="T35" fmla="*/ 4 h 8"/>
                <a:gd name="T36" fmla="*/ 140 w 140"/>
                <a:gd name="T37" fmla="*/ 4 h 8"/>
                <a:gd name="T38" fmla="*/ 139 w 140"/>
                <a:gd name="T39" fmla="*/ 6 h 8"/>
                <a:gd name="T40" fmla="*/ 138 w 140"/>
                <a:gd name="T41" fmla="*/ 7 h 8"/>
                <a:gd name="T42" fmla="*/ 137 w 140"/>
                <a:gd name="T43" fmla="*/ 8 h 8"/>
                <a:gd name="T44" fmla="*/ 135 w 140"/>
                <a:gd name="T45" fmla="*/ 8 h 8"/>
                <a:gd name="T46" fmla="*/ 135 w 140"/>
                <a:gd name="T4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0" h="8">
                  <a:moveTo>
                    <a:pt x="135" y="8"/>
                  </a:moveTo>
                  <a:lnTo>
                    <a:pt x="4" y="8"/>
                  </a:lnTo>
                  <a:lnTo>
                    <a:pt x="4" y="8"/>
                  </a:lnTo>
                  <a:lnTo>
                    <a:pt x="2" y="8"/>
                  </a:lnTo>
                  <a:lnTo>
                    <a:pt x="1" y="7"/>
                  </a:lnTo>
                  <a:lnTo>
                    <a:pt x="0" y="6"/>
                  </a:lnTo>
                  <a:lnTo>
                    <a:pt x="0" y="4"/>
                  </a:lnTo>
                  <a:lnTo>
                    <a:pt x="0" y="4"/>
                  </a:lnTo>
                  <a:lnTo>
                    <a:pt x="0" y="3"/>
                  </a:lnTo>
                  <a:lnTo>
                    <a:pt x="1" y="1"/>
                  </a:lnTo>
                  <a:lnTo>
                    <a:pt x="2" y="0"/>
                  </a:lnTo>
                  <a:lnTo>
                    <a:pt x="4" y="0"/>
                  </a:lnTo>
                  <a:lnTo>
                    <a:pt x="135" y="0"/>
                  </a:lnTo>
                  <a:lnTo>
                    <a:pt x="135" y="0"/>
                  </a:lnTo>
                  <a:lnTo>
                    <a:pt x="137" y="0"/>
                  </a:lnTo>
                  <a:lnTo>
                    <a:pt x="138" y="1"/>
                  </a:lnTo>
                  <a:lnTo>
                    <a:pt x="139" y="3"/>
                  </a:lnTo>
                  <a:lnTo>
                    <a:pt x="140" y="4"/>
                  </a:lnTo>
                  <a:lnTo>
                    <a:pt x="140" y="4"/>
                  </a:lnTo>
                  <a:lnTo>
                    <a:pt x="139" y="6"/>
                  </a:lnTo>
                  <a:lnTo>
                    <a:pt x="138" y="7"/>
                  </a:lnTo>
                  <a:lnTo>
                    <a:pt x="137" y="8"/>
                  </a:lnTo>
                  <a:lnTo>
                    <a:pt x="135" y="8"/>
                  </a:lnTo>
                  <a:lnTo>
                    <a:pt x="135" y="8"/>
                  </a:lnTo>
                  <a:close/>
                </a:path>
              </a:pathLst>
            </a:custGeom>
            <a:solidFill>
              <a:srgbClr val="308582"/>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77" name="Freeform 404"/>
            <p:cNvSpPr>
              <a:spLocks/>
            </p:cNvSpPr>
            <p:nvPr/>
          </p:nvSpPr>
          <p:spPr bwMode="auto">
            <a:xfrm>
              <a:off x="3497216" y="4126301"/>
              <a:ext cx="344739" cy="22234"/>
            </a:xfrm>
            <a:custGeom>
              <a:avLst/>
              <a:gdLst>
                <a:gd name="T0" fmla="*/ 135 w 140"/>
                <a:gd name="T1" fmla="*/ 8 h 8"/>
                <a:gd name="T2" fmla="*/ 4 w 140"/>
                <a:gd name="T3" fmla="*/ 8 h 8"/>
                <a:gd name="T4" fmla="*/ 4 w 140"/>
                <a:gd name="T5" fmla="*/ 8 h 8"/>
                <a:gd name="T6" fmla="*/ 2 w 140"/>
                <a:gd name="T7" fmla="*/ 8 h 8"/>
                <a:gd name="T8" fmla="*/ 1 w 140"/>
                <a:gd name="T9" fmla="*/ 7 h 8"/>
                <a:gd name="T10" fmla="*/ 0 w 140"/>
                <a:gd name="T11" fmla="*/ 6 h 8"/>
                <a:gd name="T12" fmla="*/ 0 w 140"/>
                <a:gd name="T13" fmla="*/ 4 h 8"/>
                <a:gd name="T14" fmla="*/ 0 w 140"/>
                <a:gd name="T15" fmla="*/ 4 h 8"/>
                <a:gd name="T16" fmla="*/ 0 w 140"/>
                <a:gd name="T17" fmla="*/ 3 h 8"/>
                <a:gd name="T18" fmla="*/ 1 w 140"/>
                <a:gd name="T19" fmla="*/ 1 h 8"/>
                <a:gd name="T20" fmla="*/ 2 w 140"/>
                <a:gd name="T21" fmla="*/ 0 h 8"/>
                <a:gd name="T22" fmla="*/ 4 w 140"/>
                <a:gd name="T23" fmla="*/ 0 h 8"/>
                <a:gd name="T24" fmla="*/ 135 w 140"/>
                <a:gd name="T25" fmla="*/ 0 h 8"/>
                <a:gd name="T26" fmla="*/ 135 w 140"/>
                <a:gd name="T27" fmla="*/ 0 h 8"/>
                <a:gd name="T28" fmla="*/ 137 w 140"/>
                <a:gd name="T29" fmla="*/ 0 h 8"/>
                <a:gd name="T30" fmla="*/ 138 w 140"/>
                <a:gd name="T31" fmla="*/ 1 h 8"/>
                <a:gd name="T32" fmla="*/ 139 w 140"/>
                <a:gd name="T33" fmla="*/ 3 h 8"/>
                <a:gd name="T34" fmla="*/ 140 w 140"/>
                <a:gd name="T35" fmla="*/ 4 h 8"/>
                <a:gd name="T36" fmla="*/ 140 w 140"/>
                <a:gd name="T37" fmla="*/ 4 h 8"/>
                <a:gd name="T38" fmla="*/ 139 w 140"/>
                <a:gd name="T39" fmla="*/ 6 h 8"/>
                <a:gd name="T40" fmla="*/ 138 w 140"/>
                <a:gd name="T41" fmla="*/ 7 h 8"/>
                <a:gd name="T42" fmla="*/ 137 w 140"/>
                <a:gd name="T43" fmla="*/ 8 h 8"/>
                <a:gd name="T44" fmla="*/ 135 w 140"/>
                <a:gd name="T45" fmla="*/ 8 h 8"/>
                <a:gd name="T46" fmla="*/ 135 w 140"/>
                <a:gd name="T4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0" h="8">
                  <a:moveTo>
                    <a:pt x="135" y="8"/>
                  </a:moveTo>
                  <a:lnTo>
                    <a:pt x="4" y="8"/>
                  </a:lnTo>
                  <a:lnTo>
                    <a:pt x="4" y="8"/>
                  </a:lnTo>
                  <a:lnTo>
                    <a:pt x="2" y="8"/>
                  </a:lnTo>
                  <a:lnTo>
                    <a:pt x="1" y="7"/>
                  </a:lnTo>
                  <a:lnTo>
                    <a:pt x="0" y="6"/>
                  </a:lnTo>
                  <a:lnTo>
                    <a:pt x="0" y="4"/>
                  </a:lnTo>
                  <a:lnTo>
                    <a:pt x="0" y="4"/>
                  </a:lnTo>
                  <a:lnTo>
                    <a:pt x="0" y="3"/>
                  </a:lnTo>
                  <a:lnTo>
                    <a:pt x="1" y="1"/>
                  </a:lnTo>
                  <a:lnTo>
                    <a:pt x="2" y="0"/>
                  </a:lnTo>
                  <a:lnTo>
                    <a:pt x="4" y="0"/>
                  </a:lnTo>
                  <a:lnTo>
                    <a:pt x="135" y="0"/>
                  </a:lnTo>
                  <a:lnTo>
                    <a:pt x="135" y="0"/>
                  </a:lnTo>
                  <a:lnTo>
                    <a:pt x="137" y="0"/>
                  </a:lnTo>
                  <a:lnTo>
                    <a:pt x="138" y="1"/>
                  </a:lnTo>
                  <a:lnTo>
                    <a:pt x="139" y="3"/>
                  </a:lnTo>
                  <a:lnTo>
                    <a:pt x="140" y="4"/>
                  </a:lnTo>
                  <a:lnTo>
                    <a:pt x="140" y="4"/>
                  </a:lnTo>
                  <a:lnTo>
                    <a:pt x="139" y="6"/>
                  </a:lnTo>
                  <a:lnTo>
                    <a:pt x="138" y="7"/>
                  </a:lnTo>
                  <a:lnTo>
                    <a:pt x="137" y="8"/>
                  </a:lnTo>
                  <a:lnTo>
                    <a:pt x="135" y="8"/>
                  </a:lnTo>
                  <a:lnTo>
                    <a:pt x="135" y="8"/>
                  </a:lnTo>
                  <a:close/>
                </a:path>
              </a:pathLst>
            </a:custGeom>
            <a:solidFill>
              <a:srgbClr val="308582"/>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78" name="Freeform 405"/>
            <p:cNvSpPr>
              <a:spLocks/>
            </p:cNvSpPr>
            <p:nvPr/>
          </p:nvSpPr>
          <p:spPr bwMode="auto">
            <a:xfrm>
              <a:off x="3497216" y="4200944"/>
              <a:ext cx="344739" cy="20647"/>
            </a:xfrm>
            <a:custGeom>
              <a:avLst/>
              <a:gdLst>
                <a:gd name="T0" fmla="*/ 135 w 140"/>
                <a:gd name="T1" fmla="*/ 9 h 9"/>
                <a:gd name="T2" fmla="*/ 4 w 140"/>
                <a:gd name="T3" fmla="*/ 9 h 9"/>
                <a:gd name="T4" fmla="*/ 4 w 140"/>
                <a:gd name="T5" fmla="*/ 9 h 9"/>
                <a:gd name="T6" fmla="*/ 2 w 140"/>
                <a:gd name="T7" fmla="*/ 8 h 9"/>
                <a:gd name="T8" fmla="*/ 1 w 140"/>
                <a:gd name="T9" fmla="*/ 7 h 9"/>
                <a:gd name="T10" fmla="*/ 0 w 140"/>
                <a:gd name="T11" fmla="*/ 6 h 9"/>
                <a:gd name="T12" fmla="*/ 0 w 140"/>
                <a:gd name="T13" fmla="*/ 4 h 9"/>
                <a:gd name="T14" fmla="*/ 0 w 140"/>
                <a:gd name="T15" fmla="*/ 4 h 9"/>
                <a:gd name="T16" fmla="*/ 0 w 140"/>
                <a:gd name="T17" fmla="*/ 3 h 9"/>
                <a:gd name="T18" fmla="*/ 1 w 140"/>
                <a:gd name="T19" fmla="*/ 1 h 9"/>
                <a:gd name="T20" fmla="*/ 2 w 140"/>
                <a:gd name="T21" fmla="*/ 1 h 9"/>
                <a:gd name="T22" fmla="*/ 4 w 140"/>
                <a:gd name="T23" fmla="*/ 0 h 9"/>
                <a:gd name="T24" fmla="*/ 135 w 140"/>
                <a:gd name="T25" fmla="*/ 0 h 9"/>
                <a:gd name="T26" fmla="*/ 135 w 140"/>
                <a:gd name="T27" fmla="*/ 0 h 9"/>
                <a:gd name="T28" fmla="*/ 137 w 140"/>
                <a:gd name="T29" fmla="*/ 1 h 9"/>
                <a:gd name="T30" fmla="*/ 138 w 140"/>
                <a:gd name="T31" fmla="*/ 1 h 9"/>
                <a:gd name="T32" fmla="*/ 139 w 140"/>
                <a:gd name="T33" fmla="*/ 3 h 9"/>
                <a:gd name="T34" fmla="*/ 140 w 140"/>
                <a:gd name="T35" fmla="*/ 4 h 9"/>
                <a:gd name="T36" fmla="*/ 140 w 140"/>
                <a:gd name="T37" fmla="*/ 4 h 9"/>
                <a:gd name="T38" fmla="*/ 139 w 140"/>
                <a:gd name="T39" fmla="*/ 6 h 9"/>
                <a:gd name="T40" fmla="*/ 138 w 140"/>
                <a:gd name="T41" fmla="*/ 7 h 9"/>
                <a:gd name="T42" fmla="*/ 137 w 140"/>
                <a:gd name="T43" fmla="*/ 8 h 9"/>
                <a:gd name="T44" fmla="*/ 135 w 140"/>
                <a:gd name="T45" fmla="*/ 9 h 9"/>
                <a:gd name="T46" fmla="*/ 135 w 140"/>
                <a:gd name="T4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0" h="9">
                  <a:moveTo>
                    <a:pt x="135" y="9"/>
                  </a:moveTo>
                  <a:lnTo>
                    <a:pt x="4" y="9"/>
                  </a:lnTo>
                  <a:lnTo>
                    <a:pt x="4" y="9"/>
                  </a:lnTo>
                  <a:lnTo>
                    <a:pt x="2" y="8"/>
                  </a:lnTo>
                  <a:lnTo>
                    <a:pt x="1" y="7"/>
                  </a:lnTo>
                  <a:lnTo>
                    <a:pt x="0" y="6"/>
                  </a:lnTo>
                  <a:lnTo>
                    <a:pt x="0" y="4"/>
                  </a:lnTo>
                  <a:lnTo>
                    <a:pt x="0" y="4"/>
                  </a:lnTo>
                  <a:lnTo>
                    <a:pt x="0" y="3"/>
                  </a:lnTo>
                  <a:lnTo>
                    <a:pt x="1" y="1"/>
                  </a:lnTo>
                  <a:lnTo>
                    <a:pt x="2" y="1"/>
                  </a:lnTo>
                  <a:lnTo>
                    <a:pt x="4" y="0"/>
                  </a:lnTo>
                  <a:lnTo>
                    <a:pt x="135" y="0"/>
                  </a:lnTo>
                  <a:lnTo>
                    <a:pt x="135" y="0"/>
                  </a:lnTo>
                  <a:lnTo>
                    <a:pt x="137" y="1"/>
                  </a:lnTo>
                  <a:lnTo>
                    <a:pt x="138" y="1"/>
                  </a:lnTo>
                  <a:lnTo>
                    <a:pt x="139" y="3"/>
                  </a:lnTo>
                  <a:lnTo>
                    <a:pt x="140" y="4"/>
                  </a:lnTo>
                  <a:lnTo>
                    <a:pt x="140" y="4"/>
                  </a:lnTo>
                  <a:lnTo>
                    <a:pt x="139" y="6"/>
                  </a:lnTo>
                  <a:lnTo>
                    <a:pt x="138" y="7"/>
                  </a:lnTo>
                  <a:lnTo>
                    <a:pt x="137" y="8"/>
                  </a:lnTo>
                  <a:lnTo>
                    <a:pt x="135" y="9"/>
                  </a:lnTo>
                  <a:lnTo>
                    <a:pt x="135" y="9"/>
                  </a:lnTo>
                  <a:close/>
                </a:path>
              </a:pathLst>
            </a:custGeom>
            <a:solidFill>
              <a:srgbClr val="308582"/>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79" name="Freeform 407"/>
            <p:cNvSpPr>
              <a:spLocks/>
            </p:cNvSpPr>
            <p:nvPr/>
          </p:nvSpPr>
          <p:spPr bwMode="auto">
            <a:xfrm>
              <a:off x="3497216" y="4266059"/>
              <a:ext cx="168398" cy="22234"/>
            </a:xfrm>
            <a:custGeom>
              <a:avLst/>
              <a:gdLst>
                <a:gd name="T0" fmla="*/ 64 w 69"/>
                <a:gd name="T1" fmla="*/ 9 h 9"/>
                <a:gd name="T2" fmla="*/ 4 w 69"/>
                <a:gd name="T3" fmla="*/ 9 h 9"/>
                <a:gd name="T4" fmla="*/ 4 w 69"/>
                <a:gd name="T5" fmla="*/ 9 h 9"/>
                <a:gd name="T6" fmla="*/ 2 w 69"/>
                <a:gd name="T7" fmla="*/ 8 h 9"/>
                <a:gd name="T8" fmla="*/ 1 w 69"/>
                <a:gd name="T9" fmla="*/ 8 h 9"/>
                <a:gd name="T10" fmla="*/ 0 w 69"/>
                <a:gd name="T11" fmla="*/ 6 h 9"/>
                <a:gd name="T12" fmla="*/ 0 w 69"/>
                <a:gd name="T13" fmla="*/ 5 h 9"/>
                <a:gd name="T14" fmla="*/ 0 w 69"/>
                <a:gd name="T15" fmla="*/ 5 h 9"/>
                <a:gd name="T16" fmla="*/ 0 w 69"/>
                <a:gd name="T17" fmla="*/ 3 h 9"/>
                <a:gd name="T18" fmla="*/ 1 w 69"/>
                <a:gd name="T19" fmla="*/ 2 h 9"/>
                <a:gd name="T20" fmla="*/ 2 w 69"/>
                <a:gd name="T21" fmla="*/ 1 h 9"/>
                <a:gd name="T22" fmla="*/ 4 w 69"/>
                <a:gd name="T23" fmla="*/ 0 h 9"/>
                <a:gd name="T24" fmla="*/ 64 w 69"/>
                <a:gd name="T25" fmla="*/ 0 h 9"/>
                <a:gd name="T26" fmla="*/ 64 w 69"/>
                <a:gd name="T27" fmla="*/ 0 h 9"/>
                <a:gd name="T28" fmla="*/ 66 w 69"/>
                <a:gd name="T29" fmla="*/ 1 h 9"/>
                <a:gd name="T30" fmla="*/ 67 w 69"/>
                <a:gd name="T31" fmla="*/ 2 h 9"/>
                <a:gd name="T32" fmla="*/ 68 w 69"/>
                <a:gd name="T33" fmla="*/ 3 h 9"/>
                <a:gd name="T34" fmla="*/ 69 w 69"/>
                <a:gd name="T35" fmla="*/ 5 h 9"/>
                <a:gd name="T36" fmla="*/ 69 w 69"/>
                <a:gd name="T37" fmla="*/ 5 h 9"/>
                <a:gd name="T38" fmla="*/ 68 w 69"/>
                <a:gd name="T39" fmla="*/ 6 h 9"/>
                <a:gd name="T40" fmla="*/ 67 w 69"/>
                <a:gd name="T41" fmla="*/ 8 h 9"/>
                <a:gd name="T42" fmla="*/ 66 w 69"/>
                <a:gd name="T43" fmla="*/ 8 h 9"/>
                <a:gd name="T44" fmla="*/ 64 w 69"/>
                <a:gd name="T45" fmla="*/ 9 h 9"/>
                <a:gd name="T46" fmla="*/ 64 w 69"/>
                <a:gd name="T4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9" h="9">
                  <a:moveTo>
                    <a:pt x="64" y="9"/>
                  </a:moveTo>
                  <a:lnTo>
                    <a:pt x="4" y="9"/>
                  </a:lnTo>
                  <a:lnTo>
                    <a:pt x="4" y="9"/>
                  </a:lnTo>
                  <a:lnTo>
                    <a:pt x="2" y="8"/>
                  </a:lnTo>
                  <a:lnTo>
                    <a:pt x="1" y="8"/>
                  </a:lnTo>
                  <a:lnTo>
                    <a:pt x="0" y="6"/>
                  </a:lnTo>
                  <a:lnTo>
                    <a:pt x="0" y="5"/>
                  </a:lnTo>
                  <a:lnTo>
                    <a:pt x="0" y="5"/>
                  </a:lnTo>
                  <a:lnTo>
                    <a:pt x="0" y="3"/>
                  </a:lnTo>
                  <a:lnTo>
                    <a:pt x="1" y="2"/>
                  </a:lnTo>
                  <a:lnTo>
                    <a:pt x="2" y="1"/>
                  </a:lnTo>
                  <a:lnTo>
                    <a:pt x="4" y="0"/>
                  </a:lnTo>
                  <a:lnTo>
                    <a:pt x="64" y="0"/>
                  </a:lnTo>
                  <a:lnTo>
                    <a:pt x="64" y="0"/>
                  </a:lnTo>
                  <a:lnTo>
                    <a:pt x="66" y="1"/>
                  </a:lnTo>
                  <a:lnTo>
                    <a:pt x="67" y="2"/>
                  </a:lnTo>
                  <a:lnTo>
                    <a:pt x="68" y="3"/>
                  </a:lnTo>
                  <a:lnTo>
                    <a:pt x="69" y="5"/>
                  </a:lnTo>
                  <a:lnTo>
                    <a:pt x="69" y="5"/>
                  </a:lnTo>
                  <a:lnTo>
                    <a:pt x="68" y="6"/>
                  </a:lnTo>
                  <a:lnTo>
                    <a:pt x="67" y="8"/>
                  </a:lnTo>
                  <a:lnTo>
                    <a:pt x="66" y="8"/>
                  </a:lnTo>
                  <a:lnTo>
                    <a:pt x="64" y="9"/>
                  </a:lnTo>
                  <a:lnTo>
                    <a:pt x="64" y="9"/>
                  </a:lnTo>
                  <a:close/>
                </a:path>
              </a:pathLst>
            </a:custGeom>
            <a:solidFill>
              <a:srgbClr val="308582"/>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grpSp>
      <p:grpSp>
        <p:nvGrpSpPr>
          <p:cNvPr id="14" name="Group 13"/>
          <p:cNvGrpSpPr>
            <a:grpSpLocks/>
          </p:cNvGrpSpPr>
          <p:nvPr/>
        </p:nvGrpSpPr>
        <p:grpSpPr bwMode="auto">
          <a:xfrm>
            <a:off x="4311650" y="4384675"/>
            <a:ext cx="198438" cy="212725"/>
            <a:chOff x="4312005" y="4383941"/>
            <a:chExt cx="198387" cy="213083"/>
          </a:xfrm>
        </p:grpSpPr>
        <p:sp>
          <p:nvSpPr>
            <p:cNvPr id="180" name="Freeform 408"/>
            <p:cNvSpPr>
              <a:spLocks noEditPoints="1"/>
            </p:cNvSpPr>
            <p:nvPr/>
          </p:nvSpPr>
          <p:spPr bwMode="auto">
            <a:xfrm>
              <a:off x="4312005" y="4391892"/>
              <a:ext cx="198387" cy="205132"/>
            </a:xfrm>
            <a:custGeom>
              <a:avLst/>
              <a:gdLst>
                <a:gd name="T0" fmla="*/ 82 w 82"/>
                <a:gd name="T1" fmla="*/ 41 h 84"/>
                <a:gd name="T2" fmla="*/ 79 w 82"/>
                <a:gd name="T3" fmla="*/ 36 h 84"/>
                <a:gd name="T4" fmla="*/ 74 w 82"/>
                <a:gd name="T5" fmla="*/ 32 h 84"/>
                <a:gd name="T6" fmla="*/ 60 w 82"/>
                <a:gd name="T7" fmla="*/ 32 h 84"/>
                <a:gd name="T8" fmla="*/ 67 w 82"/>
                <a:gd name="T9" fmla="*/ 28 h 84"/>
                <a:gd name="T10" fmla="*/ 74 w 82"/>
                <a:gd name="T11" fmla="*/ 20 h 84"/>
                <a:gd name="T12" fmla="*/ 73 w 82"/>
                <a:gd name="T13" fmla="*/ 15 h 84"/>
                <a:gd name="T14" fmla="*/ 70 w 82"/>
                <a:gd name="T15" fmla="*/ 13 h 84"/>
                <a:gd name="T16" fmla="*/ 63 w 82"/>
                <a:gd name="T17" fmla="*/ 11 h 84"/>
                <a:gd name="T18" fmla="*/ 58 w 82"/>
                <a:gd name="T19" fmla="*/ 12 h 84"/>
                <a:gd name="T20" fmla="*/ 49 w 82"/>
                <a:gd name="T21" fmla="*/ 22 h 84"/>
                <a:gd name="T22" fmla="*/ 50 w 82"/>
                <a:gd name="T23" fmla="*/ 14 h 84"/>
                <a:gd name="T24" fmla="*/ 49 w 82"/>
                <a:gd name="T25" fmla="*/ 3 h 84"/>
                <a:gd name="T26" fmla="*/ 44 w 82"/>
                <a:gd name="T27" fmla="*/ 0 h 84"/>
                <a:gd name="T28" fmla="*/ 40 w 82"/>
                <a:gd name="T29" fmla="*/ 0 h 84"/>
                <a:gd name="T30" fmla="*/ 34 w 82"/>
                <a:gd name="T31" fmla="*/ 3 h 84"/>
                <a:gd name="T32" fmla="*/ 32 w 82"/>
                <a:gd name="T33" fmla="*/ 8 h 84"/>
                <a:gd name="T34" fmla="*/ 32 w 82"/>
                <a:gd name="T35" fmla="*/ 22 h 84"/>
                <a:gd name="T36" fmla="*/ 27 w 82"/>
                <a:gd name="T37" fmla="*/ 16 h 84"/>
                <a:gd name="T38" fmla="*/ 18 w 82"/>
                <a:gd name="T39" fmla="*/ 10 h 84"/>
                <a:gd name="T40" fmla="*/ 13 w 82"/>
                <a:gd name="T41" fmla="*/ 11 h 84"/>
                <a:gd name="T42" fmla="*/ 11 w 82"/>
                <a:gd name="T43" fmla="*/ 13 h 84"/>
                <a:gd name="T44" fmla="*/ 9 w 82"/>
                <a:gd name="T45" fmla="*/ 19 h 84"/>
                <a:gd name="T46" fmla="*/ 11 w 82"/>
                <a:gd name="T47" fmla="*/ 25 h 84"/>
                <a:gd name="T48" fmla="*/ 21 w 82"/>
                <a:gd name="T49" fmla="*/ 35 h 84"/>
                <a:gd name="T50" fmla="*/ 12 w 82"/>
                <a:gd name="T51" fmla="*/ 34 h 84"/>
                <a:gd name="T52" fmla="*/ 3 w 82"/>
                <a:gd name="T53" fmla="*/ 35 h 84"/>
                <a:gd name="T54" fmla="*/ 0 w 82"/>
                <a:gd name="T55" fmla="*/ 39 h 84"/>
                <a:gd name="T56" fmla="*/ 0 w 82"/>
                <a:gd name="T57" fmla="*/ 42 h 84"/>
                <a:gd name="T58" fmla="*/ 3 w 82"/>
                <a:gd name="T59" fmla="*/ 48 h 84"/>
                <a:gd name="T60" fmla="*/ 8 w 82"/>
                <a:gd name="T61" fmla="*/ 51 h 84"/>
                <a:gd name="T62" fmla="*/ 22 w 82"/>
                <a:gd name="T63" fmla="*/ 50 h 84"/>
                <a:gd name="T64" fmla="*/ 14 w 82"/>
                <a:gd name="T65" fmla="*/ 55 h 84"/>
                <a:gd name="T66" fmla="*/ 9 w 82"/>
                <a:gd name="T67" fmla="*/ 64 h 84"/>
                <a:gd name="T68" fmla="*/ 9 w 82"/>
                <a:gd name="T69" fmla="*/ 69 h 84"/>
                <a:gd name="T70" fmla="*/ 12 w 82"/>
                <a:gd name="T71" fmla="*/ 71 h 84"/>
                <a:gd name="T72" fmla="*/ 18 w 82"/>
                <a:gd name="T73" fmla="*/ 73 h 84"/>
                <a:gd name="T74" fmla="*/ 25 w 82"/>
                <a:gd name="T75" fmla="*/ 71 h 84"/>
                <a:gd name="T76" fmla="*/ 33 w 82"/>
                <a:gd name="T77" fmla="*/ 62 h 84"/>
                <a:gd name="T78" fmla="*/ 32 w 82"/>
                <a:gd name="T79" fmla="*/ 70 h 84"/>
                <a:gd name="T80" fmla="*/ 34 w 82"/>
                <a:gd name="T81" fmla="*/ 80 h 84"/>
                <a:gd name="T82" fmla="*/ 38 w 82"/>
                <a:gd name="T83" fmla="*/ 84 h 84"/>
                <a:gd name="T84" fmla="*/ 41 w 82"/>
                <a:gd name="T85" fmla="*/ 83 h 84"/>
                <a:gd name="T86" fmla="*/ 48 w 82"/>
                <a:gd name="T87" fmla="*/ 79 h 84"/>
                <a:gd name="T88" fmla="*/ 50 w 82"/>
                <a:gd name="T89" fmla="*/ 74 h 84"/>
                <a:gd name="T90" fmla="*/ 50 w 82"/>
                <a:gd name="T91" fmla="*/ 62 h 84"/>
                <a:gd name="T92" fmla="*/ 55 w 82"/>
                <a:gd name="T93" fmla="*/ 68 h 84"/>
                <a:gd name="T94" fmla="*/ 63 w 82"/>
                <a:gd name="T95" fmla="*/ 74 h 84"/>
                <a:gd name="T96" fmla="*/ 69 w 82"/>
                <a:gd name="T97" fmla="*/ 73 h 84"/>
                <a:gd name="T98" fmla="*/ 71 w 82"/>
                <a:gd name="T99" fmla="*/ 70 h 84"/>
                <a:gd name="T100" fmla="*/ 73 w 82"/>
                <a:gd name="T101" fmla="*/ 64 h 84"/>
                <a:gd name="T102" fmla="*/ 71 w 82"/>
                <a:gd name="T103" fmla="*/ 59 h 84"/>
                <a:gd name="T104" fmla="*/ 61 w 82"/>
                <a:gd name="T105" fmla="*/ 49 h 84"/>
                <a:gd name="T106" fmla="*/ 70 w 82"/>
                <a:gd name="T107" fmla="*/ 50 h 84"/>
                <a:gd name="T108" fmla="*/ 80 w 82"/>
                <a:gd name="T109" fmla="*/ 49 h 84"/>
                <a:gd name="T110" fmla="*/ 82 w 82"/>
                <a:gd name="T111" fmla="*/ 45 h 84"/>
                <a:gd name="T112" fmla="*/ 82 w 82"/>
                <a:gd name="T113" fmla="*/ 41 h 84"/>
                <a:gd name="T114" fmla="*/ 35 w 82"/>
                <a:gd name="T115" fmla="*/ 45 h 84"/>
                <a:gd name="T116" fmla="*/ 38 w 82"/>
                <a:gd name="T117" fmla="*/ 36 h 84"/>
                <a:gd name="T118" fmla="*/ 47 w 82"/>
                <a:gd name="T119" fmla="*/ 39 h 84"/>
                <a:gd name="T120" fmla="*/ 44 w 82"/>
                <a:gd name="T121" fmla="*/ 4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 h="84">
                  <a:moveTo>
                    <a:pt x="82" y="41"/>
                  </a:moveTo>
                  <a:lnTo>
                    <a:pt x="82" y="41"/>
                  </a:lnTo>
                  <a:lnTo>
                    <a:pt x="81" y="38"/>
                  </a:lnTo>
                  <a:lnTo>
                    <a:pt x="79" y="36"/>
                  </a:lnTo>
                  <a:lnTo>
                    <a:pt x="77" y="34"/>
                  </a:lnTo>
                  <a:lnTo>
                    <a:pt x="74" y="32"/>
                  </a:lnTo>
                  <a:lnTo>
                    <a:pt x="67" y="31"/>
                  </a:lnTo>
                  <a:lnTo>
                    <a:pt x="60" y="32"/>
                  </a:lnTo>
                  <a:lnTo>
                    <a:pt x="60" y="32"/>
                  </a:lnTo>
                  <a:lnTo>
                    <a:pt x="67" y="28"/>
                  </a:lnTo>
                  <a:lnTo>
                    <a:pt x="72" y="22"/>
                  </a:lnTo>
                  <a:lnTo>
                    <a:pt x="74" y="20"/>
                  </a:lnTo>
                  <a:lnTo>
                    <a:pt x="74" y="17"/>
                  </a:lnTo>
                  <a:lnTo>
                    <a:pt x="73" y="15"/>
                  </a:lnTo>
                  <a:lnTo>
                    <a:pt x="70" y="13"/>
                  </a:lnTo>
                  <a:lnTo>
                    <a:pt x="70" y="13"/>
                  </a:lnTo>
                  <a:lnTo>
                    <a:pt x="66" y="11"/>
                  </a:lnTo>
                  <a:lnTo>
                    <a:pt x="63" y="11"/>
                  </a:lnTo>
                  <a:lnTo>
                    <a:pt x="60" y="11"/>
                  </a:lnTo>
                  <a:lnTo>
                    <a:pt x="58" y="12"/>
                  </a:lnTo>
                  <a:lnTo>
                    <a:pt x="53" y="16"/>
                  </a:lnTo>
                  <a:lnTo>
                    <a:pt x="49" y="22"/>
                  </a:lnTo>
                  <a:lnTo>
                    <a:pt x="49" y="22"/>
                  </a:lnTo>
                  <a:lnTo>
                    <a:pt x="50" y="14"/>
                  </a:lnTo>
                  <a:lnTo>
                    <a:pt x="50" y="6"/>
                  </a:lnTo>
                  <a:lnTo>
                    <a:pt x="49" y="3"/>
                  </a:lnTo>
                  <a:lnTo>
                    <a:pt x="47" y="1"/>
                  </a:lnTo>
                  <a:lnTo>
                    <a:pt x="44" y="0"/>
                  </a:lnTo>
                  <a:lnTo>
                    <a:pt x="40" y="0"/>
                  </a:lnTo>
                  <a:lnTo>
                    <a:pt x="40" y="0"/>
                  </a:lnTo>
                  <a:lnTo>
                    <a:pt x="37" y="2"/>
                  </a:lnTo>
                  <a:lnTo>
                    <a:pt x="34" y="3"/>
                  </a:lnTo>
                  <a:lnTo>
                    <a:pt x="33" y="6"/>
                  </a:lnTo>
                  <a:lnTo>
                    <a:pt x="32" y="8"/>
                  </a:lnTo>
                  <a:lnTo>
                    <a:pt x="31" y="16"/>
                  </a:lnTo>
                  <a:lnTo>
                    <a:pt x="32" y="22"/>
                  </a:lnTo>
                  <a:lnTo>
                    <a:pt x="32" y="22"/>
                  </a:lnTo>
                  <a:lnTo>
                    <a:pt x="27" y="16"/>
                  </a:lnTo>
                  <a:lnTo>
                    <a:pt x="22" y="11"/>
                  </a:lnTo>
                  <a:lnTo>
                    <a:pt x="18" y="10"/>
                  </a:lnTo>
                  <a:lnTo>
                    <a:pt x="16" y="10"/>
                  </a:lnTo>
                  <a:lnTo>
                    <a:pt x="13" y="11"/>
                  </a:lnTo>
                  <a:lnTo>
                    <a:pt x="11" y="13"/>
                  </a:lnTo>
                  <a:lnTo>
                    <a:pt x="11" y="13"/>
                  </a:lnTo>
                  <a:lnTo>
                    <a:pt x="10" y="16"/>
                  </a:lnTo>
                  <a:lnTo>
                    <a:pt x="9" y="19"/>
                  </a:lnTo>
                  <a:lnTo>
                    <a:pt x="10" y="22"/>
                  </a:lnTo>
                  <a:lnTo>
                    <a:pt x="11" y="25"/>
                  </a:lnTo>
                  <a:lnTo>
                    <a:pt x="15" y="30"/>
                  </a:lnTo>
                  <a:lnTo>
                    <a:pt x="21" y="35"/>
                  </a:lnTo>
                  <a:lnTo>
                    <a:pt x="21" y="35"/>
                  </a:lnTo>
                  <a:lnTo>
                    <a:pt x="12" y="34"/>
                  </a:lnTo>
                  <a:lnTo>
                    <a:pt x="5" y="34"/>
                  </a:lnTo>
                  <a:lnTo>
                    <a:pt x="3" y="35"/>
                  </a:lnTo>
                  <a:lnTo>
                    <a:pt x="1" y="37"/>
                  </a:lnTo>
                  <a:lnTo>
                    <a:pt x="0" y="39"/>
                  </a:lnTo>
                  <a:lnTo>
                    <a:pt x="0" y="42"/>
                  </a:lnTo>
                  <a:lnTo>
                    <a:pt x="0" y="42"/>
                  </a:lnTo>
                  <a:lnTo>
                    <a:pt x="1" y="46"/>
                  </a:lnTo>
                  <a:lnTo>
                    <a:pt x="3" y="48"/>
                  </a:lnTo>
                  <a:lnTo>
                    <a:pt x="5" y="50"/>
                  </a:lnTo>
                  <a:lnTo>
                    <a:pt x="8" y="51"/>
                  </a:lnTo>
                  <a:lnTo>
                    <a:pt x="14" y="51"/>
                  </a:lnTo>
                  <a:lnTo>
                    <a:pt x="22" y="50"/>
                  </a:lnTo>
                  <a:lnTo>
                    <a:pt x="22" y="50"/>
                  </a:lnTo>
                  <a:lnTo>
                    <a:pt x="14" y="55"/>
                  </a:lnTo>
                  <a:lnTo>
                    <a:pt x="10" y="61"/>
                  </a:lnTo>
                  <a:lnTo>
                    <a:pt x="9" y="64"/>
                  </a:lnTo>
                  <a:lnTo>
                    <a:pt x="8" y="67"/>
                  </a:lnTo>
                  <a:lnTo>
                    <a:pt x="9" y="69"/>
                  </a:lnTo>
                  <a:lnTo>
                    <a:pt x="12" y="71"/>
                  </a:lnTo>
                  <a:lnTo>
                    <a:pt x="12" y="71"/>
                  </a:lnTo>
                  <a:lnTo>
                    <a:pt x="15" y="73"/>
                  </a:lnTo>
                  <a:lnTo>
                    <a:pt x="18" y="73"/>
                  </a:lnTo>
                  <a:lnTo>
                    <a:pt x="22" y="73"/>
                  </a:lnTo>
                  <a:lnTo>
                    <a:pt x="25" y="71"/>
                  </a:lnTo>
                  <a:lnTo>
                    <a:pt x="29" y="67"/>
                  </a:lnTo>
                  <a:lnTo>
                    <a:pt x="33" y="62"/>
                  </a:lnTo>
                  <a:lnTo>
                    <a:pt x="33" y="62"/>
                  </a:lnTo>
                  <a:lnTo>
                    <a:pt x="32" y="70"/>
                  </a:lnTo>
                  <a:lnTo>
                    <a:pt x="33" y="77"/>
                  </a:lnTo>
                  <a:lnTo>
                    <a:pt x="34" y="80"/>
                  </a:lnTo>
                  <a:lnTo>
                    <a:pt x="35" y="83"/>
                  </a:lnTo>
                  <a:lnTo>
                    <a:pt x="38" y="84"/>
                  </a:lnTo>
                  <a:lnTo>
                    <a:pt x="41" y="83"/>
                  </a:lnTo>
                  <a:lnTo>
                    <a:pt x="41" y="83"/>
                  </a:lnTo>
                  <a:lnTo>
                    <a:pt x="45" y="81"/>
                  </a:lnTo>
                  <a:lnTo>
                    <a:pt x="48" y="79"/>
                  </a:lnTo>
                  <a:lnTo>
                    <a:pt x="49" y="77"/>
                  </a:lnTo>
                  <a:lnTo>
                    <a:pt x="50" y="74"/>
                  </a:lnTo>
                  <a:lnTo>
                    <a:pt x="51" y="68"/>
                  </a:lnTo>
                  <a:lnTo>
                    <a:pt x="50" y="62"/>
                  </a:lnTo>
                  <a:lnTo>
                    <a:pt x="50" y="62"/>
                  </a:lnTo>
                  <a:lnTo>
                    <a:pt x="55" y="68"/>
                  </a:lnTo>
                  <a:lnTo>
                    <a:pt x="60" y="73"/>
                  </a:lnTo>
                  <a:lnTo>
                    <a:pt x="63" y="74"/>
                  </a:lnTo>
                  <a:lnTo>
                    <a:pt x="65" y="74"/>
                  </a:lnTo>
                  <a:lnTo>
                    <a:pt x="69" y="73"/>
                  </a:lnTo>
                  <a:lnTo>
                    <a:pt x="71" y="70"/>
                  </a:lnTo>
                  <a:lnTo>
                    <a:pt x="71" y="70"/>
                  </a:lnTo>
                  <a:lnTo>
                    <a:pt x="72" y="67"/>
                  </a:lnTo>
                  <a:lnTo>
                    <a:pt x="73" y="64"/>
                  </a:lnTo>
                  <a:lnTo>
                    <a:pt x="72" y="62"/>
                  </a:lnTo>
                  <a:lnTo>
                    <a:pt x="71" y="59"/>
                  </a:lnTo>
                  <a:lnTo>
                    <a:pt x="66" y="53"/>
                  </a:lnTo>
                  <a:lnTo>
                    <a:pt x="61" y="49"/>
                  </a:lnTo>
                  <a:lnTo>
                    <a:pt x="61" y="49"/>
                  </a:lnTo>
                  <a:lnTo>
                    <a:pt x="70" y="50"/>
                  </a:lnTo>
                  <a:lnTo>
                    <a:pt x="77" y="50"/>
                  </a:lnTo>
                  <a:lnTo>
                    <a:pt x="80" y="49"/>
                  </a:lnTo>
                  <a:lnTo>
                    <a:pt x="81" y="47"/>
                  </a:lnTo>
                  <a:lnTo>
                    <a:pt x="82" y="45"/>
                  </a:lnTo>
                  <a:lnTo>
                    <a:pt x="82" y="41"/>
                  </a:lnTo>
                  <a:lnTo>
                    <a:pt x="82" y="41"/>
                  </a:lnTo>
                  <a:close/>
                  <a:moveTo>
                    <a:pt x="39" y="48"/>
                  </a:moveTo>
                  <a:lnTo>
                    <a:pt x="35" y="45"/>
                  </a:lnTo>
                  <a:lnTo>
                    <a:pt x="35" y="40"/>
                  </a:lnTo>
                  <a:lnTo>
                    <a:pt x="38" y="36"/>
                  </a:lnTo>
                  <a:lnTo>
                    <a:pt x="44" y="36"/>
                  </a:lnTo>
                  <a:lnTo>
                    <a:pt x="47" y="39"/>
                  </a:lnTo>
                  <a:lnTo>
                    <a:pt x="47" y="44"/>
                  </a:lnTo>
                  <a:lnTo>
                    <a:pt x="44" y="48"/>
                  </a:lnTo>
                  <a:lnTo>
                    <a:pt x="39" y="48"/>
                  </a:lnTo>
                  <a:close/>
                </a:path>
              </a:pathLst>
            </a:custGeom>
            <a:solidFill>
              <a:srgbClr val="6F701E"/>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81" name="Freeform 409"/>
            <p:cNvSpPr>
              <a:spLocks/>
            </p:cNvSpPr>
            <p:nvPr/>
          </p:nvSpPr>
          <p:spPr bwMode="auto">
            <a:xfrm>
              <a:off x="4385011" y="4383941"/>
              <a:ext cx="44439" cy="81099"/>
            </a:xfrm>
            <a:custGeom>
              <a:avLst/>
              <a:gdLst>
                <a:gd name="T0" fmla="*/ 5 w 19"/>
                <a:gd name="T1" fmla="*/ 35 h 35"/>
                <a:gd name="T2" fmla="*/ 5 w 19"/>
                <a:gd name="T3" fmla="*/ 35 h 35"/>
                <a:gd name="T4" fmla="*/ 4 w 19"/>
                <a:gd name="T5" fmla="*/ 31 h 35"/>
                <a:gd name="T6" fmla="*/ 2 w 19"/>
                <a:gd name="T7" fmla="*/ 26 h 35"/>
                <a:gd name="T8" fmla="*/ 1 w 19"/>
                <a:gd name="T9" fmla="*/ 20 h 35"/>
                <a:gd name="T10" fmla="*/ 0 w 19"/>
                <a:gd name="T11" fmla="*/ 14 h 35"/>
                <a:gd name="T12" fmla="*/ 1 w 19"/>
                <a:gd name="T13" fmla="*/ 7 h 35"/>
                <a:gd name="T14" fmla="*/ 2 w 19"/>
                <a:gd name="T15" fmla="*/ 5 h 35"/>
                <a:gd name="T16" fmla="*/ 4 w 19"/>
                <a:gd name="T17" fmla="*/ 3 h 35"/>
                <a:gd name="T18" fmla="*/ 6 w 19"/>
                <a:gd name="T19" fmla="*/ 1 h 35"/>
                <a:gd name="T20" fmla="*/ 9 w 19"/>
                <a:gd name="T21" fmla="*/ 0 h 35"/>
                <a:gd name="T22" fmla="*/ 9 w 19"/>
                <a:gd name="T23" fmla="*/ 0 h 35"/>
                <a:gd name="T24" fmla="*/ 13 w 19"/>
                <a:gd name="T25" fmla="*/ 0 h 35"/>
                <a:gd name="T26" fmla="*/ 15 w 19"/>
                <a:gd name="T27" fmla="*/ 1 h 35"/>
                <a:gd name="T28" fmla="*/ 17 w 19"/>
                <a:gd name="T29" fmla="*/ 2 h 35"/>
                <a:gd name="T30" fmla="*/ 18 w 19"/>
                <a:gd name="T31" fmla="*/ 4 h 35"/>
                <a:gd name="T32" fmla="*/ 19 w 19"/>
                <a:gd name="T33" fmla="*/ 9 h 35"/>
                <a:gd name="T34" fmla="*/ 19 w 19"/>
                <a:gd name="T35" fmla="*/ 17 h 35"/>
                <a:gd name="T36" fmla="*/ 16 w 19"/>
                <a:gd name="T37" fmla="*/ 29 h 35"/>
                <a:gd name="T38" fmla="*/ 14 w 19"/>
                <a:gd name="T39" fmla="*/ 35 h 35"/>
                <a:gd name="T40" fmla="*/ 5 w 19"/>
                <a:gd name="T41"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 h="35">
                  <a:moveTo>
                    <a:pt x="5" y="35"/>
                  </a:moveTo>
                  <a:lnTo>
                    <a:pt x="5" y="35"/>
                  </a:lnTo>
                  <a:lnTo>
                    <a:pt x="4" y="31"/>
                  </a:lnTo>
                  <a:lnTo>
                    <a:pt x="2" y="26"/>
                  </a:lnTo>
                  <a:lnTo>
                    <a:pt x="1" y="20"/>
                  </a:lnTo>
                  <a:lnTo>
                    <a:pt x="0" y="14"/>
                  </a:lnTo>
                  <a:lnTo>
                    <a:pt x="1" y="7"/>
                  </a:lnTo>
                  <a:lnTo>
                    <a:pt x="2" y="5"/>
                  </a:lnTo>
                  <a:lnTo>
                    <a:pt x="4" y="3"/>
                  </a:lnTo>
                  <a:lnTo>
                    <a:pt x="6" y="1"/>
                  </a:lnTo>
                  <a:lnTo>
                    <a:pt x="9" y="0"/>
                  </a:lnTo>
                  <a:lnTo>
                    <a:pt x="9" y="0"/>
                  </a:lnTo>
                  <a:lnTo>
                    <a:pt x="13" y="0"/>
                  </a:lnTo>
                  <a:lnTo>
                    <a:pt x="15" y="1"/>
                  </a:lnTo>
                  <a:lnTo>
                    <a:pt x="17" y="2"/>
                  </a:lnTo>
                  <a:lnTo>
                    <a:pt x="18" y="4"/>
                  </a:lnTo>
                  <a:lnTo>
                    <a:pt x="19" y="9"/>
                  </a:lnTo>
                  <a:lnTo>
                    <a:pt x="19" y="17"/>
                  </a:lnTo>
                  <a:lnTo>
                    <a:pt x="16" y="29"/>
                  </a:lnTo>
                  <a:lnTo>
                    <a:pt x="14" y="35"/>
                  </a:lnTo>
                  <a:lnTo>
                    <a:pt x="5" y="35"/>
                  </a:lnTo>
                  <a:close/>
                </a:path>
              </a:pathLst>
            </a:custGeom>
            <a:solidFill>
              <a:srgbClr val="FFF1CA"/>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82" name="Freeform 410"/>
            <p:cNvSpPr>
              <a:spLocks/>
            </p:cNvSpPr>
            <p:nvPr/>
          </p:nvSpPr>
          <p:spPr bwMode="auto">
            <a:xfrm>
              <a:off x="4415166" y="4406203"/>
              <a:ext cx="73006" cy="73148"/>
            </a:xfrm>
            <a:custGeom>
              <a:avLst/>
              <a:gdLst>
                <a:gd name="T0" fmla="*/ 0 w 32"/>
                <a:gd name="T1" fmla="*/ 24 h 30"/>
                <a:gd name="T2" fmla="*/ 0 w 32"/>
                <a:gd name="T3" fmla="*/ 24 h 30"/>
                <a:gd name="T4" fmla="*/ 3 w 32"/>
                <a:gd name="T5" fmla="*/ 19 h 30"/>
                <a:gd name="T6" fmla="*/ 5 w 32"/>
                <a:gd name="T7" fmla="*/ 15 h 30"/>
                <a:gd name="T8" fmla="*/ 8 w 32"/>
                <a:gd name="T9" fmla="*/ 10 h 30"/>
                <a:gd name="T10" fmla="*/ 12 w 32"/>
                <a:gd name="T11" fmla="*/ 5 h 30"/>
                <a:gd name="T12" fmla="*/ 17 w 32"/>
                <a:gd name="T13" fmla="*/ 1 h 30"/>
                <a:gd name="T14" fmla="*/ 19 w 32"/>
                <a:gd name="T15" fmla="*/ 0 h 30"/>
                <a:gd name="T16" fmla="*/ 22 w 32"/>
                <a:gd name="T17" fmla="*/ 0 h 30"/>
                <a:gd name="T18" fmla="*/ 24 w 32"/>
                <a:gd name="T19" fmla="*/ 0 h 30"/>
                <a:gd name="T20" fmla="*/ 28 w 32"/>
                <a:gd name="T21" fmla="*/ 2 h 30"/>
                <a:gd name="T22" fmla="*/ 28 w 32"/>
                <a:gd name="T23" fmla="*/ 2 h 30"/>
                <a:gd name="T24" fmla="*/ 30 w 32"/>
                <a:gd name="T25" fmla="*/ 4 h 30"/>
                <a:gd name="T26" fmla="*/ 32 w 32"/>
                <a:gd name="T27" fmla="*/ 6 h 30"/>
                <a:gd name="T28" fmla="*/ 32 w 32"/>
                <a:gd name="T29" fmla="*/ 9 h 30"/>
                <a:gd name="T30" fmla="*/ 31 w 32"/>
                <a:gd name="T31" fmla="*/ 11 h 30"/>
                <a:gd name="T32" fmla="*/ 28 w 32"/>
                <a:gd name="T33" fmla="*/ 15 h 30"/>
                <a:gd name="T34" fmla="*/ 22 w 32"/>
                <a:gd name="T35" fmla="*/ 19 h 30"/>
                <a:gd name="T36" fmla="*/ 12 w 32"/>
                <a:gd name="T37" fmla="*/ 26 h 30"/>
                <a:gd name="T38" fmla="*/ 6 w 32"/>
                <a:gd name="T39" fmla="*/ 30 h 30"/>
                <a:gd name="T40" fmla="*/ 0 w 32"/>
                <a:gd name="T41"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 h="30">
                  <a:moveTo>
                    <a:pt x="0" y="24"/>
                  </a:moveTo>
                  <a:lnTo>
                    <a:pt x="0" y="24"/>
                  </a:lnTo>
                  <a:lnTo>
                    <a:pt x="3" y="19"/>
                  </a:lnTo>
                  <a:lnTo>
                    <a:pt x="5" y="15"/>
                  </a:lnTo>
                  <a:lnTo>
                    <a:pt x="8" y="10"/>
                  </a:lnTo>
                  <a:lnTo>
                    <a:pt x="12" y="5"/>
                  </a:lnTo>
                  <a:lnTo>
                    <a:pt x="17" y="1"/>
                  </a:lnTo>
                  <a:lnTo>
                    <a:pt x="19" y="0"/>
                  </a:lnTo>
                  <a:lnTo>
                    <a:pt x="22" y="0"/>
                  </a:lnTo>
                  <a:lnTo>
                    <a:pt x="24" y="0"/>
                  </a:lnTo>
                  <a:lnTo>
                    <a:pt x="28" y="2"/>
                  </a:lnTo>
                  <a:lnTo>
                    <a:pt x="28" y="2"/>
                  </a:lnTo>
                  <a:lnTo>
                    <a:pt x="30" y="4"/>
                  </a:lnTo>
                  <a:lnTo>
                    <a:pt x="32" y="6"/>
                  </a:lnTo>
                  <a:lnTo>
                    <a:pt x="32" y="9"/>
                  </a:lnTo>
                  <a:lnTo>
                    <a:pt x="31" y="11"/>
                  </a:lnTo>
                  <a:lnTo>
                    <a:pt x="28" y="15"/>
                  </a:lnTo>
                  <a:lnTo>
                    <a:pt x="22" y="19"/>
                  </a:lnTo>
                  <a:lnTo>
                    <a:pt x="12" y="26"/>
                  </a:lnTo>
                  <a:lnTo>
                    <a:pt x="6" y="30"/>
                  </a:lnTo>
                  <a:lnTo>
                    <a:pt x="0" y="24"/>
                  </a:lnTo>
                  <a:close/>
                </a:path>
              </a:pathLst>
            </a:custGeom>
            <a:solidFill>
              <a:srgbClr val="FFF1CA"/>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83" name="Freeform 411"/>
            <p:cNvSpPr>
              <a:spLocks/>
            </p:cNvSpPr>
            <p:nvPr/>
          </p:nvSpPr>
          <p:spPr bwMode="auto">
            <a:xfrm>
              <a:off x="4421515" y="4457089"/>
              <a:ext cx="88877" cy="44525"/>
            </a:xfrm>
            <a:custGeom>
              <a:avLst/>
              <a:gdLst>
                <a:gd name="T0" fmla="*/ 0 w 35"/>
                <a:gd name="T1" fmla="*/ 7 h 19"/>
                <a:gd name="T2" fmla="*/ 0 w 35"/>
                <a:gd name="T3" fmla="*/ 7 h 19"/>
                <a:gd name="T4" fmla="*/ 5 w 35"/>
                <a:gd name="T5" fmla="*/ 4 h 19"/>
                <a:gd name="T6" fmla="*/ 10 w 35"/>
                <a:gd name="T7" fmla="*/ 2 h 19"/>
                <a:gd name="T8" fmla="*/ 16 w 35"/>
                <a:gd name="T9" fmla="*/ 1 h 19"/>
                <a:gd name="T10" fmla="*/ 23 w 35"/>
                <a:gd name="T11" fmla="*/ 0 h 19"/>
                <a:gd name="T12" fmla="*/ 28 w 35"/>
                <a:gd name="T13" fmla="*/ 1 h 19"/>
                <a:gd name="T14" fmla="*/ 30 w 35"/>
                <a:gd name="T15" fmla="*/ 2 h 19"/>
                <a:gd name="T16" fmla="*/ 33 w 35"/>
                <a:gd name="T17" fmla="*/ 4 h 19"/>
                <a:gd name="T18" fmla="*/ 34 w 35"/>
                <a:gd name="T19" fmla="*/ 7 h 19"/>
                <a:gd name="T20" fmla="*/ 35 w 35"/>
                <a:gd name="T21" fmla="*/ 10 h 19"/>
                <a:gd name="T22" fmla="*/ 35 w 35"/>
                <a:gd name="T23" fmla="*/ 10 h 19"/>
                <a:gd name="T24" fmla="*/ 35 w 35"/>
                <a:gd name="T25" fmla="*/ 13 h 19"/>
                <a:gd name="T26" fmla="*/ 35 w 35"/>
                <a:gd name="T27" fmla="*/ 16 h 19"/>
                <a:gd name="T28" fmla="*/ 34 w 35"/>
                <a:gd name="T29" fmla="*/ 17 h 19"/>
                <a:gd name="T30" fmla="*/ 32 w 35"/>
                <a:gd name="T31" fmla="*/ 18 h 19"/>
                <a:gd name="T32" fmla="*/ 26 w 35"/>
                <a:gd name="T33" fmla="*/ 19 h 19"/>
                <a:gd name="T34" fmla="*/ 19 w 35"/>
                <a:gd name="T35" fmla="*/ 19 h 19"/>
                <a:gd name="T36" fmla="*/ 6 w 35"/>
                <a:gd name="T37" fmla="*/ 16 h 19"/>
                <a:gd name="T38" fmla="*/ 1 w 35"/>
                <a:gd name="T39" fmla="*/ 14 h 19"/>
                <a:gd name="T40" fmla="*/ 0 w 35"/>
                <a:gd name="T41" fmla="*/ 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 h="19">
                  <a:moveTo>
                    <a:pt x="0" y="7"/>
                  </a:moveTo>
                  <a:lnTo>
                    <a:pt x="0" y="7"/>
                  </a:lnTo>
                  <a:lnTo>
                    <a:pt x="5" y="4"/>
                  </a:lnTo>
                  <a:lnTo>
                    <a:pt x="10" y="2"/>
                  </a:lnTo>
                  <a:lnTo>
                    <a:pt x="16" y="1"/>
                  </a:lnTo>
                  <a:lnTo>
                    <a:pt x="23" y="0"/>
                  </a:lnTo>
                  <a:lnTo>
                    <a:pt x="28" y="1"/>
                  </a:lnTo>
                  <a:lnTo>
                    <a:pt x="30" y="2"/>
                  </a:lnTo>
                  <a:lnTo>
                    <a:pt x="33" y="4"/>
                  </a:lnTo>
                  <a:lnTo>
                    <a:pt x="34" y="7"/>
                  </a:lnTo>
                  <a:lnTo>
                    <a:pt x="35" y="10"/>
                  </a:lnTo>
                  <a:lnTo>
                    <a:pt x="35" y="10"/>
                  </a:lnTo>
                  <a:lnTo>
                    <a:pt x="35" y="13"/>
                  </a:lnTo>
                  <a:lnTo>
                    <a:pt x="35" y="16"/>
                  </a:lnTo>
                  <a:lnTo>
                    <a:pt x="34" y="17"/>
                  </a:lnTo>
                  <a:lnTo>
                    <a:pt x="32" y="18"/>
                  </a:lnTo>
                  <a:lnTo>
                    <a:pt x="26" y="19"/>
                  </a:lnTo>
                  <a:lnTo>
                    <a:pt x="19" y="19"/>
                  </a:lnTo>
                  <a:lnTo>
                    <a:pt x="6" y="16"/>
                  </a:lnTo>
                  <a:lnTo>
                    <a:pt x="1" y="14"/>
                  </a:lnTo>
                  <a:lnTo>
                    <a:pt x="0" y="7"/>
                  </a:lnTo>
                  <a:close/>
                </a:path>
              </a:pathLst>
            </a:custGeom>
            <a:solidFill>
              <a:srgbClr val="FFF1CA"/>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84" name="Freeform 412"/>
            <p:cNvSpPr>
              <a:spLocks/>
            </p:cNvSpPr>
            <p:nvPr/>
          </p:nvSpPr>
          <p:spPr bwMode="auto">
            <a:xfrm>
              <a:off x="4415166" y="4487303"/>
              <a:ext cx="73006" cy="73148"/>
            </a:xfrm>
            <a:custGeom>
              <a:avLst/>
              <a:gdLst>
                <a:gd name="T0" fmla="*/ 6 w 31"/>
                <a:gd name="T1" fmla="*/ 0 h 31"/>
                <a:gd name="T2" fmla="*/ 6 w 31"/>
                <a:gd name="T3" fmla="*/ 0 h 31"/>
                <a:gd name="T4" fmla="*/ 11 w 31"/>
                <a:gd name="T5" fmla="*/ 2 h 31"/>
                <a:gd name="T6" fmla="*/ 16 w 31"/>
                <a:gd name="T7" fmla="*/ 4 h 31"/>
                <a:gd name="T8" fmla="*/ 21 w 31"/>
                <a:gd name="T9" fmla="*/ 7 h 31"/>
                <a:gd name="T10" fmla="*/ 25 w 31"/>
                <a:gd name="T11" fmla="*/ 11 h 31"/>
                <a:gd name="T12" fmla="*/ 30 w 31"/>
                <a:gd name="T13" fmla="*/ 16 h 31"/>
                <a:gd name="T14" fmla="*/ 31 w 31"/>
                <a:gd name="T15" fmla="*/ 18 h 31"/>
                <a:gd name="T16" fmla="*/ 31 w 31"/>
                <a:gd name="T17" fmla="*/ 22 h 31"/>
                <a:gd name="T18" fmla="*/ 30 w 31"/>
                <a:gd name="T19" fmla="*/ 25 h 31"/>
                <a:gd name="T20" fmla="*/ 29 w 31"/>
                <a:gd name="T21" fmla="*/ 27 h 31"/>
                <a:gd name="T22" fmla="*/ 29 w 31"/>
                <a:gd name="T23" fmla="*/ 27 h 31"/>
                <a:gd name="T24" fmla="*/ 27 w 31"/>
                <a:gd name="T25" fmla="*/ 30 h 31"/>
                <a:gd name="T26" fmla="*/ 24 w 31"/>
                <a:gd name="T27" fmla="*/ 31 h 31"/>
                <a:gd name="T28" fmla="*/ 22 w 31"/>
                <a:gd name="T29" fmla="*/ 31 h 31"/>
                <a:gd name="T30" fmla="*/ 20 w 31"/>
                <a:gd name="T31" fmla="*/ 31 h 31"/>
                <a:gd name="T32" fmla="*/ 15 w 31"/>
                <a:gd name="T33" fmla="*/ 28 h 31"/>
                <a:gd name="T34" fmla="*/ 11 w 31"/>
                <a:gd name="T35" fmla="*/ 23 h 31"/>
                <a:gd name="T36" fmla="*/ 4 w 31"/>
                <a:gd name="T37" fmla="*/ 11 h 31"/>
                <a:gd name="T38" fmla="*/ 0 w 31"/>
                <a:gd name="T39" fmla="*/ 6 h 31"/>
                <a:gd name="T40" fmla="*/ 6 w 31"/>
                <a:gd name="T4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31">
                  <a:moveTo>
                    <a:pt x="6" y="0"/>
                  </a:moveTo>
                  <a:lnTo>
                    <a:pt x="6" y="0"/>
                  </a:lnTo>
                  <a:lnTo>
                    <a:pt x="11" y="2"/>
                  </a:lnTo>
                  <a:lnTo>
                    <a:pt x="16" y="4"/>
                  </a:lnTo>
                  <a:lnTo>
                    <a:pt x="21" y="7"/>
                  </a:lnTo>
                  <a:lnTo>
                    <a:pt x="25" y="11"/>
                  </a:lnTo>
                  <a:lnTo>
                    <a:pt x="30" y="16"/>
                  </a:lnTo>
                  <a:lnTo>
                    <a:pt x="31" y="18"/>
                  </a:lnTo>
                  <a:lnTo>
                    <a:pt x="31" y="22"/>
                  </a:lnTo>
                  <a:lnTo>
                    <a:pt x="30" y="25"/>
                  </a:lnTo>
                  <a:lnTo>
                    <a:pt x="29" y="27"/>
                  </a:lnTo>
                  <a:lnTo>
                    <a:pt x="29" y="27"/>
                  </a:lnTo>
                  <a:lnTo>
                    <a:pt x="27" y="30"/>
                  </a:lnTo>
                  <a:lnTo>
                    <a:pt x="24" y="31"/>
                  </a:lnTo>
                  <a:lnTo>
                    <a:pt x="22" y="31"/>
                  </a:lnTo>
                  <a:lnTo>
                    <a:pt x="20" y="31"/>
                  </a:lnTo>
                  <a:lnTo>
                    <a:pt x="15" y="28"/>
                  </a:lnTo>
                  <a:lnTo>
                    <a:pt x="11" y="23"/>
                  </a:lnTo>
                  <a:lnTo>
                    <a:pt x="4" y="11"/>
                  </a:lnTo>
                  <a:lnTo>
                    <a:pt x="0" y="6"/>
                  </a:lnTo>
                  <a:lnTo>
                    <a:pt x="6" y="0"/>
                  </a:lnTo>
                  <a:close/>
                </a:path>
              </a:pathLst>
            </a:custGeom>
            <a:solidFill>
              <a:srgbClr val="FFF1CA"/>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85" name="Freeform 413"/>
            <p:cNvSpPr>
              <a:spLocks/>
            </p:cNvSpPr>
            <p:nvPr/>
          </p:nvSpPr>
          <p:spPr bwMode="auto">
            <a:xfrm>
              <a:off x="4385011" y="4493663"/>
              <a:ext cx="52375" cy="89050"/>
            </a:xfrm>
            <a:custGeom>
              <a:avLst/>
              <a:gdLst>
                <a:gd name="T0" fmla="*/ 14 w 19"/>
                <a:gd name="T1" fmla="*/ 0 h 36"/>
                <a:gd name="T2" fmla="*/ 14 w 19"/>
                <a:gd name="T3" fmla="*/ 0 h 36"/>
                <a:gd name="T4" fmla="*/ 16 w 19"/>
                <a:gd name="T5" fmla="*/ 5 h 36"/>
                <a:gd name="T6" fmla="*/ 17 w 19"/>
                <a:gd name="T7" fmla="*/ 10 h 36"/>
                <a:gd name="T8" fmla="*/ 19 w 19"/>
                <a:gd name="T9" fmla="*/ 17 h 36"/>
                <a:gd name="T10" fmla="*/ 19 w 19"/>
                <a:gd name="T11" fmla="*/ 23 h 36"/>
                <a:gd name="T12" fmla="*/ 18 w 19"/>
                <a:gd name="T13" fmla="*/ 28 h 36"/>
                <a:gd name="T14" fmla="*/ 17 w 19"/>
                <a:gd name="T15" fmla="*/ 31 h 36"/>
                <a:gd name="T16" fmla="*/ 15 w 19"/>
                <a:gd name="T17" fmla="*/ 33 h 36"/>
                <a:gd name="T18" fmla="*/ 13 w 19"/>
                <a:gd name="T19" fmla="*/ 34 h 36"/>
                <a:gd name="T20" fmla="*/ 9 w 19"/>
                <a:gd name="T21" fmla="*/ 35 h 36"/>
                <a:gd name="T22" fmla="*/ 9 w 19"/>
                <a:gd name="T23" fmla="*/ 35 h 36"/>
                <a:gd name="T24" fmla="*/ 6 w 19"/>
                <a:gd name="T25" fmla="*/ 36 h 36"/>
                <a:gd name="T26" fmla="*/ 4 w 19"/>
                <a:gd name="T27" fmla="*/ 35 h 36"/>
                <a:gd name="T28" fmla="*/ 2 w 19"/>
                <a:gd name="T29" fmla="*/ 34 h 36"/>
                <a:gd name="T30" fmla="*/ 1 w 19"/>
                <a:gd name="T31" fmla="*/ 32 h 36"/>
                <a:gd name="T32" fmla="*/ 0 w 19"/>
                <a:gd name="T33" fmla="*/ 27 h 36"/>
                <a:gd name="T34" fmla="*/ 1 w 19"/>
                <a:gd name="T35" fmla="*/ 20 h 36"/>
                <a:gd name="T36" fmla="*/ 3 w 19"/>
                <a:gd name="T37" fmla="*/ 7 h 36"/>
                <a:gd name="T38" fmla="*/ 5 w 19"/>
                <a:gd name="T39" fmla="*/ 1 h 36"/>
                <a:gd name="T40" fmla="*/ 14 w 19"/>
                <a:gd name="T4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 h="36">
                  <a:moveTo>
                    <a:pt x="14" y="0"/>
                  </a:moveTo>
                  <a:lnTo>
                    <a:pt x="14" y="0"/>
                  </a:lnTo>
                  <a:lnTo>
                    <a:pt x="16" y="5"/>
                  </a:lnTo>
                  <a:lnTo>
                    <a:pt x="17" y="10"/>
                  </a:lnTo>
                  <a:lnTo>
                    <a:pt x="19" y="17"/>
                  </a:lnTo>
                  <a:lnTo>
                    <a:pt x="19" y="23"/>
                  </a:lnTo>
                  <a:lnTo>
                    <a:pt x="18" y="28"/>
                  </a:lnTo>
                  <a:lnTo>
                    <a:pt x="17" y="31"/>
                  </a:lnTo>
                  <a:lnTo>
                    <a:pt x="15" y="33"/>
                  </a:lnTo>
                  <a:lnTo>
                    <a:pt x="13" y="34"/>
                  </a:lnTo>
                  <a:lnTo>
                    <a:pt x="9" y="35"/>
                  </a:lnTo>
                  <a:lnTo>
                    <a:pt x="9" y="35"/>
                  </a:lnTo>
                  <a:lnTo>
                    <a:pt x="6" y="36"/>
                  </a:lnTo>
                  <a:lnTo>
                    <a:pt x="4" y="35"/>
                  </a:lnTo>
                  <a:lnTo>
                    <a:pt x="2" y="34"/>
                  </a:lnTo>
                  <a:lnTo>
                    <a:pt x="1" y="32"/>
                  </a:lnTo>
                  <a:lnTo>
                    <a:pt x="0" y="27"/>
                  </a:lnTo>
                  <a:lnTo>
                    <a:pt x="1" y="20"/>
                  </a:lnTo>
                  <a:lnTo>
                    <a:pt x="3" y="7"/>
                  </a:lnTo>
                  <a:lnTo>
                    <a:pt x="5" y="1"/>
                  </a:lnTo>
                  <a:lnTo>
                    <a:pt x="14" y="0"/>
                  </a:lnTo>
                  <a:close/>
                </a:path>
              </a:pathLst>
            </a:custGeom>
            <a:solidFill>
              <a:srgbClr val="FFF1CA"/>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86" name="Freeform 414"/>
            <p:cNvSpPr>
              <a:spLocks/>
            </p:cNvSpPr>
            <p:nvPr/>
          </p:nvSpPr>
          <p:spPr bwMode="auto">
            <a:xfrm>
              <a:off x="4326289" y="4487303"/>
              <a:ext cx="80941" cy="73148"/>
            </a:xfrm>
            <a:custGeom>
              <a:avLst/>
              <a:gdLst>
                <a:gd name="T0" fmla="*/ 32 w 32"/>
                <a:gd name="T1" fmla="*/ 5 h 29"/>
                <a:gd name="T2" fmla="*/ 32 w 32"/>
                <a:gd name="T3" fmla="*/ 5 h 29"/>
                <a:gd name="T4" fmla="*/ 30 w 32"/>
                <a:gd name="T5" fmla="*/ 9 h 29"/>
                <a:gd name="T6" fmla="*/ 27 w 32"/>
                <a:gd name="T7" fmla="*/ 14 h 29"/>
                <a:gd name="T8" fmla="*/ 24 w 32"/>
                <a:gd name="T9" fmla="*/ 20 h 29"/>
                <a:gd name="T10" fmla="*/ 20 w 32"/>
                <a:gd name="T11" fmla="*/ 25 h 29"/>
                <a:gd name="T12" fmla="*/ 16 w 32"/>
                <a:gd name="T13" fmla="*/ 28 h 29"/>
                <a:gd name="T14" fmla="*/ 13 w 32"/>
                <a:gd name="T15" fmla="*/ 29 h 29"/>
                <a:gd name="T16" fmla="*/ 10 w 32"/>
                <a:gd name="T17" fmla="*/ 29 h 29"/>
                <a:gd name="T18" fmla="*/ 7 w 32"/>
                <a:gd name="T19" fmla="*/ 29 h 29"/>
                <a:gd name="T20" fmla="*/ 4 w 32"/>
                <a:gd name="T21" fmla="*/ 27 h 29"/>
                <a:gd name="T22" fmla="*/ 4 w 32"/>
                <a:gd name="T23" fmla="*/ 27 h 29"/>
                <a:gd name="T24" fmla="*/ 2 w 32"/>
                <a:gd name="T25" fmla="*/ 25 h 29"/>
                <a:gd name="T26" fmla="*/ 1 w 32"/>
                <a:gd name="T27" fmla="*/ 23 h 29"/>
                <a:gd name="T28" fmla="*/ 0 w 32"/>
                <a:gd name="T29" fmla="*/ 21 h 29"/>
                <a:gd name="T30" fmla="*/ 1 w 32"/>
                <a:gd name="T31" fmla="*/ 19 h 29"/>
                <a:gd name="T32" fmla="*/ 4 w 32"/>
                <a:gd name="T33" fmla="*/ 14 h 29"/>
                <a:gd name="T34" fmla="*/ 9 w 32"/>
                <a:gd name="T35" fmla="*/ 9 h 29"/>
                <a:gd name="T36" fmla="*/ 21 w 32"/>
                <a:gd name="T37" fmla="*/ 2 h 29"/>
                <a:gd name="T38" fmla="*/ 26 w 32"/>
                <a:gd name="T39" fmla="*/ 0 h 29"/>
                <a:gd name="T40" fmla="*/ 32 w 32"/>
                <a:gd name="T41"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 h="29">
                  <a:moveTo>
                    <a:pt x="32" y="5"/>
                  </a:moveTo>
                  <a:lnTo>
                    <a:pt x="32" y="5"/>
                  </a:lnTo>
                  <a:lnTo>
                    <a:pt x="30" y="9"/>
                  </a:lnTo>
                  <a:lnTo>
                    <a:pt x="27" y="14"/>
                  </a:lnTo>
                  <a:lnTo>
                    <a:pt x="24" y="20"/>
                  </a:lnTo>
                  <a:lnTo>
                    <a:pt x="20" y="25"/>
                  </a:lnTo>
                  <a:lnTo>
                    <a:pt x="16" y="28"/>
                  </a:lnTo>
                  <a:lnTo>
                    <a:pt x="13" y="29"/>
                  </a:lnTo>
                  <a:lnTo>
                    <a:pt x="10" y="29"/>
                  </a:lnTo>
                  <a:lnTo>
                    <a:pt x="7" y="29"/>
                  </a:lnTo>
                  <a:lnTo>
                    <a:pt x="4" y="27"/>
                  </a:lnTo>
                  <a:lnTo>
                    <a:pt x="4" y="27"/>
                  </a:lnTo>
                  <a:lnTo>
                    <a:pt x="2" y="25"/>
                  </a:lnTo>
                  <a:lnTo>
                    <a:pt x="1" y="23"/>
                  </a:lnTo>
                  <a:lnTo>
                    <a:pt x="0" y="21"/>
                  </a:lnTo>
                  <a:lnTo>
                    <a:pt x="1" y="19"/>
                  </a:lnTo>
                  <a:lnTo>
                    <a:pt x="4" y="14"/>
                  </a:lnTo>
                  <a:lnTo>
                    <a:pt x="9" y="9"/>
                  </a:lnTo>
                  <a:lnTo>
                    <a:pt x="21" y="2"/>
                  </a:lnTo>
                  <a:lnTo>
                    <a:pt x="26" y="0"/>
                  </a:lnTo>
                  <a:lnTo>
                    <a:pt x="32" y="5"/>
                  </a:lnTo>
                  <a:close/>
                </a:path>
              </a:pathLst>
            </a:custGeom>
            <a:solidFill>
              <a:srgbClr val="FFF1CA"/>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87" name="Freeform 415"/>
            <p:cNvSpPr>
              <a:spLocks/>
            </p:cNvSpPr>
            <p:nvPr/>
          </p:nvSpPr>
          <p:spPr bwMode="auto">
            <a:xfrm>
              <a:off x="4312005" y="4457089"/>
              <a:ext cx="80942" cy="52476"/>
            </a:xfrm>
            <a:custGeom>
              <a:avLst/>
              <a:gdLst>
                <a:gd name="T0" fmla="*/ 35 w 35"/>
                <a:gd name="T1" fmla="*/ 14 h 19"/>
                <a:gd name="T2" fmla="*/ 35 w 35"/>
                <a:gd name="T3" fmla="*/ 14 h 19"/>
                <a:gd name="T4" fmla="*/ 30 w 35"/>
                <a:gd name="T5" fmla="*/ 16 h 19"/>
                <a:gd name="T6" fmla="*/ 25 w 35"/>
                <a:gd name="T7" fmla="*/ 18 h 19"/>
                <a:gd name="T8" fmla="*/ 20 w 35"/>
                <a:gd name="T9" fmla="*/ 19 h 19"/>
                <a:gd name="T10" fmla="*/ 13 w 35"/>
                <a:gd name="T11" fmla="*/ 19 h 19"/>
                <a:gd name="T12" fmla="*/ 7 w 35"/>
                <a:gd name="T13" fmla="*/ 18 h 19"/>
                <a:gd name="T14" fmla="*/ 5 w 35"/>
                <a:gd name="T15" fmla="*/ 17 h 19"/>
                <a:gd name="T16" fmla="*/ 3 w 35"/>
                <a:gd name="T17" fmla="*/ 16 h 19"/>
                <a:gd name="T18" fmla="*/ 1 w 35"/>
                <a:gd name="T19" fmla="*/ 13 h 19"/>
                <a:gd name="T20" fmla="*/ 0 w 35"/>
                <a:gd name="T21" fmla="*/ 10 h 19"/>
                <a:gd name="T22" fmla="*/ 0 w 35"/>
                <a:gd name="T23" fmla="*/ 10 h 19"/>
                <a:gd name="T24" fmla="*/ 0 w 35"/>
                <a:gd name="T25" fmla="*/ 8 h 19"/>
                <a:gd name="T26" fmla="*/ 0 w 35"/>
                <a:gd name="T27" fmla="*/ 4 h 19"/>
                <a:gd name="T28" fmla="*/ 2 w 35"/>
                <a:gd name="T29" fmla="*/ 3 h 19"/>
                <a:gd name="T30" fmla="*/ 4 w 35"/>
                <a:gd name="T31" fmla="*/ 1 h 19"/>
                <a:gd name="T32" fmla="*/ 9 w 35"/>
                <a:gd name="T33" fmla="*/ 0 h 19"/>
                <a:gd name="T34" fmla="*/ 15 w 35"/>
                <a:gd name="T35" fmla="*/ 1 h 19"/>
                <a:gd name="T36" fmla="*/ 29 w 35"/>
                <a:gd name="T37" fmla="*/ 3 h 19"/>
                <a:gd name="T38" fmla="*/ 35 w 35"/>
                <a:gd name="T39" fmla="*/ 6 h 19"/>
                <a:gd name="T40" fmla="*/ 35 w 35"/>
                <a:gd name="T41" fmla="*/ 1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 h="19">
                  <a:moveTo>
                    <a:pt x="35" y="14"/>
                  </a:moveTo>
                  <a:lnTo>
                    <a:pt x="35" y="14"/>
                  </a:lnTo>
                  <a:lnTo>
                    <a:pt x="30" y="16"/>
                  </a:lnTo>
                  <a:lnTo>
                    <a:pt x="25" y="18"/>
                  </a:lnTo>
                  <a:lnTo>
                    <a:pt x="20" y="19"/>
                  </a:lnTo>
                  <a:lnTo>
                    <a:pt x="13" y="19"/>
                  </a:lnTo>
                  <a:lnTo>
                    <a:pt x="7" y="18"/>
                  </a:lnTo>
                  <a:lnTo>
                    <a:pt x="5" y="17"/>
                  </a:lnTo>
                  <a:lnTo>
                    <a:pt x="3" y="16"/>
                  </a:lnTo>
                  <a:lnTo>
                    <a:pt x="1" y="13"/>
                  </a:lnTo>
                  <a:lnTo>
                    <a:pt x="0" y="10"/>
                  </a:lnTo>
                  <a:lnTo>
                    <a:pt x="0" y="10"/>
                  </a:lnTo>
                  <a:lnTo>
                    <a:pt x="0" y="8"/>
                  </a:lnTo>
                  <a:lnTo>
                    <a:pt x="0" y="4"/>
                  </a:lnTo>
                  <a:lnTo>
                    <a:pt x="2" y="3"/>
                  </a:lnTo>
                  <a:lnTo>
                    <a:pt x="4" y="1"/>
                  </a:lnTo>
                  <a:lnTo>
                    <a:pt x="9" y="0"/>
                  </a:lnTo>
                  <a:lnTo>
                    <a:pt x="15" y="1"/>
                  </a:lnTo>
                  <a:lnTo>
                    <a:pt x="29" y="3"/>
                  </a:lnTo>
                  <a:lnTo>
                    <a:pt x="35" y="6"/>
                  </a:lnTo>
                  <a:lnTo>
                    <a:pt x="35" y="14"/>
                  </a:lnTo>
                  <a:close/>
                </a:path>
              </a:pathLst>
            </a:custGeom>
            <a:solidFill>
              <a:srgbClr val="FFF1CA"/>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88" name="Freeform 416"/>
            <p:cNvSpPr>
              <a:spLocks/>
            </p:cNvSpPr>
            <p:nvPr/>
          </p:nvSpPr>
          <p:spPr bwMode="auto">
            <a:xfrm>
              <a:off x="4334224" y="4406203"/>
              <a:ext cx="73006" cy="73148"/>
            </a:xfrm>
            <a:custGeom>
              <a:avLst/>
              <a:gdLst>
                <a:gd name="T0" fmla="*/ 25 w 30"/>
                <a:gd name="T1" fmla="*/ 32 h 32"/>
                <a:gd name="T2" fmla="*/ 25 w 30"/>
                <a:gd name="T3" fmla="*/ 32 h 32"/>
                <a:gd name="T4" fmla="*/ 20 w 30"/>
                <a:gd name="T5" fmla="*/ 30 h 32"/>
                <a:gd name="T6" fmla="*/ 15 w 30"/>
                <a:gd name="T7" fmla="*/ 27 h 32"/>
                <a:gd name="T8" fmla="*/ 9 w 30"/>
                <a:gd name="T9" fmla="*/ 23 h 32"/>
                <a:gd name="T10" fmla="*/ 5 w 30"/>
                <a:gd name="T11" fmla="*/ 19 h 32"/>
                <a:gd name="T12" fmla="*/ 2 w 30"/>
                <a:gd name="T13" fmla="*/ 15 h 32"/>
                <a:gd name="T14" fmla="*/ 1 w 30"/>
                <a:gd name="T15" fmla="*/ 12 h 32"/>
                <a:gd name="T16" fmla="*/ 0 w 30"/>
                <a:gd name="T17" fmla="*/ 10 h 32"/>
                <a:gd name="T18" fmla="*/ 1 w 30"/>
                <a:gd name="T19" fmla="*/ 7 h 32"/>
                <a:gd name="T20" fmla="*/ 2 w 30"/>
                <a:gd name="T21" fmla="*/ 3 h 32"/>
                <a:gd name="T22" fmla="*/ 2 w 30"/>
                <a:gd name="T23" fmla="*/ 3 h 32"/>
                <a:gd name="T24" fmla="*/ 4 w 30"/>
                <a:gd name="T25" fmla="*/ 1 h 32"/>
                <a:gd name="T26" fmla="*/ 6 w 30"/>
                <a:gd name="T27" fmla="*/ 0 h 32"/>
                <a:gd name="T28" fmla="*/ 8 w 30"/>
                <a:gd name="T29" fmla="*/ 0 h 32"/>
                <a:gd name="T30" fmla="*/ 11 w 30"/>
                <a:gd name="T31" fmla="*/ 0 h 32"/>
                <a:gd name="T32" fmla="*/ 16 w 30"/>
                <a:gd name="T33" fmla="*/ 3 h 32"/>
                <a:gd name="T34" fmla="*/ 20 w 30"/>
                <a:gd name="T35" fmla="*/ 9 h 32"/>
                <a:gd name="T36" fmla="*/ 27 w 30"/>
                <a:gd name="T37" fmla="*/ 20 h 32"/>
                <a:gd name="T38" fmla="*/ 30 w 30"/>
                <a:gd name="T39" fmla="*/ 25 h 32"/>
                <a:gd name="T40" fmla="*/ 25 w 30"/>
                <a:gd name="T4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2">
                  <a:moveTo>
                    <a:pt x="25" y="32"/>
                  </a:moveTo>
                  <a:lnTo>
                    <a:pt x="25" y="32"/>
                  </a:lnTo>
                  <a:lnTo>
                    <a:pt x="20" y="30"/>
                  </a:lnTo>
                  <a:lnTo>
                    <a:pt x="15" y="27"/>
                  </a:lnTo>
                  <a:lnTo>
                    <a:pt x="9" y="23"/>
                  </a:lnTo>
                  <a:lnTo>
                    <a:pt x="5" y="19"/>
                  </a:lnTo>
                  <a:lnTo>
                    <a:pt x="2" y="15"/>
                  </a:lnTo>
                  <a:lnTo>
                    <a:pt x="1" y="12"/>
                  </a:lnTo>
                  <a:lnTo>
                    <a:pt x="0" y="10"/>
                  </a:lnTo>
                  <a:lnTo>
                    <a:pt x="1" y="7"/>
                  </a:lnTo>
                  <a:lnTo>
                    <a:pt x="2" y="3"/>
                  </a:lnTo>
                  <a:lnTo>
                    <a:pt x="2" y="3"/>
                  </a:lnTo>
                  <a:lnTo>
                    <a:pt x="4" y="1"/>
                  </a:lnTo>
                  <a:lnTo>
                    <a:pt x="6" y="0"/>
                  </a:lnTo>
                  <a:lnTo>
                    <a:pt x="8" y="0"/>
                  </a:lnTo>
                  <a:lnTo>
                    <a:pt x="11" y="0"/>
                  </a:lnTo>
                  <a:lnTo>
                    <a:pt x="16" y="3"/>
                  </a:lnTo>
                  <a:lnTo>
                    <a:pt x="20" y="9"/>
                  </a:lnTo>
                  <a:lnTo>
                    <a:pt x="27" y="20"/>
                  </a:lnTo>
                  <a:lnTo>
                    <a:pt x="30" y="25"/>
                  </a:lnTo>
                  <a:lnTo>
                    <a:pt x="25" y="32"/>
                  </a:lnTo>
                  <a:close/>
                </a:path>
              </a:pathLst>
            </a:custGeom>
            <a:solidFill>
              <a:srgbClr val="FFF1CA"/>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89" name="Freeform 417"/>
            <p:cNvSpPr>
              <a:spLocks/>
            </p:cNvSpPr>
            <p:nvPr/>
          </p:nvSpPr>
          <p:spPr bwMode="auto">
            <a:xfrm>
              <a:off x="4370728" y="4442778"/>
              <a:ext cx="80941" cy="81098"/>
            </a:xfrm>
            <a:custGeom>
              <a:avLst/>
              <a:gdLst>
                <a:gd name="T0" fmla="*/ 34 w 34"/>
                <a:gd name="T1" fmla="*/ 18 h 35"/>
                <a:gd name="T2" fmla="*/ 34 w 34"/>
                <a:gd name="T3" fmla="*/ 18 h 35"/>
                <a:gd name="T4" fmla="*/ 34 w 34"/>
                <a:gd name="T5" fmla="*/ 21 h 35"/>
                <a:gd name="T6" fmla="*/ 33 w 34"/>
                <a:gd name="T7" fmla="*/ 24 h 35"/>
                <a:gd name="T8" fmla="*/ 32 w 34"/>
                <a:gd name="T9" fmla="*/ 27 h 35"/>
                <a:gd name="T10" fmla="*/ 30 w 34"/>
                <a:gd name="T11" fmla="*/ 30 h 35"/>
                <a:gd name="T12" fmla="*/ 27 w 34"/>
                <a:gd name="T13" fmla="*/ 32 h 35"/>
                <a:gd name="T14" fmla="*/ 24 w 34"/>
                <a:gd name="T15" fmla="*/ 33 h 35"/>
                <a:gd name="T16" fmla="*/ 21 w 34"/>
                <a:gd name="T17" fmla="*/ 34 h 35"/>
                <a:gd name="T18" fmla="*/ 17 w 34"/>
                <a:gd name="T19" fmla="*/ 35 h 35"/>
                <a:gd name="T20" fmla="*/ 17 w 34"/>
                <a:gd name="T21" fmla="*/ 35 h 35"/>
                <a:gd name="T22" fmla="*/ 13 w 34"/>
                <a:gd name="T23" fmla="*/ 34 h 35"/>
                <a:gd name="T24" fmla="*/ 10 w 34"/>
                <a:gd name="T25" fmla="*/ 33 h 35"/>
                <a:gd name="T26" fmla="*/ 7 w 34"/>
                <a:gd name="T27" fmla="*/ 32 h 35"/>
                <a:gd name="T28" fmla="*/ 5 w 34"/>
                <a:gd name="T29" fmla="*/ 30 h 35"/>
                <a:gd name="T30" fmla="*/ 3 w 34"/>
                <a:gd name="T31" fmla="*/ 27 h 35"/>
                <a:gd name="T32" fmla="*/ 1 w 34"/>
                <a:gd name="T33" fmla="*/ 24 h 35"/>
                <a:gd name="T34" fmla="*/ 0 w 34"/>
                <a:gd name="T35" fmla="*/ 21 h 35"/>
                <a:gd name="T36" fmla="*/ 0 w 34"/>
                <a:gd name="T37" fmla="*/ 18 h 35"/>
                <a:gd name="T38" fmla="*/ 0 w 34"/>
                <a:gd name="T39" fmla="*/ 18 h 35"/>
                <a:gd name="T40" fmla="*/ 0 w 34"/>
                <a:gd name="T41" fmla="*/ 14 h 35"/>
                <a:gd name="T42" fmla="*/ 1 w 34"/>
                <a:gd name="T43" fmla="*/ 10 h 35"/>
                <a:gd name="T44" fmla="*/ 3 w 34"/>
                <a:gd name="T45" fmla="*/ 7 h 35"/>
                <a:gd name="T46" fmla="*/ 5 w 34"/>
                <a:gd name="T47" fmla="*/ 5 h 35"/>
                <a:gd name="T48" fmla="*/ 7 w 34"/>
                <a:gd name="T49" fmla="*/ 3 h 35"/>
                <a:gd name="T50" fmla="*/ 10 w 34"/>
                <a:gd name="T51" fmla="*/ 1 h 35"/>
                <a:gd name="T52" fmla="*/ 13 w 34"/>
                <a:gd name="T53" fmla="*/ 0 h 35"/>
                <a:gd name="T54" fmla="*/ 17 w 34"/>
                <a:gd name="T55" fmla="*/ 0 h 35"/>
                <a:gd name="T56" fmla="*/ 17 w 34"/>
                <a:gd name="T57" fmla="*/ 0 h 35"/>
                <a:gd name="T58" fmla="*/ 21 w 34"/>
                <a:gd name="T59" fmla="*/ 0 h 35"/>
                <a:gd name="T60" fmla="*/ 24 w 34"/>
                <a:gd name="T61" fmla="*/ 1 h 35"/>
                <a:gd name="T62" fmla="*/ 27 w 34"/>
                <a:gd name="T63" fmla="*/ 3 h 35"/>
                <a:gd name="T64" fmla="*/ 30 w 34"/>
                <a:gd name="T65" fmla="*/ 5 h 35"/>
                <a:gd name="T66" fmla="*/ 32 w 34"/>
                <a:gd name="T67" fmla="*/ 7 h 35"/>
                <a:gd name="T68" fmla="*/ 33 w 34"/>
                <a:gd name="T69" fmla="*/ 10 h 35"/>
                <a:gd name="T70" fmla="*/ 34 w 34"/>
                <a:gd name="T71" fmla="*/ 14 h 35"/>
                <a:gd name="T72" fmla="*/ 34 w 34"/>
                <a:gd name="T73" fmla="*/ 18 h 35"/>
                <a:gd name="T74" fmla="*/ 34 w 34"/>
                <a:gd name="T75"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 h="35">
                  <a:moveTo>
                    <a:pt x="34" y="18"/>
                  </a:moveTo>
                  <a:lnTo>
                    <a:pt x="34" y="18"/>
                  </a:lnTo>
                  <a:lnTo>
                    <a:pt x="34" y="21"/>
                  </a:lnTo>
                  <a:lnTo>
                    <a:pt x="33" y="24"/>
                  </a:lnTo>
                  <a:lnTo>
                    <a:pt x="32" y="27"/>
                  </a:lnTo>
                  <a:lnTo>
                    <a:pt x="30" y="30"/>
                  </a:lnTo>
                  <a:lnTo>
                    <a:pt x="27" y="32"/>
                  </a:lnTo>
                  <a:lnTo>
                    <a:pt x="24" y="33"/>
                  </a:lnTo>
                  <a:lnTo>
                    <a:pt x="21" y="34"/>
                  </a:lnTo>
                  <a:lnTo>
                    <a:pt x="17" y="35"/>
                  </a:lnTo>
                  <a:lnTo>
                    <a:pt x="17" y="35"/>
                  </a:lnTo>
                  <a:lnTo>
                    <a:pt x="13" y="34"/>
                  </a:lnTo>
                  <a:lnTo>
                    <a:pt x="10" y="33"/>
                  </a:lnTo>
                  <a:lnTo>
                    <a:pt x="7" y="32"/>
                  </a:lnTo>
                  <a:lnTo>
                    <a:pt x="5" y="30"/>
                  </a:lnTo>
                  <a:lnTo>
                    <a:pt x="3" y="27"/>
                  </a:lnTo>
                  <a:lnTo>
                    <a:pt x="1" y="24"/>
                  </a:lnTo>
                  <a:lnTo>
                    <a:pt x="0" y="21"/>
                  </a:lnTo>
                  <a:lnTo>
                    <a:pt x="0" y="18"/>
                  </a:lnTo>
                  <a:lnTo>
                    <a:pt x="0" y="18"/>
                  </a:lnTo>
                  <a:lnTo>
                    <a:pt x="0" y="14"/>
                  </a:lnTo>
                  <a:lnTo>
                    <a:pt x="1" y="10"/>
                  </a:lnTo>
                  <a:lnTo>
                    <a:pt x="3" y="7"/>
                  </a:lnTo>
                  <a:lnTo>
                    <a:pt x="5" y="5"/>
                  </a:lnTo>
                  <a:lnTo>
                    <a:pt x="7" y="3"/>
                  </a:lnTo>
                  <a:lnTo>
                    <a:pt x="10" y="1"/>
                  </a:lnTo>
                  <a:lnTo>
                    <a:pt x="13" y="0"/>
                  </a:lnTo>
                  <a:lnTo>
                    <a:pt x="17" y="0"/>
                  </a:lnTo>
                  <a:lnTo>
                    <a:pt x="17" y="0"/>
                  </a:lnTo>
                  <a:lnTo>
                    <a:pt x="21" y="0"/>
                  </a:lnTo>
                  <a:lnTo>
                    <a:pt x="24" y="1"/>
                  </a:lnTo>
                  <a:lnTo>
                    <a:pt x="27" y="3"/>
                  </a:lnTo>
                  <a:lnTo>
                    <a:pt x="30" y="5"/>
                  </a:lnTo>
                  <a:lnTo>
                    <a:pt x="32" y="7"/>
                  </a:lnTo>
                  <a:lnTo>
                    <a:pt x="33" y="10"/>
                  </a:lnTo>
                  <a:lnTo>
                    <a:pt x="34" y="14"/>
                  </a:lnTo>
                  <a:lnTo>
                    <a:pt x="34" y="18"/>
                  </a:lnTo>
                  <a:lnTo>
                    <a:pt x="34" y="18"/>
                  </a:lnTo>
                  <a:close/>
                </a:path>
              </a:pathLst>
            </a:custGeom>
            <a:solidFill>
              <a:srgbClr val="EAB844"/>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grpSp>
      <p:grpSp>
        <p:nvGrpSpPr>
          <p:cNvPr id="15" name="Group 14"/>
          <p:cNvGrpSpPr>
            <a:grpSpLocks/>
          </p:cNvGrpSpPr>
          <p:nvPr/>
        </p:nvGrpSpPr>
        <p:grpSpPr bwMode="auto">
          <a:xfrm>
            <a:off x="2181225" y="4200525"/>
            <a:ext cx="1036638" cy="609600"/>
            <a:chOff x="2181207" y="4200254"/>
            <a:chExt cx="1036007" cy="609852"/>
          </a:xfrm>
        </p:grpSpPr>
        <p:sp>
          <p:nvSpPr>
            <p:cNvPr id="139" name="Freeform 366"/>
            <p:cNvSpPr>
              <a:spLocks noEditPoints="1"/>
            </p:cNvSpPr>
            <p:nvPr/>
          </p:nvSpPr>
          <p:spPr bwMode="auto">
            <a:xfrm>
              <a:off x="2585774" y="4200254"/>
              <a:ext cx="631440" cy="609852"/>
            </a:xfrm>
            <a:custGeom>
              <a:avLst/>
              <a:gdLst>
                <a:gd name="T0" fmla="*/ 244 w 257"/>
                <a:gd name="T1" fmla="*/ 180 h 249"/>
                <a:gd name="T2" fmla="*/ 236 w 257"/>
                <a:gd name="T3" fmla="*/ 174 h 249"/>
                <a:gd name="T4" fmla="*/ 225 w 257"/>
                <a:gd name="T5" fmla="*/ 171 h 249"/>
                <a:gd name="T6" fmla="*/ 215 w 257"/>
                <a:gd name="T7" fmla="*/ 170 h 249"/>
                <a:gd name="T8" fmla="*/ 206 w 257"/>
                <a:gd name="T9" fmla="*/ 171 h 249"/>
                <a:gd name="T10" fmla="*/ 95 w 257"/>
                <a:gd name="T11" fmla="*/ 66 h 249"/>
                <a:gd name="T12" fmla="*/ 98 w 257"/>
                <a:gd name="T13" fmla="*/ 52 h 249"/>
                <a:gd name="T14" fmla="*/ 97 w 257"/>
                <a:gd name="T15" fmla="*/ 38 h 249"/>
                <a:gd name="T16" fmla="*/ 92 w 257"/>
                <a:gd name="T17" fmla="*/ 25 h 249"/>
                <a:gd name="T18" fmla="*/ 82 w 257"/>
                <a:gd name="T19" fmla="*/ 13 h 249"/>
                <a:gd name="T20" fmla="*/ 77 w 257"/>
                <a:gd name="T21" fmla="*/ 9 h 249"/>
                <a:gd name="T22" fmla="*/ 66 w 257"/>
                <a:gd name="T23" fmla="*/ 3 h 249"/>
                <a:gd name="T24" fmla="*/ 53 w 257"/>
                <a:gd name="T25" fmla="*/ 1 h 249"/>
                <a:gd name="T26" fmla="*/ 41 w 257"/>
                <a:gd name="T27" fmla="*/ 1 h 249"/>
                <a:gd name="T28" fmla="*/ 67 w 257"/>
                <a:gd name="T29" fmla="*/ 33 h 249"/>
                <a:gd name="T30" fmla="*/ 2 w 257"/>
                <a:gd name="T31" fmla="*/ 36 h 249"/>
                <a:gd name="T32" fmla="*/ 1 w 257"/>
                <a:gd name="T33" fmla="*/ 43 h 249"/>
                <a:gd name="T34" fmla="*/ 1 w 257"/>
                <a:gd name="T35" fmla="*/ 55 h 249"/>
                <a:gd name="T36" fmla="*/ 4 w 257"/>
                <a:gd name="T37" fmla="*/ 68 h 249"/>
                <a:gd name="T38" fmla="*/ 11 w 257"/>
                <a:gd name="T39" fmla="*/ 79 h 249"/>
                <a:gd name="T40" fmla="*/ 16 w 257"/>
                <a:gd name="T41" fmla="*/ 84 h 249"/>
                <a:gd name="T42" fmla="*/ 27 w 257"/>
                <a:gd name="T43" fmla="*/ 93 h 249"/>
                <a:gd name="T44" fmla="*/ 41 w 257"/>
                <a:gd name="T45" fmla="*/ 97 h 249"/>
                <a:gd name="T46" fmla="*/ 54 w 257"/>
                <a:gd name="T47" fmla="*/ 98 h 249"/>
                <a:gd name="T48" fmla="*/ 68 w 257"/>
                <a:gd name="T49" fmla="*/ 94 h 249"/>
                <a:gd name="T50" fmla="*/ 178 w 257"/>
                <a:gd name="T51" fmla="*/ 199 h 249"/>
                <a:gd name="T52" fmla="*/ 176 w 257"/>
                <a:gd name="T53" fmla="*/ 209 h 249"/>
                <a:gd name="T54" fmla="*/ 178 w 257"/>
                <a:gd name="T55" fmla="*/ 220 h 249"/>
                <a:gd name="T56" fmla="*/ 183 w 257"/>
                <a:gd name="T57" fmla="*/ 229 h 249"/>
                <a:gd name="T58" fmla="*/ 189 w 257"/>
                <a:gd name="T59" fmla="*/ 239 h 249"/>
                <a:gd name="T60" fmla="*/ 195 w 257"/>
                <a:gd name="T61" fmla="*/ 243 h 249"/>
                <a:gd name="T62" fmla="*/ 210 w 257"/>
                <a:gd name="T63" fmla="*/ 249 h 249"/>
                <a:gd name="T64" fmla="*/ 225 w 257"/>
                <a:gd name="T65" fmla="*/ 248 h 249"/>
                <a:gd name="T66" fmla="*/ 240 w 257"/>
                <a:gd name="T67" fmla="*/ 242 h 249"/>
                <a:gd name="T68" fmla="*/ 245 w 257"/>
                <a:gd name="T69" fmla="*/ 237 h 249"/>
                <a:gd name="T70" fmla="*/ 254 w 257"/>
                <a:gd name="T71" fmla="*/ 224 h 249"/>
                <a:gd name="T72" fmla="*/ 257 w 257"/>
                <a:gd name="T73" fmla="*/ 208 h 249"/>
                <a:gd name="T74" fmla="*/ 253 w 257"/>
                <a:gd name="T75" fmla="*/ 194 h 249"/>
                <a:gd name="T76" fmla="*/ 244 w 257"/>
                <a:gd name="T77" fmla="*/ 180 h 249"/>
                <a:gd name="T78" fmla="*/ 228 w 257"/>
                <a:gd name="T79" fmla="*/ 221 h 249"/>
                <a:gd name="T80" fmla="*/ 226 w 257"/>
                <a:gd name="T81" fmla="*/ 223 h 249"/>
                <a:gd name="T82" fmla="*/ 217 w 257"/>
                <a:gd name="T83" fmla="*/ 226 h 249"/>
                <a:gd name="T84" fmla="*/ 208 w 257"/>
                <a:gd name="T85" fmla="*/ 223 h 249"/>
                <a:gd name="T86" fmla="*/ 206 w 257"/>
                <a:gd name="T87" fmla="*/ 221 h 249"/>
                <a:gd name="T88" fmla="*/ 201 w 257"/>
                <a:gd name="T89" fmla="*/ 216 h 249"/>
                <a:gd name="T90" fmla="*/ 201 w 257"/>
                <a:gd name="T91" fmla="*/ 203 h 249"/>
                <a:gd name="T92" fmla="*/ 204 w 257"/>
                <a:gd name="T93" fmla="*/ 198 h 249"/>
                <a:gd name="T94" fmla="*/ 208 w 257"/>
                <a:gd name="T95" fmla="*/ 196 h 249"/>
                <a:gd name="T96" fmla="*/ 216 w 257"/>
                <a:gd name="T97" fmla="*/ 193 h 249"/>
                <a:gd name="T98" fmla="*/ 225 w 257"/>
                <a:gd name="T99" fmla="*/ 196 h 249"/>
                <a:gd name="T100" fmla="*/ 228 w 257"/>
                <a:gd name="T101" fmla="*/ 197 h 249"/>
                <a:gd name="T102" fmla="*/ 232 w 257"/>
                <a:gd name="T103" fmla="*/ 203 h 249"/>
                <a:gd name="T104" fmla="*/ 232 w 257"/>
                <a:gd name="T105" fmla="*/ 215 h 249"/>
                <a:gd name="T106" fmla="*/ 228 w 257"/>
                <a:gd name="T107" fmla="*/ 221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7" h="249">
                  <a:moveTo>
                    <a:pt x="244" y="180"/>
                  </a:moveTo>
                  <a:lnTo>
                    <a:pt x="244" y="180"/>
                  </a:lnTo>
                  <a:lnTo>
                    <a:pt x="240" y="177"/>
                  </a:lnTo>
                  <a:lnTo>
                    <a:pt x="236" y="174"/>
                  </a:lnTo>
                  <a:lnTo>
                    <a:pt x="231" y="172"/>
                  </a:lnTo>
                  <a:lnTo>
                    <a:pt x="225" y="171"/>
                  </a:lnTo>
                  <a:lnTo>
                    <a:pt x="220" y="170"/>
                  </a:lnTo>
                  <a:lnTo>
                    <a:pt x="215" y="170"/>
                  </a:lnTo>
                  <a:lnTo>
                    <a:pt x="210" y="170"/>
                  </a:lnTo>
                  <a:lnTo>
                    <a:pt x="206" y="171"/>
                  </a:lnTo>
                  <a:lnTo>
                    <a:pt x="95" y="66"/>
                  </a:lnTo>
                  <a:lnTo>
                    <a:pt x="95" y="66"/>
                  </a:lnTo>
                  <a:lnTo>
                    <a:pt x="97" y="59"/>
                  </a:lnTo>
                  <a:lnTo>
                    <a:pt x="98" y="52"/>
                  </a:lnTo>
                  <a:lnTo>
                    <a:pt x="98" y="45"/>
                  </a:lnTo>
                  <a:lnTo>
                    <a:pt x="97" y="38"/>
                  </a:lnTo>
                  <a:lnTo>
                    <a:pt x="95" y="31"/>
                  </a:lnTo>
                  <a:lnTo>
                    <a:pt x="92" y="25"/>
                  </a:lnTo>
                  <a:lnTo>
                    <a:pt x="88" y="20"/>
                  </a:lnTo>
                  <a:lnTo>
                    <a:pt x="82" y="13"/>
                  </a:lnTo>
                  <a:lnTo>
                    <a:pt x="82" y="13"/>
                  </a:lnTo>
                  <a:lnTo>
                    <a:pt x="77" y="9"/>
                  </a:lnTo>
                  <a:lnTo>
                    <a:pt x="72" y="6"/>
                  </a:lnTo>
                  <a:lnTo>
                    <a:pt x="66" y="3"/>
                  </a:lnTo>
                  <a:lnTo>
                    <a:pt x="60" y="1"/>
                  </a:lnTo>
                  <a:lnTo>
                    <a:pt x="53" y="1"/>
                  </a:lnTo>
                  <a:lnTo>
                    <a:pt x="47" y="0"/>
                  </a:lnTo>
                  <a:lnTo>
                    <a:pt x="41" y="1"/>
                  </a:lnTo>
                  <a:lnTo>
                    <a:pt x="35" y="3"/>
                  </a:lnTo>
                  <a:lnTo>
                    <a:pt x="67" y="33"/>
                  </a:lnTo>
                  <a:lnTo>
                    <a:pt x="35" y="68"/>
                  </a:lnTo>
                  <a:lnTo>
                    <a:pt x="2" y="36"/>
                  </a:lnTo>
                  <a:lnTo>
                    <a:pt x="2" y="36"/>
                  </a:lnTo>
                  <a:lnTo>
                    <a:pt x="1" y="43"/>
                  </a:lnTo>
                  <a:lnTo>
                    <a:pt x="0" y="49"/>
                  </a:lnTo>
                  <a:lnTo>
                    <a:pt x="1" y="55"/>
                  </a:lnTo>
                  <a:lnTo>
                    <a:pt x="2" y="61"/>
                  </a:lnTo>
                  <a:lnTo>
                    <a:pt x="4" y="68"/>
                  </a:lnTo>
                  <a:lnTo>
                    <a:pt x="7" y="74"/>
                  </a:lnTo>
                  <a:lnTo>
                    <a:pt x="11" y="79"/>
                  </a:lnTo>
                  <a:lnTo>
                    <a:pt x="16" y="84"/>
                  </a:lnTo>
                  <a:lnTo>
                    <a:pt x="16" y="84"/>
                  </a:lnTo>
                  <a:lnTo>
                    <a:pt x="21" y="89"/>
                  </a:lnTo>
                  <a:lnTo>
                    <a:pt x="27" y="93"/>
                  </a:lnTo>
                  <a:lnTo>
                    <a:pt x="34" y="95"/>
                  </a:lnTo>
                  <a:lnTo>
                    <a:pt x="41" y="97"/>
                  </a:lnTo>
                  <a:lnTo>
                    <a:pt x="48" y="98"/>
                  </a:lnTo>
                  <a:lnTo>
                    <a:pt x="54" y="98"/>
                  </a:lnTo>
                  <a:lnTo>
                    <a:pt x="62" y="96"/>
                  </a:lnTo>
                  <a:lnTo>
                    <a:pt x="68" y="94"/>
                  </a:lnTo>
                  <a:lnTo>
                    <a:pt x="178" y="199"/>
                  </a:lnTo>
                  <a:lnTo>
                    <a:pt x="178" y="199"/>
                  </a:lnTo>
                  <a:lnTo>
                    <a:pt x="177" y="204"/>
                  </a:lnTo>
                  <a:lnTo>
                    <a:pt x="176" y="209"/>
                  </a:lnTo>
                  <a:lnTo>
                    <a:pt x="177" y="215"/>
                  </a:lnTo>
                  <a:lnTo>
                    <a:pt x="178" y="220"/>
                  </a:lnTo>
                  <a:lnTo>
                    <a:pt x="179" y="225"/>
                  </a:lnTo>
                  <a:lnTo>
                    <a:pt x="183" y="229"/>
                  </a:lnTo>
                  <a:lnTo>
                    <a:pt x="186" y="234"/>
                  </a:lnTo>
                  <a:lnTo>
                    <a:pt x="189" y="239"/>
                  </a:lnTo>
                  <a:lnTo>
                    <a:pt x="189" y="239"/>
                  </a:lnTo>
                  <a:lnTo>
                    <a:pt x="195" y="243"/>
                  </a:lnTo>
                  <a:lnTo>
                    <a:pt x="202" y="247"/>
                  </a:lnTo>
                  <a:lnTo>
                    <a:pt x="210" y="249"/>
                  </a:lnTo>
                  <a:lnTo>
                    <a:pt x="218" y="249"/>
                  </a:lnTo>
                  <a:lnTo>
                    <a:pt x="225" y="248"/>
                  </a:lnTo>
                  <a:lnTo>
                    <a:pt x="233" y="246"/>
                  </a:lnTo>
                  <a:lnTo>
                    <a:pt x="240" y="242"/>
                  </a:lnTo>
                  <a:lnTo>
                    <a:pt x="245" y="237"/>
                  </a:lnTo>
                  <a:lnTo>
                    <a:pt x="245" y="237"/>
                  </a:lnTo>
                  <a:lnTo>
                    <a:pt x="250" y="230"/>
                  </a:lnTo>
                  <a:lnTo>
                    <a:pt x="254" y="224"/>
                  </a:lnTo>
                  <a:lnTo>
                    <a:pt x="256" y="216"/>
                  </a:lnTo>
                  <a:lnTo>
                    <a:pt x="257" y="208"/>
                  </a:lnTo>
                  <a:lnTo>
                    <a:pt x="256" y="201"/>
                  </a:lnTo>
                  <a:lnTo>
                    <a:pt x="253" y="194"/>
                  </a:lnTo>
                  <a:lnTo>
                    <a:pt x="249" y="187"/>
                  </a:lnTo>
                  <a:lnTo>
                    <a:pt x="244" y="180"/>
                  </a:lnTo>
                  <a:lnTo>
                    <a:pt x="244" y="180"/>
                  </a:lnTo>
                  <a:close/>
                  <a:moveTo>
                    <a:pt x="228" y="221"/>
                  </a:moveTo>
                  <a:lnTo>
                    <a:pt x="228" y="221"/>
                  </a:lnTo>
                  <a:lnTo>
                    <a:pt x="226" y="223"/>
                  </a:lnTo>
                  <a:lnTo>
                    <a:pt x="223" y="224"/>
                  </a:lnTo>
                  <a:lnTo>
                    <a:pt x="217" y="226"/>
                  </a:lnTo>
                  <a:lnTo>
                    <a:pt x="211" y="225"/>
                  </a:lnTo>
                  <a:lnTo>
                    <a:pt x="208" y="223"/>
                  </a:lnTo>
                  <a:lnTo>
                    <a:pt x="206" y="221"/>
                  </a:lnTo>
                  <a:lnTo>
                    <a:pt x="206" y="221"/>
                  </a:lnTo>
                  <a:lnTo>
                    <a:pt x="203" y="219"/>
                  </a:lnTo>
                  <a:lnTo>
                    <a:pt x="201" y="216"/>
                  </a:lnTo>
                  <a:lnTo>
                    <a:pt x="200" y="209"/>
                  </a:lnTo>
                  <a:lnTo>
                    <a:pt x="201" y="203"/>
                  </a:lnTo>
                  <a:lnTo>
                    <a:pt x="202" y="200"/>
                  </a:lnTo>
                  <a:lnTo>
                    <a:pt x="204" y="198"/>
                  </a:lnTo>
                  <a:lnTo>
                    <a:pt x="204" y="198"/>
                  </a:lnTo>
                  <a:lnTo>
                    <a:pt x="208" y="196"/>
                  </a:lnTo>
                  <a:lnTo>
                    <a:pt x="210" y="194"/>
                  </a:lnTo>
                  <a:lnTo>
                    <a:pt x="216" y="193"/>
                  </a:lnTo>
                  <a:lnTo>
                    <a:pt x="222" y="194"/>
                  </a:lnTo>
                  <a:lnTo>
                    <a:pt x="225" y="196"/>
                  </a:lnTo>
                  <a:lnTo>
                    <a:pt x="228" y="197"/>
                  </a:lnTo>
                  <a:lnTo>
                    <a:pt x="228" y="197"/>
                  </a:lnTo>
                  <a:lnTo>
                    <a:pt x="231" y="200"/>
                  </a:lnTo>
                  <a:lnTo>
                    <a:pt x="232" y="203"/>
                  </a:lnTo>
                  <a:lnTo>
                    <a:pt x="233" y="209"/>
                  </a:lnTo>
                  <a:lnTo>
                    <a:pt x="232" y="215"/>
                  </a:lnTo>
                  <a:lnTo>
                    <a:pt x="231" y="218"/>
                  </a:lnTo>
                  <a:lnTo>
                    <a:pt x="228" y="221"/>
                  </a:lnTo>
                  <a:lnTo>
                    <a:pt x="228" y="221"/>
                  </a:lnTo>
                  <a:close/>
                </a:path>
              </a:pathLst>
            </a:custGeom>
            <a:solidFill>
              <a:srgbClr val="56534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40" name="Freeform 367"/>
            <p:cNvSpPr>
              <a:spLocks/>
            </p:cNvSpPr>
            <p:nvPr/>
          </p:nvSpPr>
          <p:spPr bwMode="auto">
            <a:xfrm>
              <a:off x="2607985" y="4208195"/>
              <a:ext cx="587017" cy="587618"/>
            </a:xfrm>
            <a:custGeom>
              <a:avLst/>
              <a:gdLst>
                <a:gd name="T0" fmla="*/ 232 w 241"/>
                <a:gd name="T1" fmla="*/ 0 h 241"/>
                <a:gd name="T2" fmla="*/ 208 w 241"/>
                <a:gd name="T3" fmla="*/ 15 h 241"/>
                <a:gd name="T4" fmla="*/ 195 w 241"/>
                <a:gd name="T5" fmla="*/ 34 h 241"/>
                <a:gd name="T6" fmla="*/ 195 w 241"/>
                <a:gd name="T7" fmla="*/ 34 h 241"/>
                <a:gd name="T8" fmla="*/ 134 w 241"/>
                <a:gd name="T9" fmla="*/ 96 h 241"/>
                <a:gd name="T10" fmla="*/ 134 w 241"/>
                <a:gd name="T11" fmla="*/ 95 h 241"/>
                <a:gd name="T12" fmla="*/ 134 w 241"/>
                <a:gd name="T13" fmla="*/ 95 h 241"/>
                <a:gd name="T14" fmla="*/ 132 w 241"/>
                <a:gd name="T15" fmla="*/ 94 h 241"/>
                <a:gd name="T16" fmla="*/ 130 w 241"/>
                <a:gd name="T17" fmla="*/ 94 h 241"/>
                <a:gd name="T18" fmla="*/ 128 w 241"/>
                <a:gd name="T19" fmla="*/ 95 h 241"/>
                <a:gd name="T20" fmla="*/ 127 w 241"/>
                <a:gd name="T21" fmla="*/ 96 h 241"/>
                <a:gd name="T22" fmla="*/ 111 w 241"/>
                <a:gd name="T23" fmla="*/ 112 h 241"/>
                <a:gd name="T24" fmla="*/ 111 w 241"/>
                <a:gd name="T25" fmla="*/ 112 h 241"/>
                <a:gd name="T26" fmla="*/ 109 w 241"/>
                <a:gd name="T27" fmla="*/ 114 h 241"/>
                <a:gd name="T28" fmla="*/ 108 w 241"/>
                <a:gd name="T29" fmla="*/ 114 h 241"/>
                <a:gd name="T30" fmla="*/ 108 w 241"/>
                <a:gd name="T31" fmla="*/ 114 h 241"/>
                <a:gd name="T32" fmla="*/ 106 w 241"/>
                <a:gd name="T33" fmla="*/ 112 h 241"/>
                <a:gd name="T34" fmla="*/ 103 w 241"/>
                <a:gd name="T35" fmla="*/ 112 h 241"/>
                <a:gd name="T36" fmla="*/ 100 w 241"/>
                <a:gd name="T37" fmla="*/ 113 h 241"/>
                <a:gd name="T38" fmla="*/ 96 w 241"/>
                <a:gd name="T39" fmla="*/ 115 h 241"/>
                <a:gd name="T40" fmla="*/ 4 w 241"/>
                <a:gd name="T41" fmla="*/ 207 h 241"/>
                <a:gd name="T42" fmla="*/ 4 w 241"/>
                <a:gd name="T43" fmla="*/ 207 h 241"/>
                <a:gd name="T44" fmla="*/ 2 w 241"/>
                <a:gd name="T45" fmla="*/ 211 h 241"/>
                <a:gd name="T46" fmla="*/ 0 w 241"/>
                <a:gd name="T47" fmla="*/ 214 h 241"/>
                <a:gd name="T48" fmla="*/ 0 w 241"/>
                <a:gd name="T49" fmla="*/ 217 h 241"/>
                <a:gd name="T50" fmla="*/ 3 w 241"/>
                <a:gd name="T51" fmla="*/ 219 h 241"/>
                <a:gd name="T52" fmla="*/ 22 w 241"/>
                <a:gd name="T53" fmla="*/ 239 h 241"/>
                <a:gd name="T54" fmla="*/ 22 w 241"/>
                <a:gd name="T55" fmla="*/ 239 h 241"/>
                <a:gd name="T56" fmla="*/ 24 w 241"/>
                <a:gd name="T57" fmla="*/ 241 h 241"/>
                <a:gd name="T58" fmla="*/ 28 w 241"/>
                <a:gd name="T59" fmla="*/ 241 h 241"/>
                <a:gd name="T60" fmla="*/ 31 w 241"/>
                <a:gd name="T61" fmla="*/ 240 h 241"/>
                <a:gd name="T62" fmla="*/ 34 w 241"/>
                <a:gd name="T63" fmla="*/ 238 h 241"/>
                <a:gd name="T64" fmla="*/ 127 w 241"/>
                <a:gd name="T65" fmla="*/ 145 h 241"/>
                <a:gd name="T66" fmla="*/ 127 w 241"/>
                <a:gd name="T67" fmla="*/ 145 h 241"/>
                <a:gd name="T68" fmla="*/ 129 w 241"/>
                <a:gd name="T69" fmla="*/ 142 h 241"/>
                <a:gd name="T70" fmla="*/ 130 w 241"/>
                <a:gd name="T71" fmla="*/ 139 h 241"/>
                <a:gd name="T72" fmla="*/ 130 w 241"/>
                <a:gd name="T73" fmla="*/ 136 h 241"/>
                <a:gd name="T74" fmla="*/ 128 w 241"/>
                <a:gd name="T75" fmla="*/ 133 h 241"/>
                <a:gd name="T76" fmla="*/ 128 w 241"/>
                <a:gd name="T77" fmla="*/ 132 h 241"/>
                <a:gd name="T78" fmla="*/ 130 w 241"/>
                <a:gd name="T79" fmla="*/ 130 h 241"/>
                <a:gd name="T80" fmla="*/ 130 w 241"/>
                <a:gd name="T81" fmla="*/ 130 h 241"/>
                <a:gd name="T82" fmla="*/ 145 w 241"/>
                <a:gd name="T83" fmla="*/ 115 h 241"/>
                <a:gd name="T84" fmla="*/ 145 w 241"/>
                <a:gd name="T85" fmla="*/ 115 h 241"/>
                <a:gd name="T86" fmla="*/ 146 w 241"/>
                <a:gd name="T87" fmla="*/ 114 h 241"/>
                <a:gd name="T88" fmla="*/ 147 w 241"/>
                <a:gd name="T89" fmla="*/ 112 h 241"/>
                <a:gd name="T90" fmla="*/ 147 w 241"/>
                <a:gd name="T91" fmla="*/ 110 h 241"/>
                <a:gd name="T92" fmla="*/ 146 w 241"/>
                <a:gd name="T93" fmla="*/ 107 h 241"/>
                <a:gd name="T94" fmla="*/ 145 w 241"/>
                <a:gd name="T95" fmla="*/ 107 h 241"/>
                <a:gd name="T96" fmla="*/ 208 w 241"/>
                <a:gd name="T97" fmla="*/ 46 h 241"/>
                <a:gd name="T98" fmla="*/ 228 w 241"/>
                <a:gd name="T99" fmla="*/ 32 h 241"/>
                <a:gd name="T100" fmla="*/ 241 w 241"/>
                <a:gd name="T101" fmla="*/ 9 h 241"/>
                <a:gd name="T102" fmla="*/ 232 w 241"/>
                <a:gd name="T103"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1" h="241">
                  <a:moveTo>
                    <a:pt x="232" y="0"/>
                  </a:moveTo>
                  <a:lnTo>
                    <a:pt x="208" y="15"/>
                  </a:lnTo>
                  <a:lnTo>
                    <a:pt x="195" y="34"/>
                  </a:lnTo>
                  <a:lnTo>
                    <a:pt x="195" y="34"/>
                  </a:lnTo>
                  <a:lnTo>
                    <a:pt x="134" y="96"/>
                  </a:lnTo>
                  <a:lnTo>
                    <a:pt x="134" y="95"/>
                  </a:lnTo>
                  <a:lnTo>
                    <a:pt x="134" y="95"/>
                  </a:lnTo>
                  <a:lnTo>
                    <a:pt x="132" y="94"/>
                  </a:lnTo>
                  <a:lnTo>
                    <a:pt x="130" y="94"/>
                  </a:lnTo>
                  <a:lnTo>
                    <a:pt x="128" y="95"/>
                  </a:lnTo>
                  <a:lnTo>
                    <a:pt x="127" y="96"/>
                  </a:lnTo>
                  <a:lnTo>
                    <a:pt x="111" y="112"/>
                  </a:lnTo>
                  <a:lnTo>
                    <a:pt x="111" y="112"/>
                  </a:lnTo>
                  <a:lnTo>
                    <a:pt x="109" y="114"/>
                  </a:lnTo>
                  <a:lnTo>
                    <a:pt x="108" y="114"/>
                  </a:lnTo>
                  <a:lnTo>
                    <a:pt x="108" y="114"/>
                  </a:lnTo>
                  <a:lnTo>
                    <a:pt x="106" y="112"/>
                  </a:lnTo>
                  <a:lnTo>
                    <a:pt x="103" y="112"/>
                  </a:lnTo>
                  <a:lnTo>
                    <a:pt x="100" y="113"/>
                  </a:lnTo>
                  <a:lnTo>
                    <a:pt x="96" y="115"/>
                  </a:lnTo>
                  <a:lnTo>
                    <a:pt x="4" y="207"/>
                  </a:lnTo>
                  <a:lnTo>
                    <a:pt x="4" y="207"/>
                  </a:lnTo>
                  <a:lnTo>
                    <a:pt x="2" y="211"/>
                  </a:lnTo>
                  <a:lnTo>
                    <a:pt x="0" y="214"/>
                  </a:lnTo>
                  <a:lnTo>
                    <a:pt x="0" y="217"/>
                  </a:lnTo>
                  <a:lnTo>
                    <a:pt x="3" y="219"/>
                  </a:lnTo>
                  <a:lnTo>
                    <a:pt x="22" y="239"/>
                  </a:lnTo>
                  <a:lnTo>
                    <a:pt x="22" y="239"/>
                  </a:lnTo>
                  <a:lnTo>
                    <a:pt x="24" y="241"/>
                  </a:lnTo>
                  <a:lnTo>
                    <a:pt x="28" y="241"/>
                  </a:lnTo>
                  <a:lnTo>
                    <a:pt x="31" y="240"/>
                  </a:lnTo>
                  <a:lnTo>
                    <a:pt x="34" y="238"/>
                  </a:lnTo>
                  <a:lnTo>
                    <a:pt x="127" y="145"/>
                  </a:lnTo>
                  <a:lnTo>
                    <a:pt x="127" y="145"/>
                  </a:lnTo>
                  <a:lnTo>
                    <a:pt x="129" y="142"/>
                  </a:lnTo>
                  <a:lnTo>
                    <a:pt x="130" y="139"/>
                  </a:lnTo>
                  <a:lnTo>
                    <a:pt x="130" y="136"/>
                  </a:lnTo>
                  <a:lnTo>
                    <a:pt x="128" y="133"/>
                  </a:lnTo>
                  <a:lnTo>
                    <a:pt x="128" y="132"/>
                  </a:lnTo>
                  <a:lnTo>
                    <a:pt x="130" y="130"/>
                  </a:lnTo>
                  <a:lnTo>
                    <a:pt x="130" y="130"/>
                  </a:lnTo>
                  <a:lnTo>
                    <a:pt x="145" y="115"/>
                  </a:lnTo>
                  <a:lnTo>
                    <a:pt x="145" y="115"/>
                  </a:lnTo>
                  <a:lnTo>
                    <a:pt x="146" y="114"/>
                  </a:lnTo>
                  <a:lnTo>
                    <a:pt x="147" y="112"/>
                  </a:lnTo>
                  <a:lnTo>
                    <a:pt x="147" y="110"/>
                  </a:lnTo>
                  <a:lnTo>
                    <a:pt x="146" y="107"/>
                  </a:lnTo>
                  <a:lnTo>
                    <a:pt x="145" y="107"/>
                  </a:lnTo>
                  <a:lnTo>
                    <a:pt x="208" y="46"/>
                  </a:lnTo>
                  <a:lnTo>
                    <a:pt x="228" y="32"/>
                  </a:lnTo>
                  <a:lnTo>
                    <a:pt x="241" y="9"/>
                  </a:lnTo>
                  <a:lnTo>
                    <a:pt x="232" y="0"/>
                  </a:lnTo>
                  <a:close/>
                </a:path>
              </a:pathLst>
            </a:custGeom>
            <a:solidFill>
              <a:srgbClr val="FFF1CA"/>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grpSp>
          <p:nvGrpSpPr>
            <p:cNvPr id="170016" name="Group 8"/>
            <p:cNvGrpSpPr>
              <a:grpSpLocks/>
            </p:cNvGrpSpPr>
            <p:nvPr/>
          </p:nvGrpSpPr>
          <p:grpSpPr bwMode="auto">
            <a:xfrm>
              <a:off x="2181207" y="4442722"/>
              <a:ext cx="205733" cy="220428"/>
              <a:chOff x="2181207" y="4442722"/>
              <a:chExt cx="205733" cy="220428"/>
            </a:xfrm>
          </p:grpSpPr>
          <p:sp>
            <p:nvSpPr>
              <p:cNvPr id="190" name="Freeform 418"/>
              <p:cNvSpPr>
                <a:spLocks noEditPoints="1"/>
              </p:cNvSpPr>
              <p:nvPr/>
            </p:nvSpPr>
            <p:spPr bwMode="auto">
              <a:xfrm>
                <a:off x="2181207" y="4457535"/>
                <a:ext cx="206250" cy="204873"/>
              </a:xfrm>
              <a:custGeom>
                <a:avLst/>
                <a:gdLst>
                  <a:gd name="T0" fmla="*/ 83 w 83"/>
                  <a:gd name="T1" fmla="*/ 41 h 84"/>
                  <a:gd name="T2" fmla="*/ 80 w 83"/>
                  <a:gd name="T3" fmla="*/ 36 h 84"/>
                  <a:gd name="T4" fmla="*/ 74 w 83"/>
                  <a:gd name="T5" fmla="*/ 33 h 84"/>
                  <a:gd name="T6" fmla="*/ 61 w 83"/>
                  <a:gd name="T7" fmla="*/ 33 h 84"/>
                  <a:gd name="T8" fmla="*/ 68 w 83"/>
                  <a:gd name="T9" fmla="*/ 27 h 84"/>
                  <a:gd name="T10" fmla="*/ 74 w 83"/>
                  <a:gd name="T11" fmla="*/ 20 h 84"/>
                  <a:gd name="T12" fmla="*/ 73 w 83"/>
                  <a:gd name="T13" fmla="*/ 15 h 84"/>
                  <a:gd name="T14" fmla="*/ 70 w 83"/>
                  <a:gd name="T15" fmla="*/ 12 h 84"/>
                  <a:gd name="T16" fmla="*/ 64 w 83"/>
                  <a:gd name="T17" fmla="*/ 11 h 84"/>
                  <a:gd name="T18" fmla="*/ 58 w 83"/>
                  <a:gd name="T19" fmla="*/ 12 h 84"/>
                  <a:gd name="T20" fmla="*/ 49 w 83"/>
                  <a:gd name="T21" fmla="*/ 21 h 84"/>
                  <a:gd name="T22" fmla="*/ 50 w 83"/>
                  <a:gd name="T23" fmla="*/ 14 h 84"/>
                  <a:gd name="T24" fmla="*/ 48 w 83"/>
                  <a:gd name="T25" fmla="*/ 3 h 84"/>
                  <a:gd name="T26" fmla="*/ 44 w 83"/>
                  <a:gd name="T27" fmla="*/ 0 h 84"/>
                  <a:gd name="T28" fmla="*/ 41 w 83"/>
                  <a:gd name="T29" fmla="*/ 0 h 84"/>
                  <a:gd name="T30" fmla="*/ 35 w 83"/>
                  <a:gd name="T31" fmla="*/ 3 h 84"/>
                  <a:gd name="T32" fmla="*/ 33 w 83"/>
                  <a:gd name="T33" fmla="*/ 9 h 84"/>
                  <a:gd name="T34" fmla="*/ 33 w 83"/>
                  <a:gd name="T35" fmla="*/ 22 h 84"/>
                  <a:gd name="T36" fmla="*/ 28 w 83"/>
                  <a:gd name="T37" fmla="*/ 16 h 84"/>
                  <a:gd name="T38" fmla="*/ 19 w 83"/>
                  <a:gd name="T39" fmla="*/ 10 h 84"/>
                  <a:gd name="T40" fmla="*/ 14 w 83"/>
                  <a:gd name="T41" fmla="*/ 11 h 84"/>
                  <a:gd name="T42" fmla="*/ 12 w 83"/>
                  <a:gd name="T43" fmla="*/ 13 h 84"/>
                  <a:gd name="T44" fmla="*/ 10 w 83"/>
                  <a:gd name="T45" fmla="*/ 19 h 84"/>
                  <a:gd name="T46" fmla="*/ 12 w 83"/>
                  <a:gd name="T47" fmla="*/ 25 h 84"/>
                  <a:gd name="T48" fmla="*/ 21 w 83"/>
                  <a:gd name="T49" fmla="*/ 35 h 84"/>
                  <a:gd name="T50" fmla="*/ 13 w 83"/>
                  <a:gd name="T51" fmla="*/ 33 h 84"/>
                  <a:gd name="T52" fmla="*/ 4 w 83"/>
                  <a:gd name="T53" fmla="*/ 35 h 84"/>
                  <a:gd name="T54" fmla="*/ 0 w 83"/>
                  <a:gd name="T55" fmla="*/ 39 h 84"/>
                  <a:gd name="T56" fmla="*/ 0 w 83"/>
                  <a:gd name="T57" fmla="*/ 42 h 84"/>
                  <a:gd name="T58" fmla="*/ 4 w 83"/>
                  <a:gd name="T59" fmla="*/ 48 h 84"/>
                  <a:gd name="T60" fmla="*/ 9 w 83"/>
                  <a:gd name="T61" fmla="*/ 51 h 84"/>
                  <a:gd name="T62" fmla="*/ 22 w 83"/>
                  <a:gd name="T63" fmla="*/ 50 h 84"/>
                  <a:gd name="T64" fmla="*/ 15 w 83"/>
                  <a:gd name="T65" fmla="*/ 55 h 84"/>
                  <a:gd name="T66" fmla="*/ 9 w 83"/>
                  <a:gd name="T67" fmla="*/ 64 h 84"/>
                  <a:gd name="T68" fmla="*/ 10 w 83"/>
                  <a:gd name="T69" fmla="*/ 69 h 84"/>
                  <a:gd name="T70" fmla="*/ 13 w 83"/>
                  <a:gd name="T71" fmla="*/ 71 h 84"/>
                  <a:gd name="T72" fmla="*/ 19 w 83"/>
                  <a:gd name="T73" fmla="*/ 73 h 84"/>
                  <a:gd name="T74" fmla="*/ 24 w 83"/>
                  <a:gd name="T75" fmla="*/ 71 h 84"/>
                  <a:gd name="T76" fmla="*/ 34 w 83"/>
                  <a:gd name="T77" fmla="*/ 62 h 84"/>
                  <a:gd name="T78" fmla="*/ 33 w 83"/>
                  <a:gd name="T79" fmla="*/ 70 h 84"/>
                  <a:gd name="T80" fmla="*/ 34 w 83"/>
                  <a:gd name="T81" fmla="*/ 80 h 84"/>
                  <a:gd name="T82" fmla="*/ 39 w 83"/>
                  <a:gd name="T83" fmla="*/ 84 h 84"/>
                  <a:gd name="T84" fmla="*/ 42 w 83"/>
                  <a:gd name="T85" fmla="*/ 83 h 84"/>
                  <a:gd name="T86" fmla="*/ 48 w 83"/>
                  <a:gd name="T87" fmla="*/ 79 h 84"/>
                  <a:gd name="T88" fmla="*/ 50 w 83"/>
                  <a:gd name="T89" fmla="*/ 74 h 84"/>
                  <a:gd name="T90" fmla="*/ 50 w 83"/>
                  <a:gd name="T91" fmla="*/ 62 h 84"/>
                  <a:gd name="T92" fmla="*/ 56 w 83"/>
                  <a:gd name="T93" fmla="*/ 68 h 84"/>
                  <a:gd name="T94" fmla="*/ 64 w 83"/>
                  <a:gd name="T95" fmla="*/ 74 h 84"/>
                  <a:gd name="T96" fmla="*/ 69 w 83"/>
                  <a:gd name="T97" fmla="*/ 73 h 84"/>
                  <a:gd name="T98" fmla="*/ 71 w 83"/>
                  <a:gd name="T99" fmla="*/ 70 h 84"/>
                  <a:gd name="T100" fmla="*/ 73 w 83"/>
                  <a:gd name="T101" fmla="*/ 64 h 84"/>
                  <a:gd name="T102" fmla="*/ 71 w 83"/>
                  <a:gd name="T103" fmla="*/ 59 h 84"/>
                  <a:gd name="T104" fmla="*/ 62 w 83"/>
                  <a:gd name="T105" fmla="*/ 49 h 84"/>
                  <a:gd name="T106" fmla="*/ 70 w 83"/>
                  <a:gd name="T107" fmla="*/ 50 h 84"/>
                  <a:gd name="T108" fmla="*/ 80 w 83"/>
                  <a:gd name="T109" fmla="*/ 49 h 84"/>
                  <a:gd name="T110" fmla="*/ 83 w 83"/>
                  <a:gd name="T111" fmla="*/ 45 h 84"/>
                  <a:gd name="T112" fmla="*/ 83 w 83"/>
                  <a:gd name="T113" fmla="*/ 41 h 84"/>
                  <a:gd name="T114" fmla="*/ 36 w 83"/>
                  <a:gd name="T115" fmla="*/ 44 h 84"/>
                  <a:gd name="T116" fmla="*/ 39 w 83"/>
                  <a:gd name="T117" fmla="*/ 36 h 84"/>
                  <a:gd name="T118" fmla="*/ 47 w 83"/>
                  <a:gd name="T119" fmla="*/ 39 h 84"/>
                  <a:gd name="T120" fmla="*/ 44 w 83"/>
                  <a:gd name="T121" fmla="*/ 4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3" h="84">
                    <a:moveTo>
                      <a:pt x="83" y="41"/>
                    </a:moveTo>
                    <a:lnTo>
                      <a:pt x="83" y="41"/>
                    </a:lnTo>
                    <a:lnTo>
                      <a:pt x="82" y="38"/>
                    </a:lnTo>
                    <a:lnTo>
                      <a:pt x="80" y="36"/>
                    </a:lnTo>
                    <a:lnTo>
                      <a:pt x="78" y="34"/>
                    </a:lnTo>
                    <a:lnTo>
                      <a:pt x="74" y="33"/>
                    </a:lnTo>
                    <a:lnTo>
                      <a:pt x="68" y="31"/>
                    </a:lnTo>
                    <a:lnTo>
                      <a:pt x="61" y="33"/>
                    </a:lnTo>
                    <a:lnTo>
                      <a:pt x="61" y="33"/>
                    </a:lnTo>
                    <a:lnTo>
                      <a:pt x="68" y="27"/>
                    </a:lnTo>
                    <a:lnTo>
                      <a:pt x="72" y="22"/>
                    </a:lnTo>
                    <a:lnTo>
                      <a:pt x="74" y="20"/>
                    </a:lnTo>
                    <a:lnTo>
                      <a:pt x="74" y="17"/>
                    </a:lnTo>
                    <a:lnTo>
                      <a:pt x="73" y="15"/>
                    </a:lnTo>
                    <a:lnTo>
                      <a:pt x="70" y="12"/>
                    </a:lnTo>
                    <a:lnTo>
                      <a:pt x="70" y="12"/>
                    </a:lnTo>
                    <a:lnTo>
                      <a:pt x="67" y="11"/>
                    </a:lnTo>
                    <a:lnTo>
                      <a:pt x="64" y="11"/>
                    </a:lnTo>
                    <a:lnTo>
                      <a:pt x="61" y="11"/>
                    </a:lnTo>
                    <a:lnTo>
                      <a:pt x="58" y="12"/>
                    </a:lnTo>
                    <a:lnTo>
                      <a:pt x="54" y="16"/>
                    </a:lnTo>
                    <a:lnTo>
                      <a:pt x="49" y="21"/>
                    </a:lnTo>
                    <a:lnTo>
                      <a:pt x="49" y="21"/>
                    </a:lnTo>
                    <a:lnTo>
                      <a:pt x="50" y="14"/>
                    </a:lnTo>
                    <a:lnTo>
                      <a:pt x="49" y="6"/>
                    </a:lnTo>
                    <a:lnTo>
                      <a:pt x="48" y="3"/>
                    </a:lnTo>
                    <a:lnTo>
                      <a:pt x="47" y="1"/>
                    </a:lnTo>
                    <a:lnTo>
                      <a:pt x="44" y="0"/>
                    </a:lnTo>
                    <a:lnTo>
                      <a:pt x="41" y="0"/>
                    </a:lnTo>
                    <a:lnTo>
                      <a:pt x="41" y="0"/>
                    </a:lnTo>
                    <a:lnTo>
                      <a:pt x="38" y="1"/>
                    </a:lnTo>
                    <a:lnTo>
                      <a:pt x="35" y="3"/>
                    </a:lnTo>
                    <a:lnTo>
                      <a:pt x="34" y="6"/>
                    </a:lnTo>
                    <a:lnTo>
                      <a:pt x="33" y="9"/>
                    </a:lnTo>
                    <a:lnTo>
                      <a:pt x="32" y="15"/>
                    </a:lnTo>
                    <a:lnTo>
                      <a:pt x="33" y="22"/>
                    </a:lnTo>
                    <a:lnTo>
                      <a:pt x="33" y="22"/>
                    </a:lnTo>
                    <a:lnTo>
                      <a:pt x="28" y="16"/>
                    </a:lnTo>
                    <a:lnTo>
                      <a:pt x="22" y="11"/>
                    </a:lnTo>
                    <a:lnTo>
                      <a:pt x="19" y="10"/>
                    </a:lnTo>
                    <a:lnTo>
                      <a:pt x="17" y="10"/>
                    </a:lnTo>
                    <a:lnTo>
                      <a:pt x="14" y="11"/>
                    </a:lnTo>
                    <a:lnTo>
                      <a:pt x="12" y="13"/>
                    </a:lnTo>
                    <a:lnTo>
                      <a:pt x="12" y="13"/>
                    </a:lnTo>
                    <a:lnTo>
                      <a:pt x="11" y="16"/>
                    </a:lnTo>
                    <a:lnTo>
                      <a:pt x="10" y="19"/>
                    </a:lnTo>
                    <a:lnTo>
                      <a:pt x="11" y="22"/>
                    </a:lnTo>
                    <a:lnTo>
                      <a:pt x="12" y="25"/>
                    </a:lnTo>
                    <a:lnTo>
                      <a:pt x="16" y="30"/>
                    </a:lnTo>
                    <a:lnTo>
                      <a:pt x="21" y="35"/>
                    </a:lnTo>
                    <a:lnTo>
                      <a:pt x="21" y="35"/>
                    </a:lnTo>
                    <a:lnTo>
                      <a:pt x="13" y="33"/>
                    </a:lnTo>
                    <a:lnTo>
                      <a:pt x="6" y="34"/>
                    </a:lnTo>
                    <a:lnTo>
                      <a:pt x="4" y="35"/>
                    </a:lnTo>
                    <a:lnTo>
                      <a:pt x="1" y="36"/>
                    </a:lnTo>
                    <a:lnTo>
                      <a:pt x="0" y="39"/>
                    </a:lnTo>
                    <a:lnTo>
                      <a:pt x="0" y="42"/>
                    </a:lnTo>
                    <a:lnTo>
                      <a:pt x="0" y="42"/>
                    </a:lnTo>
                    <a:lnTo>
                      <a:pt x="1" y="46"/>
                    </a:lnTo>
                    <a:lnTo>
                      <a:pt x="4" y="48"/>
                    </a:lnTo>
                    <a:lnTo>
                      <a:pt x="6" y="50"/>
                    </a:lnTo>
                    <a:lnTo>
                      <a:pt x="9" y="51"/>
                    </a:lnTo>
                    <a:lnTo>
                      <a:pt x="15" y="51"/>
                    </a:lnTo>
                    <a:lnTo>
                      <a:pt x="22" y="50"/>
                    </a:lnTo>
                    <a:lnTo>
                      <a:pt x="22" y="50"/>
                    </a:lnTo>
                    <a:lnTo>
                      <a:pt x="15" y="55"/>
                    </a:lnTo>
                    <a:lnTo>
                      <a:pt x="11" y="61"/>
                    </a:lnTo>
                    <a:lnTo>
                      <a:pt x="9" y="64"/>
                    </a:lnTo>
                    <a:lnTo>
                      <a:pt x="9" y="66"/>
                    </a:lnTo>
                    <a:lnTo>
                      <a:pt x="10" y="69"/>
                    </a:lnTo>
                    <a:lnTo>
                      <a:pt x="13" y="71"/>
                    </a:lnTo>
                    <a:lnTo>
                      <a:pt x="13" y="71"/>
                    </a:lnTo>
                    <a:lnTo>
                      <a:pt x="16" y="73"/>
                    </a:lnTo>
                    <a:lnTo>
                      <a:pt x="19" y="73"/>
                    </a:lnTo>
                    <a:lnTo>
                      <a:pt x="22" y="73"/>
                    </a:lnTo>
                    <a:lnTo>
                      <a:pt x="24" y="71"/>
                    </a:lnTo>
                    <a:lnTo>
                      <a:pt x="30" y="67"/>
                    </a:lnTo>
                    <a:lnTo>
                      <a:pt x="34" y="62"/>
                    </a:lnTo>
                    <a:lnTo>
                      <a:pt x="34" y="62"/>
                    </a:lnTo>
                    <a:lnTo>
                      <a:pt x="33" y="70"/>
                    </a:lnTo>
                    <a:lnTo>
                      <a:pt x="33" y="77"/>
                    </a:lnTo>
                    <a:lnTo>
                      <a:pt x="34" y="80"/>
                    </a:lnTo>
                    <a:lnTo>
                      <a:pt x="36" y="83"/>
                    </a:lnTo>
                    <a:lnTo>
                      <a:pt x="39" y="84"/>
                    </a:lnTo>
                    <a:lnTo>
                      <a:pt x="42" y="83"/>
                    </a:lnTo>
                    <a:lnTo>
                      <a:pt x="42" y="83"/>
                    </a:lnTo>
                    <a:lnTo>
                      <a:pt x="45" y="82"/>
                    </a:lnTo>
                    <a:lnTo>
                      <a:pt x="48" y="79"/>
                    </a:lnTo>
                    <a:lnTo>
                      <a:pt x="49" y="77"/>
                    </a:lnTo>
                    <a:lnTo>
                      <a:pt x="50" y="74"/>
                    </a:lnTo>
                    <a:lnTo>
                      <a:pt x="51" y="68"/>
                    </a:lnTo>
                    <a:lnTo>
                      <a:pt x="50" y="62"/>
                    </a:lnTo>
                    <a:lnTo>
                      <a:pt x="50" y="62"/>
                    </a:lnTo>
                    <a:lnTo>
                      <a:pt x="56" y="68"/>
                    </a:lnTo>
                    <a:lnTo>
                      <a:pt x="61" y="73"/>
                    </a:lnTo>
                    <a:lnTo>
                      <a:pt x="64" y="74"/>
                    </a:lnTo>
                    <a:lnTo>
                      <a:pt x="66" y="74"/>
                    </a:lnTo>
                    <a:lnTo>
                      <a:pt x="69" y="73"/>
                    </a:lnTo>
                    <a:lnTo>
                      <a:pt x="71" y="70"/>
                    </a:lnTo>
                    <a:lnTo>
                      <a:pt x="71" y="70"/>
                    </a:lnTo>
                    <a:lnTo>
                      <a:pt x="72" y="67"/>
                    </a:lnTo>
                    <a:lnTo>
                      <a:pt x="73" y="64"/>
                    </a:lnTo>
                    <a:lnTo>
                      <a:pt x="72" y="61"/>
                    </a:lnTo>
                    <a:lnTo>
                      <a:pt x="71" y="59"/>
                    </a:lnTo>
                    <a:lnTo>
                      <a:pt x="67" y="53"/>
                    </a:lnTo>
                    <a:lnTo>
                      <a:pt x="62" y="49"/>
                    </a:lnTo>
                    <a:lnTo>
                      <a:pt x="62" y="49"/>
                    </a:lnTo>
                    <a:lnTo>
                      <a:pt x="70" y="50"/>
                    </a:lnTo>
                    <a:lnTo>
                      <a:pt x="78" y="50"/>
                    </a:lnTo>
                    <a:lnTo>
                      <a:pt x="80" y="49"/>
                    </a:lnTo>
                    <a:lnTo>
                      <a:pt x="82" y="47"/>
                    </a:lnTo>
                    <a:lnTo>
                      <a:pt x="83" y="45"/>
                    </a:lnTo>
                    <a:lnTo>
                      <a:pt x="83" y="41"/>
                    </a:lnTo>
                    <a:lnTo>
                      <a:pt x="83" y="41"/>
                    </a:lnTo>
                    <a:close/>
                    <a:moveTo>
                      <a:pt x="39" y="48"/>
                    </a:moveTo>
                    <a:lnTo>
                      <a:pt x="36" y="44"/>
                    </a:lnTo>
                    <a:lnTo>
                      <a:pt x="36" y="40"/>
                    </a:lnTo>
                    <a:lnTo>
                      <a:pt x="39" y="36"/>
                    </a:lnTo>
                    <a:lnTo>
                      <a:pt x="44" y="36"/>
                    </a:lnTo>
                    <a:lnTo>
                      <a:pt x="47" y="39"/>
                    </a:lnTo>
                    <a:lnTo>
                      <a:pt x="47" y="44"/>
                    </a:lnTo>
                    <a:lnTo>
                      <a:pt x="44" y="47"/>
                    </a:lnTo>
                    <a:lnTo>
                      <a:pt x="39" y="48"/>
                    </a:lnTo>
                    <a:close/>
                  </a:path>
                </a:pathLst>
              </a:custGeom>
              <a:solidFill>
                <a:srgbClr val="6F701E"/>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91" name="Freeform 419"/>
              <p:cNvSpPr>
                <a:spLocks/>
              </p:cNvSpPr>
              <p:nvPr/>
            </p:nvSpPr>
            <p:spPr bwMode="auto">
              <a:xfrm>
                <a:off x="2262121" y="4443242"/>
                <a:ext cx="44423" cy="87348"/>
              </a:xfrm>
              <a:custGeom>
                <a:avLst/>
                <a:gdLst>
                  <a:gd name="T0" fmla="*/ 5 w 18"/>
                  <a:gd name="T1" fmla="*/ 35 h 35"/>
                  <a:gd name="T2" fmla="*/ 5 w 18"/>
                  <a:gd name="T3" fmla="*/ 35 h 35"/>
                  <a:gd name="T4" fmla="*/ 3 w 18"/>
                  <a:gd name="T5" fmla="*/ 30 h 35"/>
                  <a:gd name="T6" fmla="*/ 2 w 18"/>
                  <a:gd name="T7" fmla="*/ 26 h 35"/>
                  <a:gd name="T8" fmla="*/ 0 w 18"/>
                  <a:gd name="T9" fmla="*/ 20 h 35"/>
                  <a:gd name="T10" fmla="*/ 0 w 18"/>
                  <a:gd name="T11" fmla="*/ 14 h 35"/>
                  <a:gd name="T12" fmla="*/ 1 w 18"/>
                  <a:gd name="T13" fmla="*/ 7 h 35"/>
                  <a:gd name="T14" fmla="*/ 2 w 18"/>
                  <a:gd name="T15" fmla="*/ 5 h 35"/>
                  <a:gd name="T16" fmla="*/ 4 w 18"/>
                  <a:gd name="T17" fmla="*/ 3 h 35"/>
                  <a:gd name="T18" fmla="*/ 6 w 18"/>
                  <a:gd name="T19" fmla="*/ 1 h 35"/>
                  <a:gd name="T20" fmla="*/ 9 w 18"/>
                  <a:gd name="T21" fmla="*/ 0 h 35"/>
                  <a:gd name="T22" fmla="*/ 9 w 18"/>
                  <a:gd name="T23" fmla="*/ 0 h 35"/>
                  <a:gd name="T24" fmla="*/ 12 w 18"/>
                  <a:gd name="T25" fmla="*/ 0 h 35"/>
                  <a:gd name="T26" fmla="*/ 14 w 18"/>
                  <a:gd name="T27" fmla="*/ 0 h 35"/>
                  <a:gd name="T28" fmla="*/ 16 w 18"/>
                  <a:gd name="T29" fmla="*/ 2 h 35"/>
                  <a:gd name="T30" fmla="*/ 17 w 18"/>
                  <a:gd name="T31" fmla="*/ 4 h 35"/>
                  <a:gd name="T32" fmla="*/ 18 w 18"/>
                  <a:gd name="T33" fmla="*/ 9 h 35"/>
                  <a:gd name="T34" fmla="*/ 18 w 18"/>
                  <a:gd name="T35" fmla="*/ 17 h 35"/>
                  <a:gd name="T36" fmla="*/ 15 w 18"/>
                  <a:gd name="T37" fmla="*/ 29 h 35"/>
                  <a:gd name="T38" fmla="*/ 13 w 18"/>
                  <a:gd name="T39" fmla="*/ 35 h 35"/>
                  <a:gd name="T40" fmla="*/ 5 w 18"/>
                  <a:gd name="T41"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35">
                    <a:moveTo>
                      <a:pt x="5" y="35"/>
                    </a:moveTo>
                    <a:lnTo>
                      <a:pt x="5" y="35"/>
                    </a:lnTo>
                    <a:lnTo>
                      <a:pt x="3" y="30"/>
                    </a:lnTo>
                    <a:lnTo>
                      <a:pt x="2" y="26"/>
                    </a:lnTo>
                    <a:lnTo>
                      <a:pt x="0" y="20"/>
                    </a:lnTo>
                    <a:lnTo>
                      <a:pt x="0" y="14"/>
                    </a:lnTo>
                    <a:lnTo>
                      <a:pt x="1" y="7"/>
                    </a:lnTo>
                    <a:lnTo>
                      <a:pt x="2" y="5"/>
                    </a:lnTo>
                    <a:lnTo>
                      <a:pt x="4" y="3"/>
                    </a:lnTo>
                    <a:lnTo>
                      <a:pt x="6" y="1"/>
                    </a:lnTo>
                    <a:lnTo>
                      <a:pt x="9" y="0"/>
                    </a:lnTo>
                    <a:lnTo>
                      <a:pt x="9" y="0"/>
                    </a:lnTo>
                    <a:lnTo>
                      <a:pt x="12" y="0"/>
                    </a:lnTo>
                    <a:lnTo>
                      <a:pt x="14" y="0"/>
                    </a:lnTo>
                    <a:lnTo>
                      <a:pt x="16" y="2"/>
                    </a:lnTo>
                    <a:lnTo>
                      <a:pt x="17" y="4"/>
                    </a:lnTo>
                    <a:lnTo>
                      <a:pt x="18" y="9"/>
                    </a:lnTo>
                    <a:lnTo>
                      <a:pt x="18" y="17"/>
                    </a:lnTo>
                    <a:lnTo>
                      <a:pt x="15" y="29"/>
                    </a:lnTo>
                    <a:lnTo>
                      <a:pt x="13" y="35"/>
                    </a:lnTo>
                    <a:lnTo>
                      <a:pt x="5" y="35"/>
                    </a:lnTo>
                    <a:close/>
                  </a:path>
                </a:pathLst>
              </a:custGeom>
              <a:solidFill>
                <a:srgbClr val="FFF1CA"/>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92" name="Freeform 420"/>
              <p:cNvSpPr>
                <a:spLocks/>
              </p:cNvSpPr>
              <p:nvPr/>
            </p:nvSpPr>
            <p:spPr bwMode="auto">
              <a:xfrm>
                <a:off x="2284332" y="4471829"/>
                <a:ext cx="80913" cy="73055"/>
              </a:xfrm>
              <a:custGeom>
                <a:avLst/>
                <a:gdLst>
                  <a:gd name="T0" fmla="*/ 0 w 32"/>
                  <a:gd name="T1" fmla="*/ 24 h 30"/>
                  <a:gd name="T2" fmla="*/ 0 w 32"/>
                  <a:gd name="T3" fmla="*/ 24 h 30"/>
                  <a:gd name="T4" fmla="*/ 2 w 32"/>
                  <a:gd name="T5" fmla="*/ 19 h 30"/>
                  <a:gd name="T6" fmla="*/ 5 w 32"/>
                  <a:gd name="T7" fmla="*/ 15 h 30"/>
                  <a:gd name="T8" fmla="*/ 8 w 32"/>
                  <a:gd name="T9" fmla="*/ 10 h 30"/>
                  <a:gd name="T10" fmla="*/ 13 w 32"/>
                  <a:gd name="T11" fmla="*/ 5 h 30"/>
                  <a:gd name="T12" fmla="*/ 17 w 32"/>
                  <a:gd name="T13" fmla="*/ 2 h 30"/>
                  <a:gd name="T14" fmla="*/ 20 w 32"/>
                  <a:gd name="T15" fmla="*/ 0 h 30"/>
                  <a:gd name="T16" fmla="*/ 22 w 32"/>
                  <a:gd name="T17" fmla="*/ 0 h 30"/>
                  <a:gd name="T18" fmla="*/ 25 w 32"/>
                  <a:gd name="T19" fmla="*/ 0 h 30"/>
                  <a:gd name="T20" fmla="*/ 28 w 32"/>
                  <a:gd name="T21" fmla="*/ 2 h 30"/>
                  <a:gd name="T22" fmla="*/ 28 w 32"/>
                  <a:gd name="T23" fmla="*/ 2 h 30"/>
                  <a:gd name="T24" fmla="*/ 30 w 32"/>
                  <a:gd name="T25" fmla="*/ 4 h 30"/>
                  <a:gd name="T26" fmla="*/ 31 w 32"/>
                  <a:gd name="T27" fmla="*/ 6 h 30"/>
                  <a:gd name="T28" fmla="*/ 32 w 32"/>
                  <a:gd name="T29" fmla="*/ 8 h 30"/>
                  <a:gd name="T30" fmla="*/ 31 w 32"/>
                  <a:gd name="T31" fmla="*/ 11 h 30"/>
                  <a:gd name="T32" fmla="*/ 28 w 32"/>
                  <a:gd name="T33" fmla="*/ 15 h 30"/>
                  <a:gd name="T34" fmla="*/ 23 w 32"/>
                  <a:gd name="T35" fmla="*/ 19 h 30"/>
                  <a:gd name="T36" fmla="*/ 13 w 32"/>
                  <a:gd name="T37" fmla="*/ 27 h 30"/>
                  <a:gd name="T38" fmla="*/ 6 w 32"/>
                  <a:gd name="T39" fmla="*/ 30 h 30"/>
                  <a:gd name="T40" fmla="*/ 0 w 32"/>
                  <a:gd name="T41"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 h="30">
                    <a:moveTo>
                      <a:pt x="0" y="24"/>
                    </a:moveTo>
                    <a:lnTo>
                      <a:pt x="0" y="24"/>
                    </a:lnTo>
                    <a:lnTo>
                      <a:pt x="2" y="19"/>
                    </a:lnTo>
                    <a:lnTo>
                      <a:pt x="5" y="15"/>
                    </a:lnTo>
                    <a:lnTo>
                      <a:pt x="8" y="10"/>
                    </a:lnTo>
                    <a:lnTo>
                      <a:pt x="13" y="5"/>
                    </a:lnTo>
                    <a:lnTo>
                      <a:pt x="17" y="2"/>
                    </a:lnTo>
                    <a:lnTo>
                      <a:pt x="20" y="0"/>
                    </a:lnTo>
                    <a:lnTo>
                      <a:pt x="22" y="0"/>
                    </a:lnTo>
                    <a:lnTo>
                      <a:pt x="25" y="0"/>
                    </a:lnTo>
                    <a:lnTo>
                      <a:pt x="28" y="2"/>
                    </a:lnTo>
                    <a:lnTo>
                      <a:pt x="28" y="2"/>
                    </a:lnTo>
                    <a:lnTo>
                      <a:pt x="30" y="4"/>
                    </a:lnTo>
                    <a:lnTo>
                      <a:pt x="31" y="6"/>
                    </a:lnTo>
                    <a:lnTo>
                      <a:pt x="32" y="8"/>
                    </a:lnTo>
                    <a:lnTo>
                      <a:pt x="31" y="11"/>
                    </a:lnTo>
                    <a:lnTo>
                      <a:pt x="28" y="15"/>
                    </a:lnTo>
                    <a:lnTo>
                      <a:pt x="23" y="19"/>
                    </a:lnTo>
                    <a:lnTo>
                      <a:pt x="13" y="27"/>
                    </a:lnTo>
                    <a:lnTo>
                      <a:pt x="6" y="30"/>
                    </a:lnTo>
                    <a:lnTo>
                      <a:pt x="0" y="24"/>
                    </a:lnTo>
                    <a:close/>
                  </a:path>
                </a:pathLst>
              </a:custGeom>
              <a:solidFill>
                <a:srgbClr val="FFF1CA"/>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93" name="Freeform 421"/>
              <p:cNvSpPr>
                <a:spLocks/>
              </p:cNvSpPr>
              <p:nvPr/>
            </p:nvSpPr>
            <p:spPr bwMode="auto">
              <a:xfrm>
                <a:off x="2298611" y="4524238"/>
                <a:ext cx="88846" cy="42881"/>
              </a:xfrm>
              <a:custGeom>
                <a:avLst/>
                <a:gdLst>
                  <a:gd name="T0" fmla="*/ 0 w 36"/>
                  <a:gd name="T1" fmla="*/ 7 h 19"/>
                  <a:gd name="T2" fmla="*/ 0 w 36"/>
                  <a:gd name="T3" fmla="*/ 7 h 19"/>
                  <a:gd name="T4" fmla="*/ 6 w 36"/>
                  <a:gd name="T5" fmla="*/ 4 h 19"/>
                  <a:gd name="T6" fmla="*/ 11 w 36"/>
                  <a:gd name="T7" fmla="*/ 2 h 19"/>
                  <a:gd name="T8" fmla="*/ 16 w 36"/>
                  <a:gd name="T9" fmla="*/ 1 h 19"/>
                  <a:gd name="T10" fmla="*/ 22 w 36"/>
                  <a:gd name="T11" fmla="*/ 0 h 19"/>
                  <a:gd name="T12" fmla="*/ 28 w 36"/>
                  <a:gd name="T13" fmla="*/ 1 h 19"/>
                  <a:gd name="T14" fmla="*/ 31 w 36"/>
                  <a:gd name="T15" fmla="*/ 2 h 19"/>
                  <a:gd name="T16" fmla="*/ 33 w 36"/>
                  <a:gd name="T17" fmla="*/ 4 h 19"/>
                  <a:gd name="T18" fmla="*/ 35 w 36"/>
                  <a:gd name="T19" fmla="*/ 7 h 19"/>
                  <a:gd name="T20" fmla="*/ 36 w 36"/>
                  <a:gd name="T21" fmla="*/ 10 h 19"/>
                  <a:gd name="T22" fmla="*/ 36 w 36"/>
                  <a:gd name="T23" fmla="*/ 10 h 19"/>
                  <a:gd name="T24" fmla="*/ 36 w 36"/>
                  <a:gd name="T25" fmla="*/ 13 h 19"/>
                  <a:gd name="T26" fmla="*/ 36 w 36"/>
                  <a:gd name="T27" fmla="*/ 15 h 19"/>
                  <a:gd name="T28" fmla="*/ 34 w 36"/>
                  <a:gd name="T29" fmla="*/ 17 h 19"/>
                  <a:gd name="T30" fmla="*/ 32 w 36"/>
                  <a:gd name="T31" fmla="*/ 18 h 19"/>
                  <a:gd name="T32" fmla="*/ 26 w 36"/>
                  <a:gd name="T33" fmla="*/ 19 h 19"/>
                  <a:gd name="T34" fmla="*/ 20 w 36"/>
                  <a:gd name="T35" fmla="*/ 19 h 19"/>
                  <a:gd name="T36" fmla="*/ 7 w 36"/>
                  <a:gd name="T37" fmla="*/ 16 h 19"/>
                  <a:gd name="T38" fmla="*/ 0 w 36"/>
                  <a:gd name="T39" fmla="*/ 14 h 19"/>
                  <a:gd name="T40" fmla="*/ 0 w 36"/>
                  <a:gd name="T41" fmla="*/ 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19">
                    <a:moveTo>
                      <a:pt x="0" y="7"/>
                    </a:moveTo>
                    <a:lnTo>
                      <a:pt x="0" y="7"/>
                    </a:lnTo>
                    <a:lnTo>
                      <a:pt x="6" y="4"/>
                    </a:lnTo>
                    <a:lnTo>
                      <a:pt x="11" y="2"/>
                    </a:lnTo>
                    <a:lnTo>
                      <a:pt x="16" y="1"/>
                    </a:lnTo>
                    <a:lnTo>
                      <a:pt x="22" y="0"/>
                    </a:lnTo>
                    <a:lnTo>
                      <a:pt x="28" y="1"/>
                    </a:lnTo>
                    <a:lnTo>
                      <a:pt x="31" y="2"/>
                    </a:lnTo>
                    <a:lnTo>
                      <a:pt x="33" y="4"/>
                    </a:lnTo>
                    <a:lnTo>
                      <a:pt x="35" y="7"/>
                    </a:lnTo>
                    <a:lnTo>
                      <a:pt x="36" y="10"/>
                    </a:lnTo>
                    <a:lnTo>
                      <a:pt x="36" y="10"/>
                    </a:lnTo>
                    <a:lnTo>
                      <a:pt x="36" y="13"/>
                    </a:lnTo>
                    <a:lnTo>
                      <a:pt x="36" y="15"/>
                    </a:lnTo>
                    <a:lnTo>
                      <a:pt x="34" y="17"/>
                    </a:lnTo>
                    <a:lnTo>
                      <a:pt x="32" y="18"/>
                    </a:lnTo>
                    <a:lnTo>
                      <a:pt x="26" y="19"/>
                    </a:lnTo>
                    <a:lnTo>
                      <a:pt x="20" y="19"/>
                    </a:lnTo>
                    <a:lnTo>
                      <a:pt x="7" y="16"/>
                    </a:lnTo>
                    <a:lnTo>
                      <a:pt x="0" y="14"/>
                    </a:lnTo>
                    <a:lnTo>
                      <a:pt x="0" y="7"/>
                    </a:lnTo>
                    <a:close/>
                  </a:path>
                </a:pathLst>
              </a:custGeom>
              <a:solidFill>
                <a:srgbClr val="FFF1CA"/>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94" name="Freeform 422"/>
              <p:cNvSpPr>
                <a:spLocks/>
              </p:cNvSpPr>
              <p:nvPr/>
            </p:nvSpPr>
            <p:spPr bwMode="auto">
              <a:xfrm>
                <a:off x="2284332" y="4552824"/>
                <a:ext cx="72981" cy="73055"/>
              </a:xfrm>
              <a:custGeom>
                <a:avLst/>
                <a:gdLst>
                  <a:gd name="T0" fmla="*/ 5 w 30"/>
                  <a:gd name="T1" fmla="*/ 0 h 31"/>
                  <a:gd name="T2" fmla="*/ 5 w 30"/>
                  <a:gd name="T3" fmla="*/ 0 h 31"/>
                  <a:gd name="T4" fmla="*/ 11 w 30"/>
                  <a:gd name="T5" fmla="*/ 2 h 31"/>
                  <a:gd name="T6" fmla="*/ 16 w 30"/>
                  <a:gd name="T7" fmla="*/ 4 h 31"/>
                  <a:gd name="T8" fmla="*/ 21 w 30"/>
                  <a:gd name="T9" fmla="*/ 7 h 31"/>
                  <a:gd name="T10" fmla="*/ 25 w 30"/>
                  <a:gd name="T11" fmla="*/ 11 h 31"/>
                  <a:gd name="T12" fmla="*/ 28 w 30"/>
                  <a:gd name="T13" fmla="*/ 16 h 31"/>
                  <a:gd name="T14" fmla="*/ 29 w 30"/>
                  <a:gd name="T15" fmla="*/ 19 h 31"/>
                  <a:gd name="T16" fmla="*/ 30 w 30"/>
                  <a:gd name="T17" fmla="*/ 22 h 31"/>
                  <a:gd name="T18" fmla="*/ 29 w 30"/>
                  <a:gd name="T19" fmla="*/ 24 h 31"/>
                  <a:gd name="T20" fmla="*/ 28 w 30"/>
                  <a:gd name="T21" fmla="*/ 27 h 31"/>
                  <a:gd name="T22" fmla="*/ 28 w 30"/>
                  <a:gd name="T23" fmla="*/ 27 h 31"/>
                  <a:gd name="T24" fmla="*/ 26 w 30"/>
                  <a:gd name="T25" fmla="*/ 30 h 31"/>
                  <a:gd name="T26" fmla="*/ 24 w 30"/>
                  <a:gd name="T27" fmla="*/ 31 h 31"/>
                  <a:gd name="T28" fmla="*/ 22 w 30"/>
                  <a:gd name="T29" fmla="*/ 31 h 31"/>
                  <a:gd name="T30" fmla="*/ 20 w 30"/>
                  <a:gd name="T31" fmla="*/ 30 h 31"/>
                  <a:gd name="T32" fmla="*/ 15 w 30"/>
                  <a:gd name="T33" fmla="*/ 27 h 31"/>
                  <a:gd name="T34" fmla="*/ 11 w 30"/>
                  <a:gd name="T35" fmla="*/ 23 h 31"/>
                  <a:gd name="T36" fmla="*/ 3 w 30"/>
                  <a:gd name="T37" fmla="*/ 11 h 31"/>
                  <a:gd name="T38" fmla="*/ 0 w 30"/>
                  <a:gd name="T39" fmla="*/ 5 h 31"/>
                  <a:gd name="T40" fmla="*/ 5 w 30"/>
                  <a:gd name="T4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1">
                    <a:moveTo>
                      <a:pt x="5" y="0"/>
                    </a:moveTo>
                    <a:lnTo>
                      <a:pt x="5" y="0"/>
                    </a:lnTo>
                    <a:lnTo>
                      <a:pt x="11" y="2"/>
                    </a:lnTo>
                    <a:lnTo>
                      <a:pt x="16" y="4"/>
                    </a:lnTo>
                    <a:lnTo>
                      <a:pt x="21" y="7"/>
                    </a:lnTo>
                    <a:lnTo>
                      <a:pt x="25" y="11"/>
                    </a:lnTo>
                    <a:lnTo>
                      <a:pt x="28" y="16"/>
                    </a:lnTo>
                    <a:lnTo>
                      <a:pt x="29" y="19"/>
                    </a:lnTo>
                    <a:lnTo>
                      <a:pt x="30" y="22"/>
                    </a:lnTo>
                    <a:lnTo>
                      <a:pt x="29" y="24"/>
                    </a:lnTo>
                    <a:lnTo>
                      <a:pt x="28" y="27"/>
                    </a:lnTo>
                    <a:lnTo>
                      <a:pt x="28" y="27"/>
                    </a:lnTo>
                    <a:lnTo>
                      <a:pt x="26" y="30"/>
                    </a:lnTo>
                    <a:lnTo>
                      <a:pt x="24" y="31"/>
                    </a:lnTo>
                    <a:lnTo>
                      <a:pt x="22" y="31"/>
                    </a:lnTo>
                    <a:lnTo>
                      <a:pt x="20" y="30"/>
                    </a:lnTo>
                    <a:lnTo>
                      <a:pt x="15" y="27"/>
                    </a:lnTo>
                    <a:lnTo>
                      <a:pt x="11" y="23"/>
                    </a:lnTo>
                    <a:lnTo>
                      <a:pt x="3" y="11"/>
                    </a:lnTo>
                    <a:lnTo>
                      <a:pt x="0" y="5"/>
                    </a:lnTo>
                    <a:lnTo>
                      <a:pt x="5" y="0"/>
                    </a:lnTo>
                    <a:close/>
                  </a:path>
                </a:pathLst>
              </a:custGeom>
              <a:solidFill>
                <a:srgbClr val="FFF1CA"/>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95" name="Freeform 423"/>
              <p:cNvSpPr>
                <a:spLocks/>
              </p:cNvSpPr>
              <p:nvPr/>
            </p:nvSpPr>
            <p:spPr bwMode="auto">
              <a:xfrm>
                <a:off x="2262121" y="4560766"/>
                <a:ext cx="44423" cy="87348"/>
              </a:xfrm>
              <a:custGeom>
                <a:avLst/>
                <a:gdLst>
                  <a:gd name="T0" fmla="*/ 13 w 18"/>
                  <a:gd name="T1" fmla="*/ 0 h 36"/>
                  <a:gd name="T2" fmla="*/ 13 w 18"/>
                  <a:gd name="T3" fmla="*/ 0 h 36"/>
                  <a:gd name="T4" fmla="*/ 15 w 18"/>
                  <a:gd name="T5" fmla="*/ 5 h 36"/>
                  <a:gd name="T6" fmla="*/ 16 w 18"/>
                  <a:gd name="T7" fmla="*/ 10 h 36"/>
                  <a:gd name="T8" fmla="*/ 17 w 18"/>
                  <a:gd name="T9" fmla="*/ 17 h 36"/>
                  <a:gd name="T10" fmla="*/ 18 w 18"/>
                  <a:gd name="T11" fmla="*/ 23 h 36"/>
                  <a:gd name="T12" fmla="*/ 17 w 18"/>
                  <a:gd name="T13" fmla="*/ 28 h 36"/>
                  <a:gd name="T14" fmla="*/ 16 w 18"/>
                  <a:gd name="T15" fmla="*/ 31 h 36"/>
                  <a:gd name="T16" fmla="*/ 14 w 18"/>
                  <a:gd name="T17" fmla="*/ 33 h 36"/>
                  <a:gd name="T18" fmla="*/ 12 w 18"/>
                  <a:gd name="T19" fmla="*/ 34 h 36"/>
                  <a:gd name="T20" fmla="*/ 9 w 18"/>
                  <a:gd name="T21" fmla="*/ 35 h 36"/>
                  <a:gd name="T22" fmla="*/ 9 w 18"/>
                  <a:gd name="T23" fmla="*/ 35 h 36"/>
                  <a:gd name="T24" fmla="*/ 6 w 18"/>
                  <a:gd name="T25" fmla="*/ 36 h 36"/>
                  <a:gd name="T26" fmla="*/ 4 w 18"/>
                  <a:gd name="T27" fmla="*/ 35 h 36"/>
                  <a:gd name="T28" fmla="*/ 2 w 18"/>
                  <a:gd name="T29" fmla="*/ 34 h 36"/>
                  <a:gd name="T30" fmla="*/ 1 w 18"/>
                  <a:gd name="T31" fmla="*/ 32 h 36"/>
                  <a:gd name="T32" fmla="*/ 0 w 18"/>
                  <a:gd name="T33" fmla="*/ 26 h 36"/>
                  <a:gd name="T34" fmla="*/ 0 w 18"/>
                  <a:gd name="T35" fmla="*/ 20 h 36"/>
                  <a:gd name="T36" fmla="*/ 3 w 18"/>
                  <a:gd name="T37" fmla="*/ 6 h 36"/>
                  <a:gd name="T38" fmla="*/ 5 w 18"/>
                  <a:gd name="T39" fmla="*/ 1 h 36"/>
                  <a:gd name="T40" fmla="*/ 13 w 18"/>
                  <a:gd name="T4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36">
                    <a:moveTo>
                      <a:pt x="13" y="0"/>
                    </a:moveTo>
                    <a:lnTo>
                      <a:pt x="13" y="0"/>
                    </a:lnTo>
                    <a:lnTo>
                      <a:pt x="15" y="5"/>
                    </a:lnTo>
                    <a:lnTo>
                      <a:pt x="16" y="10"/>
                    </a:lnTo>
                    <a:lnTo>
                      <a:pt x="17" y="17"/>
                    </a:lnTo>
                    <a:lnTo>
                      <a:pt x="18" y="23"/>
                    </a:lnTo>
                    <a:lnTo>
                      <a:pt x="17" y="28"/>
                    </a:lnTo>
                    <a:lnTo>
                      <a:pt x="16" y="31"/>
                    </a:lnTo>
                    <a:lnTo>
                      <a:pt x="14" y="33"/>
                    </a:lnTo>
                    <a:lnTo>
                      <a:pt x="12" y="34"/>
                    </a:lnTo>
                    <a:lnTo>
                      <a:pt x="9" y="35"/>
                    </a:lnTo>
                    <a:lnTo>
                      <a:pt x="9" y="35"/>
                    </a:lnTo>
                    <a:lnTo>
                      <a:pt x="6" y="36"/>
                    </a:lnTo>
                    <a:lnTo>
                      <a:pt x="4" y="35"/>
                    </a:lnTo>
                    <a:lnTo>
                      <a:pt x="2" y="34"/>
                    </a:lnTo>
                    <a:lnTo>
                      <a:pt x="1" y="32"/>
                    </a:lnTo>
                    <a:lnTo>
                      <a:pt x="0" y="26"/>
                    </a:lnTo>
                    <a:lnTo>
                      <a:pt x="0" y="20"/>
                    </a:lnTo>
                    <a:lnTo>
                      <a:pt x="3" y="6"/>
                    </a:lnTo>
                    <a:lnTo>
                      <a:pt x="5" y="1"/>
                    </a:lnTo>
                    <a:lnTo>
                      <a:pt x="13" y="0"/>
                    </a:lnTo>
                    <a:close/>
                  </a:path>
                </a:pathLst>
              </a:custGeom>
              <a:solidFill>
                <a:srgbClr val="FFF1CA"/>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96" name="Freeform 424"/>
              <p:cNvSpPr>
                <a:spLocks/>
              </p:cNvSpPr>
              <p:nvPr/>
            </p:nvSpPr>
            <p:spPr bwMode="auto">
              <a:xfrm>
                <a:off x="2203419" y="4552824"/>
                <a:ext cx="72981" cy="73055"/>
              </a:xfrm>
              <a:custGeom>
                <a:avLst/>
                <a:gdLst>
                  <a:gd name="T0" fmla="*/ 31 w 31"/>
                  <a:gd name="T1" fmla="*/ 6 h 30"/>
                  <a:gd name="T2" fmla="*/ 31 w 31"/>
                  <a:gd name="T3" fmla="*/ 6 h 30"/>
                  <a:gd name="T4" fmla="*/ 29 w 31"/>
                  <a:gd name="T5" fmla="*/ 10 h 30"/>
                  <a:gd name="T6" fmla="*/ 27 w 31"/>
                  <a:gd name="T7" fmla="*/ 15 h 30"/>
                  <a:gd name="T8" fmla="*/ 24 w 31"/>
                  <a:gd name="T9" fmla="*/ 21 h 30"/>
                  <a:gd name="T10" fmla="*/ 20 w 31"/>
                  <a:gd name="T11" fmla="*/ 26 h 30"/>
                  <a:gd name="T12" fmla="*/ 15 w 31"/>
                  <a:gd name="T13" fmla="*/ 29 h 30"/>
                  <a:gd name="T14" fmla="*/ 12 w 31"/>
                  <a:gd name="T15" fmla="*/ 30 h 30"/>
                  <a:gd name="T16" fmla="*/ 9 w 31"/>
                  <a:gd name="T17" fmla="*/ 30 h 30"/>
                  <a:gd name="T18" fmla="*/ 7 w 31"/>
                  <a:gd name="T19" fmla="*/ 29 h 30"/>
                  <a:gd name="T20" fmla="*/ 4 w 31"/>
                  <a:gd name="T21" fmla="*/ 28 h 30"/>
                  <a:gd name="T22" fmla="*/ 4 w 31"/>
                  <a:gd name="T23" fmla="*/ 28 h 30"/>
                  <a:gd name="T24" fmla="*/ 2 w 31"/>
                  <a:gd name="T25" fmla="*/ 26 h 30"/>
                  <a:gd name="T26" fmla="*/ 0 w 31"/>
                  <a:gd name="T27" fmla="*/ 24 h 30"/>
                  <a:gd name="T28" fmla="*/ 0 w 31"/>
                  <a:gd name="T29" fmla="*/ 22 h 30"/>
                  <a:gd name="T30" fmla="*/ 1 w 31"/>
                  <a:gd name="T31" fmla="*/ 20 h 30"/>
                  <a:gd name="T32" fmla="*/ 4 w 31"/>
                  <a:gd name="T33" fmla="*/ 14 h 30"/>
                  <a:gd name="T34" fmla="*/ 9 w 31"/>
                  <a:gd name="T35" fmla="*/ 10 h 30"/>
                  <a:gd name="T36" fmla="*/ 20 w 31"/>
                  <a:gd name="T37" fmla="*/ 3 h 30"/>
                  <a:gd name="T38" fmla="*/ 26 w 31"/>
                  <a:gd name="T39" fmla="*/ 0 h 30"/>
                  <a:gd name="T40" fmla="*/ 31 w 31"/>
                  <a:gd name="T41"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30">
                    <a:moveTo>
                      <a:pt x="31" y="6"/>
                    </a:moveTo>
                    <a:lnTo>
                      <a:pt x="31" y="6"/>
                    </a:lnTo>
                    <a:lnTo>
                      <a:pt x="29" y="10"/>
                    </a:lnTo>
                    <a:lnTo>
                      <a:pt x="27" y="15"/>
                    </a:lnTo>
                    <a:lnTo>
                      <a:pt x="24" y="21"/>
                    </a:lnTo>
                    <a:lnTo>
                      <a:pt x="20" y="26"/>
                    </a:lnTo>
                    <a:lnTo>
                      <a:pt x="15" y="29"/>
                    </a:lnTo>
                    <a:lnTo>
                      <a:pt x="12" y="30"/>
                    </a:lnTo>
                    <a:lnTo>
                      <a:pt x="9" y="30"/>
                    </a:lnTo>
                    <a:lnTo>
                      <a:pt x="7" y="29"/>
                    </a:lnTo>
                    <a:lnTo>
                      <a:pt x="4" y="28"/>
                    </a:lnTo>
                    <a:lnTo>
                      <a:pt x="4" y="28"/>
                    </a:lnTo>
                    <a:lnTo>
                      <a:pt x="2" y="26"/>
                    </a:lnTo>
                    <a:lnTo>
                      <a:pt x="0" y="24"/>
                    </a:lnTo>
                    <a:lnTo>
                      <a:pt x="0" y="22"/>
                    </a:lnTo>
                    <a:lnTo>
                      <a:pt x="1" y="20"/>
                    </a:lnTo>
                    <a:lnTo>
                      <a:pt x="4" y="14"/>
                    </a:lnTo>
                    <a:lnTo>
                      <a:pt x="9" y="10"/>
                    </a:lnTo>
                    <a:lnTo>
                      <a:pt x="20" y="3"/>
                    </a:lnTo>
                    <a:lnTo>
                      <a:pt x="26" y="0"/>
                    </a:lnTo>
                    <a:lnTo>
                      <a:pt x="31" y="6"/>
                    </a:lnTo>
                    <a:close/>
                  </a:path>
                </a:pathLst>
              </a:custGeom>
              <a:solidFill>
                <a:srgbClr val="FFF1CA"/>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97" name="Freeform 425"/>
              <p:cNvSpPr>
                <a:spLocks/>
              </p:cNvSpPr>
              <p:nvPr/>
            </p:nvSpPr>
            <p:spPr bwMode="auto">
              <a:xfrm>
                <a:off x="2181207" y="4524238"/>
                <a:ext cx="88846" cy="42881"/>
              </a:xfrm>
              <a:custGeom>
                <a:avLst/>
                <a:gdLst>
                  <a:gd name="T0" fmla="*/ 36 w 36"/>
                  <a:gd name="T1" fmla="*/ 14 h 19"/>
                  <a:gd name="T2" fmla="*/ 36 w 36"/>
                  <a:gd name="T3" fmla="*/ 14 h 19"/>
                  <a:gd name="T4" fmla="*/ 31 w 36"/>
                  <a:gd name="T5" fmla="*/ 16 h 19"/>
                  <a:gd name="T6" fmla="*/ 25 w 36"/>
                  <a:gd name="T7" fmla="*/ 17 h 19"/>
                  <a:gd name="T8" fmla="*/ 19 w 36"/>
                  <a:gd name="T9" fmla="*/ 19 h 19"/>
                  <a:gd name="T10" fmla="*/ 13 w 36"/>
                  <a:gd name="T11" fmla="*/ 19 h 19"/>
                  <a:gd name="T12" fmla="*/ 8 w 36"/>
                  <a:gd name="T13" fmla="*/ 18 h 19"/>
                  <a:gd name="T14" fmla="*/ 6 w 36"/>
                  <a:gd name="T15" fmla="*/ 17 h 19"/>
                  <a:gd name="T16" fmla="*/ 4 w 36"/>
                  <a:gd name="T17" fmla="*/ 16 h 19"/>
                  <a:gd name="T18" fmla="*/ 1 w 36"/>
                  <a:gd name="T19" fmla="*/ 13 h 19"/>
                  <a:gd name="T20" fmla="*/ 0 w 36"/>
                  <a:gd name="T21" fmla="*/ 10 h 19"/>
                  <a:gd name="T22" fmla="*/ 0 w 36"/>
                  <a:gd name="T23" fmla="*/ 10 h 19"/>
                  <a:gd name="T24" fmla="*/ 0 w 36"/>
                  <a:gd name="T25" fmla="*/ 7 h 19"/>
                  <a:gd name="T26" fmla="*/ 0 w 36"/>
                  <a:gd name="T27" fmla="*/ 5 h 19"/>
                  <a:gd name="T28" fmla="*/ 2 w 36"/>
                  <a:gd name="T29" fmla="*/ 2 h 19"/>
                  <a:gd name="T30" fmla="*/ 4 w 36"/>
                  <a:gd name="T31" fmla="*/ 1 h 19"/>
                  <a:gd name="T32" fmla="*/ 10 w 36"/>
                  <a:gd name="T33" fmla="*/ 0 h 19"/>
                  <a:gd name="T34" fmla="*/ 16 w 36"/>
                  <a:gd name="T35" fmla="*/ 1 h 19"/>
                  <a:gd name="T36" fmla="*/ 30 w 36"/>
                  <a:gd name="T37" fmla="*/ 3 h 19"/>
                  <a:gd name="T38" fmla="*/ 36 w 36"/>
                  <a:gd name="T39" fmla="*/ 6 h 19"/>
                  <a:gd name="T40" fmla="*/ 36 w 36"/>
                  <a:gd name="T41" fmla="*/ 1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19">
                    <a:moveTo>
                      <a:pt x="36" y="14"/>
                    </a:moveTo>
                    <a:lnTo>
                      <a:pt x="36" y="14"/>
                    </a:lnTo>
                    <a:lnTo>
                      <a:pt x="31" y="16"/>
                    </a:lnTo>
                    <a:lnTo>
                      <a:pt x="25" y="17"/>
                    </a:lnTo>
                    <a:lnTo>
                      <a:pt x="19" y="19"/>
                    </a:lnTo>
                    <a:lnTo>
                      <a:pt x="13" y="19"/>
                    </a:lnTo>
                    <a:lnTo>
                      <a:pt x="8" y="18"/>
                    </a:lnTo>
                    <a:lnTo>
                      <a:pt x="6" y="17"/>
                    </a:lnTo>
                    <a:lnTo>
                      <a:pt x="4" y="16"/>
                    </a:lnTo>
                    <a:lnTo>
                      <a:pt x="1" y="13"/>
                    </a:lnTo>
                    <a:lnTo>
                      <a:pt x="0" y="10"/>
                    </a:lnTo>
                    <a:lnTo>
                      <a:pt x="0" y="10"/>
                    </a:lnTo>
                    <a:lnTo>
                      <a:pt x="0" y="7"/>
                    </a:lnTo>
                    <a:lnTo>
                      <a:pt x="0" y="5"/>
                    </a:lnTo>
                    <a:lnTo>
                      <a:pt x="2" y="2"/>
                    </a:lnTo>
                    <a:lnTo>
                      <a:pt x="4" y="1"/>
                    </a:lnTo>
                    <a:lnTo>
                      <a:pt x="10" y="0"/>
                    </a:lnTo>
                    <a:lnTo>
                      <a:pt x="16" y="1"/>
                    </a:lnTo>
                    <a:lnTo>
                      <a:pt x="30" y="3"/>
                    </a:lnTo>
                    <a:lnTo>
                      <a:pt x="36" y="6"/>
                    </a:lnTo>
                    <a:lnTo>
                      <a:pt x="36" y="14"/>
                    </a:lnTo>
                    <a:close/>
                  </a:path>
                </a:pathLst>
              </a:custGeom>
              <a:solidFill>
                <a:srgbClr val="FFF1CA"/>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98" name="Freeform 426"/>
              <p:cNvSpPr>
                <a:spLocks/>
              </p:cNvSpPr>
              <p:nvPr/>
            </p:nvSpPr>
            <p:spPr bwMode="auto">
              <a:xfrm>
                <a:off x="2203419" y="4465476"/>
                <a:ext cx="72981" cy="79408"/>
              </a:xfrm>
              <a:custGeom>
                <a:avLst/>
                <a:gdLst>
                  <a:gd name="T0" fmla="*/ 25 w 30"/>
                  <a:gd name="T1" fmla="*/ 33 h 33"/>
                  <a:gd name="T2" fmla="*/ 25 w 30"/>
                  <a:gd name="T3" fmla="*/ 33 h 33"/>
                  <a:gd name="T4" fmla="*/ 20 w 30"/>
                  <a:gd name="T5" fmla="*/ 31 h 33"/>
                  <a:gd name="T6" fmla="*/ 14 w 30"/>
                  <a:gd name="T7" fmla="*/ 27 h 33"/>
                  <a:gd name="T8" fmla="*/ 9 w 30"/>
                  <a:gd name="T9" fmla="*/ 24 h 33"/>
                  <a:gd name="T10" fmla="*/ 5 w 30"/>
                  <a:gd name="T11" fmla="*/ 20 h 33"/>
                  <a:gd name="T12" fmla="*/ 1 w 30"/>
                  <a:gd name="T13" fmla="*/ 16 h 33"/>
                  <a:gd name="T14" fmla="*/ 0 w 30"/>
                  <a:gd name="T15" fmla="*/ 13 h 33"/>
                  <a:gd name="T16" fmla="*/ 0 w 30"/>
                  <a:gd name="T17" fmla="*/ 11 h 33"/>
                  <a:gd name="T18" fmla="*/ 1 w 30"/>
                  <a:gd name="T19" fmla="*/ 8 h 33"/>
                  <a:gd name="T20" fmla="*/ 2 w 30"/>
                  <a:gd name="T21" fmla="*/ 5 h 33"/>
                  <a:gd name="T22" fmla="*/ 2 w 30"/>
                  <a:gd name="T23" fmla="*/ 5 h 33"/>
                  <a:gd name="T24" fmla="*/ 4 w 30"/>
                  <a:gd name="T25" fmla="*/ 2 h 33"/>
                  <a:gd name="T26" fmla="*/ 6 w 30"/>
                  <a:gd name="T27" fmla="*/ 1 h 33"/>
                  <a:gd name="T28" fmla="*/ 8 w 30"/>
                  <a:gd name="T29" fmla="*/ 0 h 33"/>
                  <a:gd name="T30" fmla="*/ 10 w 30"/>
                  <a:gd name="T31" fmla="*/ 1 h 33"/>
                  <a:gd name="T32" fmla="*/ 15 w 30"/>
                  <a:gd name="T33" fmla="*/ 5 h 33"/>
                  <a:gd name="T34" fmla="*/ 20 w 30"/>
                  <a:gd name="T35" fmla="*/ 10 h 33"/>
                  <a:gd name="T36" fmla="*/ 27 w 30"/>
                  <a:gd name="T37" fmla="*/ 21 h 33"/>
                  <a:gd name="T38" fmla="*/ 30 w 30"/>
                  <a:gd name="T39" fmla="*/ 26 h 33"/>
                  <a:gd name="T40" fmla="*/ 25 w 30"/>
                  <a:gd name="T41"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3">
                    <a:moveTo>
                      <a:pt x="25" y="33"/>
                    </a:moveTo>
                    <a:lnTo>
                      <a:pt x="25" y="33"/>
                    </a:lnTo>
                    <a:lnTo>
                      <a:pt x="20" y="31"/>
                    </a:lnTo>
                    <a:lnTo>
                      <a:pt x="14" y="27"/>
                    </a:lnTo>
                    <a:lnTo>
                      <a:pt x="9" y="24"/>
                    </a:lnTo>
                    <a:lnTo>
                      <a:pt x="5" y="20"/>
                    </a:lnTo>
                    <a:lnTo>
                      <a:pt x="1" y="16"/>
                    </a:lnTo>
                    <a:lnTo>
                      <a:pt x="0" y="13"/>
                    </a:lnTo>
                    <a:lnTo>
                      <a:pt x="0" y="11"/>
                    </a:lnTo>
                    <a:lnTo>
                      <a:pt x="1" y="8"/>
                    </a:lnTo>
                    <a:lnTo>
                      <a:pt x="2" y="5"/>
                    </a:lnTo>
                    <a:lnTo>
                      <a:pt x="2" y="5"/>
                    </a:lnTo>
                    <a:lnTo>
                      <a:pt x="4" y="2"/>
                    </a:lnTo>
                    <a:lnTo>
                      <a:pt x="6" y="1"/>
                    </a:lnTo>
                    <a:lnTo>
                      <a:pt x="8" y="0"/>
                    </a:lnTo>
                    <a:lnTo>
                      <a:pt x="10" y="1"/>
                    </a:lnTo>
                    <a:lnTo>
                      <a:pt x="15" y="5"/>
                    </a:lnTo>
                    <a:lnTo>
                      <a:pt x="20" y="10"/>
                    </a:lnTo>
                    <a:lnTo>
                      <a:pt x="27" y="21"/>
                    </a:lnTo>
                    <a:lnTo>
                      <a:pt x="30" y="26"/>
                    </a:lnTo>
                    <a:lnTo>
                      <a:pt x="25" y="33"/>
                    </a:lnTo>
                    <a:close/>
                  </a:path>
                </a:pathLst>
              </a:custGeom>
              <a:solidFill>
                <a:srgbClr val="FFF1CA"/>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sp>
            <p:nvSpPr>
              <p:cNvPr id="199" name="Freeform 427"/>
              <p:cNvSpPr>
                <a:spLocks/>
              </p:cNvSpPr>
              <p:nvPr/>
            </p:nvSpPr>
            <p:spPr bwMode="auto">
              <a:xfrm>
                <a:off x="2239909" y="4502003"/>
                <a:ext cx="88846" cy="87349"/>
              </a:xfrm>
              <a:custGeom>
                <a:avLst/>
                <a:gdLst>
                  <a:gd name="T0" fmla="*/ 35 w 35"/>
                  <a:gd name="T1" fmla="*/ 18 h 35"/>
                  <a:gd name="T2" fmla="*/ 35 w 35"/>
                  <a:gd name="T3" fmla="*/ 18 h 35"/>
                  <a:gd name="T4" fmla="*/ 35 w 35"/>
                  <a:gd name="T5" fmla="*/ 21 h 35"/>
                  <a:gd name="T6" fmla="*/ 34 w 35"/>
                  <a:gd name="T7" fmla="*/ 24 h 35"/>
                  <a:gd name="T8" fmla="*/ 32 w 35"/>
                  <a:gd name="T9" fmla="*/ 27 h 35"/>
                  <a:gd name="T10" fmla="*/ 30 w 35"/>
                  <a:gd name="T11" fmla="*/ 30 h 35"/>
                  <a:gd name="T12" fmla="*/ 27 w 35"/>
                  <a:gd name="T13" fmla="*/ 32 h 35"/>
                  <a:gd name="T14" fmla="*/ 24 w 35"/>
                  <a:gd name="T15" fmla="*/ 33 h 35"/>
                  <a:gd name="T16" fmla="*/ 21 w 35"/>
                  <a:gd name="T17" fmla="*/ 34 h 35"/>
                  <a:gd name="T18" fmla="*/ 17 w 35"/>
                  <a:gd name="T19" fmla="*/ 35 h 35"/>
                  <a:gd name="T20" fmla="*/ 17 w 35"/>
                  <a:gd name="T21" fmla="*/ 35 h 35"/>
                  <a:gd name="T22" fmla="*/ 14 w 35"/>
                  <a:gd name="T23" fmla="*/ 34 h 35"/>
                  <a:gd name="T24" fmla="*/ 11 w 35"/>
                  <a:gd name="T25" fmla="*/ 33 h 35"/>
                  <a:gd name="T26" fmla="*/ 8 w 35"/>
                  <a:gd name="T27" fmla="*/ 32 h 35"/>
                  <a:gd name="T28" fmla="*/ 6 w 35"/>
                  <a:gd name="T29" fmla="*/ 30 h 35"/>
                  <a:gd name="T30" fmla="*/ 2 w 35"/>
                  <a:gd name="T31" fmla="*/ 27 h 35"/>
                  <a:gd name="T32" fmla="*/ 1 w 35"/>
                  <a:gd name="T33" fmla="*/ 24 h 35"/>
                  <a:gd name="T34" fmla="*/ 0 w 35"/>
                  <a:gd name="T35" fmla="*/ 21 h 35"/>
                  <a:gd name="T36" fmla="*/ 0 w 35"/>
                  <a:gd name="T37" fmla="*/ 18 h 35"/>
                  <a:gd name="T38" fmla="*/ 0 w 35"/>
                  <a:gd name="T39" fmla="*/ 18 h 35"/>
                  <a:gd name="T40" fmla="*/ 0 w 35"/>
                  <a:gd name="T41" fmla="*/ 14 h 35"/>
                  <a:gd name="T42" fmla="*/ 1 w 35"/>
                  <a:gd name="T43" fmla="*/ 10 h 35"/>
                  <a:gd name="T44" fmla="*/ 2 w 35"/>
                  <a:gd name="T45" fmla="*/ 7 h 35"/>
                  <a:gd name="T46" fmla="*/ 6 w 35"/>
                  <a:gd name="T47" fmla="*/ 5 h 35"/>
                  <a:gd name="T48" fmla="*/ 8 w 35"/>
                  <a:gd name="T49" fmla="*/ 3 h 35"/>
                  <a:gd name="T50" fmla="*/ 11 w 35"/>
                  <a:gd name="T51" fmla="*/ 1 h 35"/>
                  <a:gd name="T52" fmla="*/ 14 w 35"/>
                  <a:gd name="T53" fmla="*/ 0 h 35"/>
                  <a:gd name="T54" fmla="*/ 17 w 35"/>
                  <a:gd name="T55" fmla="*/ 0 h 35"/>
                  <a:gd name="T56" fmla="*/ 17 w 35"/>
                  <a:gd name="T57" fmla="*/ 0 h 35"/>
                  <a:gd name="T58" fmla="*/ 21 w 35"/>
                  <a:gd name="T59" fmla="*/ 0 h 35"/>
                  <a:gd name="T60" fmla="*/ 24 w 35"/>
                  <a:gd name="T61" fmla="*/ 1 h 35"/>
                  <a:gd name="T62" fmla="*/ 27 w 35"/>
                  <a:gd name="T63" fmla="*/ 3 h 35"/>
                  <a:gd name="T64" fmla="*/ 30 w 35"/>
                  <a:gd name="T65" fmla="*/ 5 h 35"/>
                  <a:gd name="T66" fmla="*/ 32 w 35"/>
                  <a:gd name="T67" fmla="*/ 7 h 35"/>
                  <a:gd name="T68" fmla="*/ 34 w 35"/>
                  <a:gd name="T69" fmla="*/ 10 h 35"/>
                  <a:gd name="T70" fmla="*/ 35 w 35"/>
                  <a:gd name="T71" fmla="*/ 14 h 35"/>
                  <a:gd name="T72" fmla="*/ 35 w 35"/>
                  <a:gd name="T73" fmla="*/ 18 h 35"/>
                  <a:gd name="T74" fmla="*/ 35 w 35"/>
                  <a:gd name="T75"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5" h="35">
                    <a:moveTo>
                      <a:pt x="35" y="18"/>
                    </a:moveTo>
                    <a:lnTo>
                      <a:pt x="35" y="18"/>
                    </a:lnTo>
                    <a:lnTo>
                      <a:pt x="35" y="21"/>
                    </a:lnTo>
                    <a:lnTo>
                      <a:pt x="34" y="24"/>
                    </a:lnTo>
                    <a:lnTo>
                      <a:pt x="32" y="27"/>
                    </a:lnTo>
                    <a:lnTo>
                      <a:pt x="30" y="30"/>
                    </a:lnTo>
                    <a:lnTo>
                      <a:pt x="27" y="32"/>
                    </a:lnTo>
                    <a:lnTo>
                      <a:pt x="24" y="33"/>
                    </a:lnTo>
                    <a:lnTo>
                      <a:pt x="21" y="34"/>
                    </a:lnTo>
                    <a:lnTo>
                      <a:pt x="17" y="35"/>
                    </a:lnTo>
                    <a:lnTo>
                      <a:pt x="17" y="35"/>
                    </a:lnTo>
                    <a:lnTo>
                      <a:pt x="14" y="34"/>
                    </a:lnTo>
                    <a:lnTo>
                      <a:pt x="11" y="33"/>
                    </a:lnTo>
                    <a:lnTo>
                      <a:pt x="8" y="32"/>
                    </a:lnTo>
                    <a:lnTo>
                      <a:pt x="6" y="30"/>
                    </a:lnTo>
                    <a:lnTo>
                      <a:pt x="2" y="27"/>
                    </a:lnTo>
                    <a:lnTo>
                      <a:pt x="1" y="24"/>
                    </a:lnTo>
                    <a:lnTo>
                      <a:pt x="0" y="21"/>
                    </a:lnTo>
                    <a:lnTo>
                      <a:pt x="0" y="18"/>
                    </a:lnTo>
                    <a:lnTo>
                      <a:pt x="0" y="18"/>
                    </a:lnTo>
                    <a:lnTo>
                      <a:pt x="0" y="14"/>
                    </a:lnTo>
                    <a:lnTo>
                      <a:pt x="1" y="10"/>
                    </a:lnTo>
                    <a:lnTo>
                      <a:pt x="2" y="7"/>
                    </a:lnTo>
                    <a:lnTo>
                      <a:pt x="6" y="5"/>
                    </a:lnTo>
                    <a:lnTo>
                      <a:pt x="8" y="3"/>
                    </a:lnTo>
                    <a:lnTo>
                      <a:pt x="11" y="1"/>
                    </a:lnTo>
                    <a:lnTo>
                      <a:pt x="14" y="0"/>
                    </a:lnTo>
                    <a:lnTo>
                      <a:pt x="17" y="0"/>
                    </a:lnTo>
                    <a:lnTo>
                      <a:pt x="17" y="0"/>
                    </a:lnTo>
                    <a:lnTo>
                      <a:pt x="21" y="0"/>
                    </a:lnTo>
                    <a:lnTo>
                      <a:pt x="24" y="1"/>
                    </a:lnTo>
                    <a:lnTo>
                      <a:pt x="27" y="3"/>
                    </a:lnTo>
                    <a:lnTo>
                      <a:pt x="30" y="5"/>
                    </a:lnTo>
                    <a:lnTo>
                      <a:pt x="32" y="7"/>
                    </a:lnTo>
                    <a:lnTo>
                      <a:pt x="34" y="10"/>
                    </a:lnTo>
                    <a:lnTo>
                      <a:pt x="35" y="14"/>
                    </a:lnTo>
                    <a:lnTo>
                      <a:pt x="35" y="18"/>
                    </a:lnTo>
                    <a:lnTo>
                      <a:pt x="35" y="18"/>
                    </a:lnTo>
                    <a:close/>
                  </a:path>
                </a:pathLst>
              </a:custGeom>
              <a:solidFill>
                <a:srgbClr val="EAB844"/>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eaLnBrk="1" fontAlgn="auto" hangingPunct="1">
                  <a:spcBef>
                    <a:spcPts val="0"/>
                  </a:spcBef>
                  <a:spcAft>
                    <a:spcPts val="0"/>
                  </a:spcAft>
                  <a:defRPr/>
                </a:pPr>
                <a:endParaRPr lang="en-US" sz="1013">
                  <a:latin typeface="+mn-lt"/>
                </a:endParaRPr>
              </a:p>
            </p:txBody>
          </p:sp>
        </p:grpSp>
      </p:grpSp>
      <p:grpSp>
        <p:nvGrpSpPr>
          <p:cNvPr id="19" name="Group 18"/>
          <p:cNvGrpSpPr>
            <a:grpSpLocks/>
          </p:cNvGrpSpPr>
          <p:nvPr/>
        </p:nvGrpSpPr>
        <p:grpSpPr bwMode="auto">
          <a:xfrm>
            <a:off x="5014502" y="2516325"/>
            <a:ext cx="6694898" cy="2589776"/>
            <a:chOff x="4980145" y="2516376"/>
            <a:chExt cx="3767891" cy="2589957"/>
          </a:xfrm>
        </p:grpSpPr>
        <p:sp>
          <p:nvSpPr>
            <p:cNvPr id="4" name="Rectangle 3"/>
            <p:cNvSpPr/>
            <p:nvPr/>
          </p:nvSpPr>
          <p:spPr>
            <a:xfrm>
              <a:off x="4981791" y="2516376"/>
              <a:ext cx="2994949" cy="707935"/>
            </a:xfrm>
            <a:prstGeom prst="rect">
              <a:avLst/>
            </a:prstGeom>
            <a:noFill/>
          </p:spPr>
          <p:txBody>
            <a:bodyPr>
              <a:spAutoFit/>
            </a:bodyPr>
            <a:lstStyle/>
            <a:p>
              <a:pPr eaLnBrk="1" fontAlgn="auto" hangingPunct="1">
                <a:spcBef>
                  <a:spcPts val="0"/>
                </a:spcBef>
                <a:spcAft>
                  <a:spcPts val="0"/>
                </a:spcAft>
              </a:pPr>
              <a:r>
                <a:rPr lang="id-ID" sz="4000" b="1" spc="-150" dirty="0">
                  <a:solidFill>
                    <a:srgbClr val="FFFF00"/>
                  </a:solidFill>
                  <a:latin typeface="Open Sans Light" panose="020B0306030504020204" pitchFamily="34" charset="0"/>
                  <a:ea typeface="Open Sans Light" panose="020B0306030504020204" pitchFamily="34" charset="0"/>
                  <a:cs typeface="Open Sans Light" panose="020B0306030504020204" pitchFamily="34" charset="0"/>
                </a:rPr>
                <a:t>tugas</a:t>
              </a:r>
            </a:p>
          </p:txBody>
        </p:sp>
        <p:sp>
          <p:nvSpPr>
            <p:cNvPr id="32" name="Rectangle 31"/>
            <p:cNvSpPr/>
            <p:nvPr/>
          </p:nvSpPr>
          <p:spPr>
            <a:xfrm>
              <a:off x="4980145" y="3522785"/>
              <a:ext cx="3767891" cy="1077293"/>
            </a:xfrm>
            <a:prstGeom prst="rect">
              <a:avLst/>
            </a:prstGeom>
            <a:noFill/>
          </p:spPr>
          <p:txBody>
            <a:bodyPr>
              <a:spAutoFit/>
            </a:bodyPr>
            <a:lstStyle/>
            <a:p>
              <a:pPr eaLnBrk="1" fontAlgn="auto" hangingPunct="1">
                <a:spcBef>
                  <a:spcPts val="0"/>
                </a:spcBef>
                <a:spcAft>
                  <a:spcPts val="0"/>
                </a:spcAft>
              </a:pPr>
              <a:r>
                <a:rPr lang="en-US" sz="3200" b="1" spc="-150" noProof="1">
                  <a:solidFill>
                    <a:schemeClr val="bg1">
                      <a:lumMod val="95000"/>
                    </a:schemeClr>
                  </a:solidFill>
                  <a:latin typeface="Open Sans Light" panose="020B0306030504020204" pitchFamily="34" charset="0"/>
                  <a:ea typeface="Open Sans Light" panose="020B0306030504020204" pitchFamily="34" charset="0"/>
                  <a:cs typeface="Open Sans Light" panose="020B0306030504020204" pitchFamily="34" charset="0"/>
                </a:rPr>
                <a:t>Buat BMC untuk bisnis yang telah anda rencanakan</a:t>
              </a:r>
            </a:p>
          </p:txBody>
        </p:sp>
        <p:sp>
          <p:nvSpPr>
            <p:cNvPr id="214" name="Freeform 47"/>
            <p:cNvSpPr>
              <a:spLocks/>
            </p:cNvSpPr>
            <p:nvPr/>
          </p:nvSpPr>
          <p:spPr bwMode="auto">
            <a:xfrm>
              <a:off x="6331314" y="5105025"/>
              <a:ext cx="1307" cy="1308"/>
            </a:xfrm>
            <a:custGeom>
              <a:avLst/>
              <a:gdLst>
                <a:gd name="T0" fmla="*/ 2 w 2"/>
                <a:gd name="T1" fmla="*/ 2 h 2"/>
                <a:gd name="T2" fmla="*/ 2 w 2"/>
                <a:gd name="T3" fmla="*/ 0 h 2"/>
                <a:gd name="T4" fmla="*/ 2 w 2"/>
                <a:gd name="T5" fmla="*/ 0 h 2"/>
                <a:gd name="T6" fmla="*/ 0 w 2"/>
                <a:gd name="T7" fmla="*/ 2 h 2"/>
                <a:gd name="T8" fmla="*/ 2 w 2"/>
                <a:gd name="T9" fmla="*/ 2 h 2"/>
              </a:gdLst>
              <a:ahLst/>
              <a:cxnLst>
                <a:cxn ang="0">
                  <a:pos x="T0" y="T1"/>
                </a:cxn>
                <a:cxn ang="0">
                  <a:pos x="T2" y="T3"/>
                </a:cxn>
                <a:cxn ang="0">
                  <a:pos x="T4" y="T5"/>
                </a:cxn>
                <a:cxn ang="0">
                  <a:pos x="T6" y="T7"/>
                </a:cxn>
                <a:cxn ang="0">
                  <a:pos x="T8" y="T9"/>
                </a:cxn>
              </a:cxnLst>
              <a:rect l="0" t="0" r="r" b="b"/>
              <a:pathLst>
                <a:path w="2" h="2">
                  <a:moveTo>
                    <a:pt x="2" y="2"/>
                  </a:moveTo>
                  <a:lnTo>
                    <a:pt x="2" y="0"/>
                  </a:lnTo>
                  <a:lnTo>
                    <a:pt x="2" y="0"/>
                  </a:lnTo>
                  <a:lnTo>
                    <a:pt x="0" y="2"/>
                  </a:lnTo>
                  <a:lnTo>
                    <a:pt x="2" y="2"/>
                  </a:ln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eaLnBrk="1" fontAlgn="auto" hangingPunct="1">
                <a:spcBef>
                  <a:spcPts val="0"/>
                </a:spcBef>
                <a:spcAft>
                  <a:spcPts val="0"/>
                </a:spcAft>
                <a:defRPr/>
              </a:pPr>
              <a:endParaRPr lang="en-US">
                <a:solidFill>
                  <a:schemeClr val="bg1">
                    <a:lumMod val="95000"/>
                  </a:schemeClr>
                </a:solidFill>
                <a:latin typeface="+mn-lt"/>
              </a:endParaRPr>
            </a:p>
          </p:txBody>
        </p:sp>
      </p:grpSp>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1"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0-#ppt_h/2"/>
                                          </p:val>
                                        </p:tav>
                                        <p:tav tm="100000">
                                          <p:val>
                                            <p:strVal val="#ppt_y"/>
                                          </p:val>
                                        </p:tav>
                                      </p:tavLst>
                                    </p:anim>
                                  </p:childTnLst>
                                </p:cTn>
                              </p:par>
                            </p:childTnLst>
                          </p:cTn>
                        </p:par>
                        <p:par>
                          <p:cTn id="9" fill="hold" nodeType="afterGroup">
                            <p:stCondLst>
                              <p:cond delay="500"/>
                            </p:stCondLst>
                            <p:childTnLst>
                              <p:par>
                                <p:cTn id="10" presetID="2" presetClass="entr" presetSubtype="1" fill="hold" nodeType="afterEffect">
                                  <p:stCondLst>
                                    <p:cond delay="0"/>
                                  </p:stCondLst>
                                  <p:childTnLst>
                                    <p:set>
                                      <p:cBhvr>
                                        <p:cTn id="11" dur="1" fill="hold">
                                          <p:stCondLst>
                                            <p:cond delay="0"/>
                                          </p:stCondLst>
                                        </p:cTn>
                                        <p:tgtEl>
                                          <p:spTgt spid="219"/>
                                        </p:tgtEl>
                                        <p:attrNameLst>
                                          <p:attrName>style.visibility</p:attrName>
                                        </p:attrNameLst>
                                      </p:cBhvr>
                                      <p:to>
                                        <p:strVal val="visible"/>
                                      </p:to>
                                    </p:set>
                                    <p:anim calcmode="lin" valueType="num">
                                      <p:cBhvr additive="base">
                                        <p:cTn id="12" dur="500" fill="hold"/>
                                        <p:tgtEl>
                                          <p:spTgt spid="219"/>
                                        </p:tgtEl>
                                        <p:attrNameLst>
                                          <p:attrName>ppt_x</p:attrName>
                                        </p:attrNameLst>
                                      </p:cBhvr>
                                      <p:tavLst>
                                        <p:tav tm="0">
                                          <p:val>
                                            <p:strVal val="#ppt_x"/>
                                          </p:val>
                                        </p:tav>
                                        <p:tav tm="100000">
                                          <p:val>
                                            <p:strVal val="#ppt_x"/>
                                          </p:val>
                                        </p:tav>
                                      </p:tavLst>
                                    </p:anim>
                                    <p:anim calcmode="lin" valueType="num">
                                      <p:cBhvr additive="base">
                                        <p:cTn id="13" dur="500" fill="hold"/>
                                        <p:tgtEl>
                                          <p:spTgt spid="219"/>
                                        </p:tgtEl>
                                        <p:attrNameLst>
                                          <p:attrName>ppt_y</p:attrName>
                                        </p:attrNameLst>
                                      </p:cBhvr>
                                      <p:tavLst>
                                        <p:tav tm="0">
                                          <p:val>
                                            <p:strVal val="0-#ppt_h/2"/>
                                          </p:val>
                                        </p:tav>
                                        <p:tav tm="100000">
                                          <p:val>
                                            <p:strVal val="#ppt_y"/>
                                          </p:val>
                                        </p:tav>
                                      </p:tavLst>
                                    </p:anim>
                                  </p:childTnLst>
                                </p:cTn>
                              </p:par>
                            </p:childTnLst>
                          </p:cTn>
                        </p:par>
                        <p:par>
                          <p:cTn id="14" fill="hold" nodeType="afterGroup">
                            <p:stCondLst>
                              <p:cond delay="1000"/>
                            </p:stCondLst>
                            <p:childTnLst>
                              <p:par>
                                <p:cTn id="15" presetID="2" presetClass="entr" presetSubtype="1" fill="hold" nodeType="afterEffect">
                                  <p:stCondLst>
                                    <p:cond delay="0"/>
                                  </p:stCondLst>
                                  <p:childTnLst>
                                    <p:set>
                                      <p:cBhvr>
                                        <p:cTn id="16" dur="1" fill="hold">
                                          <p:stCondLst>
                                            <p:cond delay="0"/>
                                          </p:stCondLst>
                                        </p:cTn>
                                        <p:tgtEl>
                                          <p:spTgt spid="10"/>
                                        </p:tgtEl>
                                        <p:attrNameLst>
                                          <p:attrName>style.visibility</p:attrName>
                                        </p:attrNameLst>
                                      </p:cBhvr>
                                      <p:to>
                                        <p:strVal val="visible"/>
                                      </p:to>
                                    </p:set>
                                    <p:anim calcmode="lin" valueType="num">
                                      <p:cBhvr additive="base">
                                        <p:cTn id="17" dur="500" fill="hold"/>
                                        <p:tgtEl>
                                          <p:spTgt spid="10"/>
                                        </p:tgtEl>
                                        <p:attrNameLst>
                                          <p:attrName>ppt_x</p:attrName>
                                        </p:attrNameLst>
                                      </p:cBhvr>
                                      <p:tavLst>
                                        <p:tav tm="0">
                                          <p:val>
                                            <p:strVal val="#ppt_x"/>
                                          </p:val>
                                        </p:tav>
                                        <p:tav tm="100000">
                                          <p:val>
                                            <p:strVal val="#ppt_x"/>
                                          </p:val>
                                        </p:tav>
                                      </p:tavLst>
                                    </p:anim>
                                    <p:anim calcmode="lin" valueType="num">
                                      <p:cBhvr additive="base">
                                        <p:cTn id="18" dur="500" fill="hold"/>
                                        <p:tgtEl>
                                          <p:spTgt spid="10"/>
                                        </p:tgtEl>
                                        <p:attrNameLst>
                                          <p:attrName>ppt_y</p:attrName>
                                        </p:attrNameLst>
                                      </p:cBhvr>
                                      <p:tavLst>
                                        <p:tav tm="0">
                                          <p:val>
                                            <p:strVal val="0-#ppt_h/2"/>
                                          </p:val>
                                        </p:tav>
                                        <p:tav tm="100000">
                                          <p:val>
                                            <p:strVal val="#ppt_y"/>
                                          </p:val>
                                        </p:tav>
                                      </p:tavLst>
                                    </p:anim>
                                  </p:childTnLst>
                                </p:cTn>
                              </p:par>
                            </p:childTnLst>
                          </p:cTn>
                        </p:par>
                        <p:par>
                          <p:cTn id="19" fill="hold" nodeType="afterGroup">
                            <p:stCondLst>
                              <p:cond delay="1500"/>
                            </p:stCondLst>
                            <p:childTnLst>
                              <p:par>
                                <p:cTn id="20" presetID="2" presetClass="entr" presetSubtype="1" fill="hold" nodeType="afterEffect">
                                  <p:stCondLst>
                                    <p:cond delay="0"/>
                                  </p:stCondLst>
                                  <p:childTnLst>
                                    <p:set>
                                      <p:cBhvr>
                                        <p:cTn id="21" dur="1" fill="hold">
                                          <p:stCondLst>
                                            <p:cond delay="0"/>
                                          </p:stCondLst>
                                        </p:cTn>
                                        <p:tgtEl>
                                          <p:spTgt spid="11"/>
                                        </p:tgtEl>
                                        <p:attrNameLst>
                                          <p:attrName>style.visibility</p:attrName>
                                        </p:attrNameLst>
                                      </p:cBhvr>
                                      <p:to>
                                        <p:strVal val="visible"/>
                                      </p:to>
                                    </p:set>
                                    <p:anim calcmode="lin" valueType="num">
                                      <p:cBhvr additive="base">
                                        <p:cTn id="22" dur="500" fill="hold"/>
                                        <p:tgtEl>
                                          <p:spTgt spid="11"/>
                                        </p:tgtEl>
                                        <p:attrNameLst>
                                          <p:attrName>ppt_x</p:attrName>
                                        </p:attrNameLst>
                                      </p:cBhvr>
                                      <p:tavLst>
                                        <p:tav tm="0">
                                          <p:val>
                                            <p:strVal val="#ppt_x"/>
                                          </p:val>
                                        </p:tav>
                                        <p:tav tm="100000">
                                          <p:val>
                                            <p:strVal val="#ppt_x"/>
                                          </p:val>
                                        </p:tav>
                                      </p:tavLst>
                                    </p:anim>
                                    <p:anim calcmode="lin" valueType="num">
                                      <p:cBhvr additive="base">
                                        <p:cTn id="23" dur="500" fill="hold"/>
                                        <p:tgtEl>
                                          <p:spTgt spid="11"/>
                                        </p:tgtEl>
                                        <p:attrNameLst>
                                          <p:attrName>ppt_y</p:attrName>
                                        </p:attrNameLst>
                                      </p:cBhvr>
                                      <p:tavLst>
                                        <p:tav tm="0">
                                          <p:val>
                                            <p:strVal val="0-#ppt_h/2"/>
                                          </p:val>
                                        </p:tav>
                                        <p:tav tm="100000">
                                          <p:val>
                                            <p:strVal val="#ppt_y"/>
                                          </p:val>
                                        </p:tav>
                                      </p:tavLst>
                                    </p:anim>
                                  </p:childTnLst>
                                </p:cTn>
                              </p:par>
                            </p:childTnLst>
                          </p:cTn>
                        </p:par>
                        <p:par>
                          <p:cTn id="24" fill="hold" nodeType="afterGroup">
                            <p:stCondLst>
                              <p:cond delay="2000"/>
                            </p:stCondLst>
                            <p:childTnLst>
                              <p:par>
                                <p:cTn id="25" presetID="2" presetClass="entr" presetSubtype="1" fill="hold" nodeType="afterEffect">
                                  <p:stCondLst>
                                    <p:cond delay="0"/>
                                  </p:stCondLst>
                                  <p:childTnLst>
                                    <p:set>
                                      <p:cBhvr>
                                        <p:cTn id="26" dur="1" fill="hold">
                                          <p:stCondLst>
                                            <p:cond delay="0"/>
                                          </p:stCondLst>
                                        </p:cTn>
                                        <p:tgtEl>
                                          <p:spTgt spid="5"/>
                                        </p:tgtEl>
                                        <p:attrNameLst>
                                          <p:attrName>style.visibility</p:attrName>
                                        </p:attrNameLst>
                                      </p:cBhvr>
                                      <p:to>
                                        <p:strVal val="visible"/>
                                      </p:to>
                                    </p:set>
                                    <p:anim calcmode="lin" valueType="num">
                                      <p:cBhvr additive="base">
                                        <p:cTn id="27" dur="500" fill="hold"/>
                                        <p:tgtEl>
                                          <p:spTgt spid="5"/>
                                        </p:tgtEl>
                                        <p:attrNameLst>
                                          <p:attrName>ppt_x</p:attrName>
                                        </p:attrNameLst>
                                      </p:cBhvr>
                                      <p:tavLst>
                                        <p:tav tm="0">
                                          <p:val>
                                            <p:strVal val="#ppt_x"/>
                                          </p:val>
                                        </p:tav>
                                        <p:tav tm="100000">
                                          <p:val>
                                            <p:strVal val="#ppt_x"/>
                                          </p:val>
                                        </p:tav>
                                      </p:tavLst>
                                    </p:anim>
                                    <p:anim calcmode="lin" valueType="num">
                                      <p:cBhvr additive="base">
                                        <p:cTn id="28" dur="500" fill="hold"/>
                                        <p:tgtEl>
                                          <p:spTgt spid="5"/>
                                        </p:tgtEl>
                                        <p:attrNameLst>
                                          <p:attrName>ppt_y</p:attrName>
                                        </p:attrNameLst>
                                      </p:cBhvr>
                                      <p:tavLst>
                                        <p:tav tm="0">
                                          <p:val>
                                            <p:strVal val="0-#ppt_h/2"/>
                                          </p:val>
                                        </p:tav>
                                        <p:tav tm="100000">
                                          <p:val>
                                            <p:strVal val="#ppt_y"/>
                                          </p:val>
                                        </p:tav>
                                      </p:tavLst>
                                    </p:anim>
                                  </p:childTnLst>
                                </p:cTn>
                              </p:par>
                            </p:childTnLst>
                          </p:cTn>
                        </p:par>
                        <p:par>
                          <p:cTn id="29" fill="hold" nodeType="afterGroup">
                            <p:stCondLst>
                              <p:cond delay="2500"/>
                            </p:stCondLst>
                            <p:childTnLst>
                              <p:par>
                                <p:cTn id="30" presetID="2" presetClass="entr" presetSubtype="1" fill="hold" nodeType="afterEffect">
                                  <p:stCondLst>
                                    <p:cond delay="0"/>
                                  </p:stCondLst>
                                  <p:childTnLst>
                                    <p:set>
                                      <p:cBhvr>
                                        <p:cTn id="31" dur="1" fill="hold">
                                          <p:stCondLst>
                                            <p:cond delay="0"/>
                                          </p:stCondLst>
                                        </p:cTn>
                                        <p:tgtEl>
                                          <p:spTgt spid="8"/>
                                        </p:tgtEl>
                                        <p:attrNameLst>
                                          <p:attrName>style.visibility</p:attrName>
                                        </p:attrNameLst>
                                      </p:cBhvr>
                                      <p:to>
                                        <p:strVal val="visible"/>
                                      </p:to>
                                    </p:set>
                                    <p:anim calcmode="lin" valueType="num">
                                      <p:cBhvr additive="base">
                                        <p:cTn id="32" dur="500" fill="hold"/>
                                        <p:tgtEl>
                                          <p:spTgt spid="8"/>
                                        </p:tgtEl>
                                        <p:attrNameLst>
                                          <p:attrName>ppt_x</p:attrName>
                                        </p:attrNameLst>
                                      </p:cBhvr>
                                      <p:tavLst>
                                        <p:tav tm="0">
                                          <p:val>
                                            <p:strVal val="#ppt_x"/>
                                          </p:val>
                                        </p:tav>
                                        <p:tav tm="100000">
                                          <p:val>
                                            <p:strVal val="#ppt_x"/>
                                          </p:val>
                                        </p:tav>
                                      </p:tavLst>
                                    </p:anim>
                                    <p:anim calcmode="lin" valueType="num">
                                      <p:cBhvr additive="base">
                                        <p:cTn id="33" dur="500" fill="hold"/>
                                        <p:tgtEl>
                                          <p:spTgt spid="8"/>
                                        </p:tgtEl>
                                        <p:attrNameLst>
                                          <p:attrName>ppt_y</p:attrName>
                                        </p:attrNameLst>
                                      </p:cBhvr>
                                      <p:tavLst>
                                        <p:tav tm="0">
                                          <p:val>
                                            <p:strVal val="0-#ppt_h/2"/>
                                          </p:val>
                                        </p:tav>
                                        <p:tav tm="100000">
                                          <p:val>
                                            <p:strVal val="#ppt_y"/>
                                          </p:val>
                                        </p:tav>
                                      </p:tavLst>
                                    </p:anim>
                                  </p:childTnLst>
                                </p:cTn>
                              </p:par>
                            </p:childTnLst>
                          </p:cTn>
                        </p:par>
                        <p:par>
                          <p:cTn id="34" fill="hold" nodeType="afterGroup">
                            <p:stCondLst>
                              <p:cond delay="3000"/>
                            </p:stCondLst>
                            <p:childTnLst>
                              <p:par>
                                <p:cTn id="35" presetID="2" presetClass="entr" presetSubtype="1" fill="hold" nodeType="afterEffect">
                                  <p:stCondLst>
                                    <p:cond delay="0"/>
                                  </p:stCondLst>
                                  <p:childTnLst>
                                    <p:set>
                                      <p:cBhvr>
                                        <p:cTn id="36" dur="1" fill="hold">
                                          <p:stCondLst>
                                            <p:cond delay="0"/>
                                          </p:stCondLst>
                                        </p:cTn>
                                        <p:tgtEl>
                                          <p:spTgt spid="15"/>
                                        </p:tgtEl>
                                        <p:attrNameLst>
                                          <p:attrName>style.visibility</p:attrName>
                                        </p:attrNameLst>
                                      </p:cBhvr>
                                      <p:to>
                                        <p:strVal val="visible"/>
                                      </p:to>
                                    </p:set>
                                    <p:anim calcmode="lin" valueType="num">
                                      <p:cBhvr additive="base">
                                        <p:cTn id="37" dur="500" fill="hold"/>
                                        <p:tgtEl>
                                          <p:spTgt spid="15"/>
                                        </p:tgtEl>
                                        <p:attrNameLst>
                                          <p:attrName>ppt_x</p:attrName>
                                        </p:attrNameLst>
                                      </p:cBhvr>
                                      <p:tavLst>
                                        <p:tav tm="0">
                                          <p:val>
                                            <p:strVal val="#ppt_x"/>
                                          </p:val>
                                        </p:tav>
                                        <p:tav tm="100000">
                                          <p:val>
                                            <p:strVal val="#ppt_x"/>
                                          </p:val>
                                        </p:tav>
                                      </p:tavLst>
                                    </p:anim>
                                    <p:anim calcmode="lin" valueType="num">
                                      <p:cBhvr additive="base">
                                        <p:cTn id="38" dur="500" fill="hold"/>
                                        <p:tgtEl>
                                          <p:spTgt spid="15"/>
                                        </p:tgtEl>
                                        <p:attrNameLst>
                                          <p:attrName>ppt_y</p:attrName>
                                        </p:attrNameLst>
                                      </p:cBhvr>
                                      <p:tavLst>
                                        <p:tav tm="0">
                                          <p:val>
                                            <p:strVal val="0-#ppt_h/2"/>
                                          </p:val>
                                        </p:tav>
                                        <p:tav tm="100000">
                                          <p:val>
                                            <p:strVal val="#ppt_y"/>
                                          </p:val>
                                        </p:tav>
                                      </p:tavLst>
                                    </p:anim>
                                  </p:childTnLst>
                                </p:cTn>
                              </p:par>
                            </p:childTnLst>
                          </p:cTn>
                        </p:par>
                        <p:par>
                          <p:cTn id="39" fill="hold" nodeType="afterGroup">
                            <p:stCondLst>
                              <p:cond delay="3500"/>
                            </p:stCondLst>
                            <p:childTnLst>
                              <p:par>
                                <p:cTn id="40" presetID="2" presetClass="entr" presetSubtype="1" fill="hold" nodeType="afterEffect">
                                  <p:stCondLst>
                                    <p:cond delay="0"/>
                                  </p:stCondLst>
                                  <p:childTnLst>
                                    <p:set>
                                      <p:cBhvr>
                                        <p:cTn id="41" dur="1" fill="hold">
                                          <p:stCondLst>
                                            <p:cond delay="0"/>
                                          </p:stCondLst>
                                        </p:cTn>
                                        <p:tgtEl>
                                          <p:spTgt spid="220"/>
                                        </p:tgtEl>
                                        <p:attrNameLst>
                                          <p:attrName>style.visibility</p:attrName>
                                        </p:attrNameLst>
                                      </p:cBhvr>
                                      <p:to>
                                        <p:strVal val="visible"/>
                                      </p:to>
                                    </p:set>
                                    <p:anim calcmode="lin" valueType="num">
                                      <p:cBhvr additive="base">
                                        <p:cTn id="42" dur="500" fill="hold"/>
                                        <p:tgtEl>
                                          <p:spTgt spid="220"/>
                                        </p:tgtEl>
                                        <p:attrNameLst>
                                          <p:attrName>ppt_x</p:attrName>
                                        </p:attrNameLst>
                                      </p:cBhvr>
                                      <p:tavLst>
                                        <p:tav tm="0">
                                          <p:val>
                                            <p:strVal val="#ppt_x"/>
                                          </p:val>
                                        </p:tav>
                                        <p:tav tm="100000">
                                          <p:val>
                                            <p:strVal val="#ppt_x"/>
                                          </p:val>
                                        </p:tav>
                                      </p:tavLst>
                                    </p:anim>
                                    <p:anim calcmode="lin" valueType="num">
                                      <p:cBhvr additive="base">
                                        <p:cTn id="43" dur="500" fill="hold"/>
                                        <p:tgtEl>
                                          <p:spTgt spid="220"/>
                                        </p:tgtEl>
                                        <p:attrNameLst>
                                          <p:attrName>ppt_y</p:attrName>
                                        </p:attrNameLst>
                                      </p:cBhvr>
                                      <p:tavLst>
                                        <p:tav tm="0">
                                          <p:val>
                                            <p:strVal val="0-#ppt_h/2"/>
                                          </p:val>
                                        </p:tav>
                                        <p:tav tm="100000">
                                          <p:val>
                                            <p:strVal val="#ppt_y"/>
                                          </p:val>
                                        </p:tav>
                                      </p:tavLst>
                                    </p:anim>
                                  </p:childTnLst>
                                </p:cTn>
                              </p:par>
                            </p:childTnLst>
                          </p:cTn>
                        </p:par>
                        <p:par>
                          <p:cTn id="44" fill="hold" nodeType="afterGroup">
                            <p:stCondLst>
                              <p:cond delay="4000"/>
                            </p:stCondLst>
                            <p:childTnLst>
                              <p:par>
                                <p:cTn id="45" presetID="2" presetClass="entr" presetSubtype="1" fill="hold" nodeType="afterEffect">
                                  <p:stCondLst>
                                    <p:cond delay="0"/>
                                  </p:stCondLst>
                                  <p:childTnLst>
                                    <p:set>
                                      <p:cBhvr>
                                        <p:cTn id="46" dur="1" fill="hold">
                                          <p:stCondLst>
                                            <p:cond delay="0"/>
                                          </p:stCondLst>
                                        </p:cTn>
                                        <p:tgtEl>
                                          <p:spTgt spid="13"/>
                                        </p:tgtEl>
                                        <p:attrNameLst>
                                          <p:attrName>style.visibility</p:attrName>
                                        </p:attrNameLst>
                                      </p:cBhvr>
                                      <p:to>
                                        <p:strVal val="visible"/>
                                      </p:to>
                                    </p:set>
                                    <p:anim calcmode="lin" valueType="num">
                                      <p:cBhvr additive="base">
                                        <p:cTn id="47" dur="500" fill="hold"/>
                                        <p:tgtEl>
                                          <p:spTgt spid="13"/>
                                        </p:tgtEl>
                                        <p:attrNameLst>
                                          <p:attrName>ppt_x</p:attrName>
                                        </p:attrNameLst>
                                      </p:cBhvr>
                                      <p:tavLst>
                                        <p:tav tm="0">
                                          <p:val>
                                            <p:strVal val="#ppt_x"/>
                                          </p:val>
                                        </p:tav>
                                        <p:tav tm="100000">
                                          <p:val>
                                            <p:strVal val="#ppt_x"/>
                                          </p:val>
                                        </p:tav>
                                      </p:tavLst>
                                    </p:anim>
                                    <p:anim calcmode="lin" valueType="num">
                                      <p:cBhvr additive="base">
                                        <p:cTn id="48" dur="500" fill="hold"/>
                                        <p:tgtEl>
                                          <p:spTgt spid="13"/>
                                        </p:tgtEl>
                                        <p:attrNameLst>
                                          <p:attrName>ppt_y</p:attrName>
                                        </p:attrNameLst>
                                      </p:cBhvr>
                                      <p:tavLst>
                                        <p:tav tm="0">
                                          <p:val>
                                            <p:strVal val="0-#ppt_h/2"/>
                                          </p:val>
                                        </p:tav>
                                        <p:tav tm="100000">
                                          <p:val>
                                            <p:strVal val="#ppt_y"/>
                                          </p:val>
                                        </p:tav>
                                      </p:tavLst>
                                    </p:anim>
                                  </p:childTnLst>
                                </p:cTn>
                              </p:par>
                            </p:childTnLst>
                          </p:cTn>
                        </p:par>
                        <p:par>
                          <p:cTn id="49" fill="hold" nodeType="afterGroup">
                            <p:stCondLst>
                              <p:cond delay="4500"/>
                            </p:stCondLst>
                            <p:childTnLst>
                              <p:par>
                                <p:cTn id="50" presetID="2" presetClass="entr" presetSubtype="1" fill="hold" nodeType="afterEffect">
                                  <p:stCondLst>
                                    <p:cond delay="0"/>
                                  </p:stCondLst>
                                  <p:childTnLst>
                                    <p:set>
                                      <p:cBhvr>
                                        <p:cTn id="51" dur="1" fill="hold">
                                          <p:stCondLst>
                                            <p:cond delay="0"/>
                                          </p:stCondLst>
                                        </p:cTn>
                                        <p:tgtEl>
                                          <p:spTgt spid="14"/>
                                        </p:tgtEl>
                                        <p:attrNameLst>
                                          <p:attrName>style.visibility</p:attrName>
                                        </p:attrNameLst>
                                      </p:cBhvr>
                                      <p:to>
                                        <p:strVal val="visible"/>
                                      </p:to>
                                    </p:set>
                                    <p:anim calcmode="lin" valueType="num">
                                      <p:cBhvr additive="base">
                                        <p:cTn id="52" dur="500" fill="hold"/>
                                        <p:tgtEl>
                                          <p:spTgt spid="14"/>
                                        </p:tgtEl>
                                        <p:attrNameLst>
                                          <p:attrName>ppt_x</p:attrName>
                                        </p:attrNameLst>
                                      </p:cBhvr>
                                      <p:tavLst>
                                        <p:tav tm="0">
                                          <p:val>
                                            <p:strVal val="#ppt_x"/>
                                          </p:val>
                                        </p:tav>
                                        <p:tav tm="100000">
                                          <p:val>
                                            <p:strVal val="#ppt_x"/>
                                          </p:val>
                                        </p:tav>
                                      </p:tavLst>
                                    </p:anim>
                                    <p:anim calcmode="lin" valueType="num">
                                      <p:cBhvr additive="base">
                                        <p:cTn id="53" dur="500" fill="hold"/>
                                        <p:tgtEl>
                                          <p:spTgt spid="14"/>
                                        </p:tgtEl>
                                        <p:attrNameLst>
                                          <p:attrName>ppt_y</p:attrName>
                                        </p:attrNameLst>
                                      </p:cBhvr>
                                      <p:tavLst>
                                        <p:tav tm="0">
                                          <p:val>
                                            <p:strVal val="0-#ppt_h/2"/>
                                          </p:val>
                                        </p:tav>
                                        <p:tav tm="100000">
                                          <p:val>
                                            <p:strVal val="#ppt_y"/>
                                          </p:val>
                                        </p:tav>
                                      </p:tavLst>
                                    </p:anim>
                                  </p:childTnLst>
                                </p:cTn>
                              </p:par>
                            </p:childTnLst>
                          </p:cTn>
                        </p:par>
                        <p:par>
                          <p:cTn id="54" fill="hold" nodeType="afterGroup">
                            <p:stCondLst>
                              <p:cond delay="5000"/>
                            </p:stCondLst>
                            <p:childTnLst>
                              <p:par>
                                <p:cTn id="55" presetID="2" presetClass="entr" presetSubtype="1" fill="hold" nodeType="afterEffect">
                                  <p:stCondLst>
                                    <p:cond delay="0"/>
                                  </p:stCondLst>
                                  <p:childTnLst>
                                    <p:set>
                                      <p:cBhvr>
                                        <p:cTn id="56" dur="1" fill="hold">
                                          <p:stCondLst>
                                            <p:cond delay="0"/>
                                          </p:stCondLst>
                                        </p:cTn>
                                        <p:tgtEl>
                                          <p:spTgt spid="12"/>
                                        </p:tgtEl>
                                        <p:attrNameLst>
                                          <p:attrName>style.visibility</p:attrName>
                                        </p:attrNameLst>
                                      </p:cBhvr>
                                      <p:to>
                                        <p:strVal val="visible"/>
                                      </p:to>
                                    </p:set>
                                    <p:anim calcmode="lin" valueType="num">
                                      <p:cBhvr additive="base">
                                        <p:cTn id="57" dur="500" fill="hold"/>
                                        <p:tgtEl>
                                          <p:spTgt spid="12"/>
                                        </p:tgtEl>
                                        <p:attrNameLst>
                                          <p:attrName>ppt_x</p:attrName>
                                        </p:attrNameLst>
                                      </p:cBhvr>
                                      <p:tavLst>
                                        <p:tav tm="0">
                                          <p:val>
                                            <p:strVal val="#ppt_x"/>
                                          </p:val>
                                        </p:tav>
                                        <p:tav tm="100000">
                                          <p:val>
                                            <p:strVal val="#ppt_x"/>
                                          </p:val>
                                        </p:tav>
                                      </p:tavLst>
                                    </p:anim>
                                    <p:anim calcmode="lin" valueType="num">
                                      <p:cBhvr additive="base">
                                        <p:cTn id="58" dur="500" fill="hold"/>
                                        <p:tgtEl>
                                          <p:spTgt spid="12"/>
                                        </p:tgtEl>
                                        <p:attrNameLst>
                                          <p:attrName>ppt_y</p:attrName>
                                        </p:attrNameLst>
                                      </p:cBhvr>
                                      <p:tavLst>
                                        <p:tav tm="0">
                                          <p:val>
                                            <p:strVal val="0-#ppt_h/2"/>
                                          </p:val>
                                        </p:tav>
                                        <p:tav tm="100000">
                                          <p:val>
                                            <p:strVal val="#ppt_y"/>
                                          </p:val>
                                        </p:tav>
                                      </p:tavLst>
                                    </p:anim>
                                  </p:childTnLst>
                                </p:cTn>
                              </p:par>
                            </p:childTnLst>
                          </p:cTn>
                        </p:par>
                        <p:par>
                          <p:cTn id="59" fill="hold" nodeType="afterGroup">
                            <p:stCondLst>
                              <p:cond delay="5500"/>
                            </p:stCondLst>
                            <p:childTnLst>
                              <p:par>
                                <p:cTn id="60" presetID="22" presetClass="entr" presetSubtype="4" fill="hold" grpId="0" nodeType="afterEffect">
                                  <p:stCondLst>
                                    <p:cond delay="0"/>
                                  </p:stCondLst>
                                  <p:childTnLst>
                                    <p:set>
                                      <p:cBhvr>
                                        <p:cTn id="61" dur="1" fill="hold">
                                          <p:stCondLst>
                                            <p:cond delay="0"/>
                                          </p:stCondLst>
                                        </p:cTn>
                                        <p:tgtEl>
                                          <p:spTgt spid="240"/>
                                        </p:tgtEl>
                                        <p:attrNameLst>
                                          <p:attrName>style.visibility</p:attrName>
                                        </p:attrNameLst>
                                      </p:cBhvr>
                                      <p:to>
                                        <p:strVal val="visible"/>
                                      </p:to>
                                    </p:set>
                                    <p:animEffect transition="in" filter="wipe(down)">
                                      <p:cBhvr>
                                        <p:cTn id="62" dur="1000"/>
                                        <p:tgtEl>
                                          <p:spTgt spid="240"/>
                                        </p:tgtEl>
                                      </p:cBhvr>
                                    </p:animEffect>
                                  </p:childTnLst>
                                </p:cTn>
                              </p:par>
                            </p:childTnLst>
                          </p:cTn>
                        </p:par>
                        <p:par>
                          <p:cTn id="63" fill="hold" nodeType="afterGroup">
                            <p:stCondLst>
                              <p:cond delay="6500"/>
                            </p:stCondLst>
                            <p:childTnLst>
                              <p:par>
                                <p:cTn id="64" presetID="22" presetClass="entr" presetSubtype="8" fill="hold" nodeType="afterEffect">
                                  <p:stCondLst>
                                    <p:cond delay="0"/>
                                  </p:stCondLst>
                                  <p:childTnLst>
                                    <p:set>
                                      <p:cBhvr>
                                        <p:cTn id="65" dur="1" fill="hold">
                                          <p:stCondLst>
                                            <p:cond delay="0"/>
                                          </p:stCondLst>
                                        </p:cTn>
                                        <p:tgtEl>
                                          <p:spTgt spid="18"/>
                                        </p:tgtEl>
                                        <p:attrNameLst>
                                          <p:attrName>style.visibility</p:attrName>
                                        </p:attrNameLst>
                                      </p:cBhvr>
                                      <p:to>
                                        <p:strVal val="visible"/>
                                      </p:to>
                                    </p:set>
                                    <p:animEffect transition="in" filter="wipe(left)">
                                      <p:cBhvr>
                                        <p:cTn id="66" dur="1000"/>
                                        <p:tgtEl>
                                          <p:spTgt spid="18"/>
                                        </p:tgtEl>
                                      </p:cBhvr>
                                    </p:animEffect>
                                  </p:childTnLst>
                                </p:cTn>
                              </p:par>
                            </p:childTnLst>
                          </p:cTn>
                        </p:par>
                        <p:par>
                          <p:cTn id="67" fill="hold" nodeType="afterGroup">
                            <p:stCondLst>
                              <p:cond delay="7500"/>
                            </p:stCondLst>
                            <p:childTnLst>
                              <p:par>
                                <p:cTn id="68" presetID="42" presetClass="path" presetSubtype="0" accel="50000" decel="50000" fill="hold" nodeType="afterEffect">
                                  <p:stCondLst>
                                    <p:cond delay="0"/>
                                  </p:stCondLst>
                                  <p:childTnLst>
                                    <p:animMotion origin="layout" path="M 4.375E-6 -3.7037E-6 L 0.64218 -0.3456 " pathEditMode="relative" rAng="0" ptsTypes="AA">
                                      <p:cBhvr>
                                        <p:cTn id="69" dur="2000" fill="hold"/>
                                        <p:tgtEl>
                                          <p:spTgt spid="22"/>
                                        </p:tgtEl>
                                        <p:attrNameLst>
                                          <p:attrName>ppt_x</p:attrName>
                                          <p:attrName>ppt_y</p:attrName>
                                        </p:attrNameLst>
                                      </p:cBhvr>
                                      <p:rCtr x="32109" y="-17292"/>
                                    </p:animMotion>
                                  </p:childTnLst>
                                </p:cTn>
                              </p:par>
                            </p:childTnLst>
                          </p:cTn>
                        </p:par>
                        <p:par>
                          <p:cTn id="70" fill="hold" nodeType="afterGroup">
                            <p:stCondLst>
                              <p:cond delay="9500"/>
                            </p:stCondLst>
                            <p:childTnLst>
                              <p:par>
                                <p:cTn id="71" presetID="42" presetClass="entr" presetSubtype="0" fill="hold" nodeType="after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1000"/>
                                        <p:tgtEl>
                                          <p:spTgt spid="19"/>
                                        </p:tgtEl>
                                      </p:cBhvr>
                                    </p:animEffect>
                                    <p:anim calcmode="lin" valueType="num">
                                      <p:cBhvr>
                                        <p:cTn id="74" dur="1000" fill="hold"/>
                                        <p:tgtEl>
                                          <p:spTgt spid="19"/>
                                        </p:tgtEl>
                                        <p:attrNameLst>
                                          <p:attrName>ppt_x</p:attrName>
                                        </p:attrNameLst>
                                      </p:cBhvr>
                                      <p:tavLst>
                                        <p:tav tm="0">
                                          <p:val>
                                            <p:strVal val="#ppt_x"/>
                                          </p:val>
                                        </p:tav>
                                        <p:tav tm="100000">
                                          <p:val>
                                            <p:strVal val="#ppt_x"/>
                                          </p:val>
                                        </p:tav>
                                      </p:tavLst>
                                    </p:anim>
                                    <p:anim calcmode="lin" valueType="num">
                                      <p:cBhvr>
                                        <p:cTn id="75"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0"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412750" y="301625"/>
            <a:ext cx="7542213" cy="584200"/>
          </a:xfrm>
          <a:prstGeom prst="rect">
            <a:avLst/>
          </a:prstGeom>
        </p:spPr>
        <p:txBody>
          <a:bodyPr anchor="ctr"/>
          <a:lstStyle/>
          <a:p>
            <a:pPr eaLnBrk="1" fontAlgn="auto" hangingPunct="1">
              <a:spcAft>
                <a:spcPts val="0"/>
              </a:spcAft>
              <a:defRPr/>
            </a:pPr>
            <a:r>
              <a:rPr lang="en-US" sz="3200" b="1" spc="-150" noProof="1" smtClean="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rPr>
              <a:t>perbedaan</a:t>
            </a:r>
            <a:endParaRPr lang="en-US" sz="3200" spc="-150" noProof="1">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 name="Rectangle 5"/>
          <p:cNvSpPr/>
          <p:nvPr/>
        </p:nvSpPr>
        <p:spPr>
          <a:xfrm>
            <a:off x="412750" y="2581275"/>
            <a:ext cx="5281613" cy="2554545"/>
          </a:xfrm>
          <a:prstGeom prst="rect">
            <a:avLst/>
          </a:prstGeom>
        </p:spPr>
        <p:txBody>
          <a:bodyPr anchor="ctr"/>
          <a:lstStyle/>
          <a:p>
            <a:pPr eaLnBrk="1" fontAlgn="auto" hangingPunct="1">
              <a:spcAft>
                <a:spcPts val="0"/>
              </a:spcAft>
            </a:pPr>
            <a:r>
              <a:rPr lang="id-ID" sz="2400" b="1" spc="-150"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rPr>
              <a:t>adalah orang yang mengidentifikasi peluang, mengubahnya menjadi produk atau layanan, memperkirakan pendapatan dan laba dan membangun bisnis yang sukses </a:t>
            </a:r>
            <a:r>
              <a:rPr lang="id-ID" sz="2400" b="1" spc="-150" dirty="0" smtClean="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rPr>
              <a:t>dengan produk tersebut.</a:t>
            </a:r>
            <a:endParaRPr lang="en-US" sz="2400" b="1" spc="-150" noProof="1">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 name="Rectangle 7"/>
          <p:cNvSpPr/>
          <p:nvPr/>
        </p:nvSpPr>
        <p:spPr>
          <a:xfrm>
            <a:off x="554038" y="2395538"/>
            <a:ext cx="727075" cy="11747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chemeClr val="bg1">
                  <a:lumMod val="95000"/>
                </a:schemeClr>
              </a:solidFill>
            </a:endParaRPr>
          </a:p>
        </p:txBody>
      </p:sp>
      <p:sp>
        <p:nvSpPr>
          <p:cNvPr id="1174" name="Freeform 1173"/>
          <p:cNvSpPr>
            <a:spLocks noEditPoints="1"/>
          </p:cNvSpPr>
          <p:nvPr/>
        </p:nvSpPr>
        <p:spPr bwMode="auto">
          <a:xfrm>
            <a:off x="685800" y="1971675"/>
            <a:ext cx="463550" cy="355600"/>
          </a:xfrm>
          <a:custGeom>
            <a:avLst/>
            <a:gdLst>
              <a:gd name="T0" fmla="*/ 1005 w 1166"/>
              <a:gd name="T1" fmla="*/ 171 h 897"/>
              <a:gd name="T2" fmla="*/ 935 w 1166"/>
              <a:gd name="T3" fmla="*/ 650 h 897"/>
              <a:gd name="T4" fmla="*/ 811 w 1166"/>
              <a:gd name="T5" fmla="*/ 171 h 897"/>
              <a:gd name="T6" fmla="*/ 811 w 1166"/>
              <a:gd name="T7" fmla="*/ 84 h 897"/>
              <a:gd name="T8" fmla="*/ 809 w 1166"/>
              <a:gd name="T9" fmla="*/ 67 h 897"/>
              <a:gd name="T10" fmla="*/ 805 w 1166"/>
              <a:gd name="T11" fmla="*/ 51 h 897"/>
              <a:gd name="T12" fmla="*/ 797 w 1166"/>
              <a:gd name="T13" fmla="*/ 38 h 897"/>
              <a:gd name="T14" fmla="*/ 786 w 1166"/>
              <a:gd name="T15" fmla="*/ 25 h 897"/>
              <a:gd name="T16" fmla="*/ 774 w 1166"/>
              <a:gd name="T17" fmla="*/ 15 h 897"/>
              <a:gd name="T18" fmla="*/ 760 w 1166"/>
              <a:gd name="T19" fmla="*/ 8 h 897"/>
              <a:gd name="T20" fmla="*/ 744 w 1166"/>
              <a:gd name="T21" fmla="*/ 3 h 897"/>
              <a:gd name="T22" fmla="*/ 727 w 1166"/>
              <a:gd name="T23" fmla="*/ 0 h 897"/>
              <a:gd name="T24" fmla="*/ 439 w 1166"/>
              <a:gd name="T25" fmla="*/ 0 h 897"/>
              <a:gd name="T26" fmla="*/ 422 w 1166"/>
              <a:gd name="T27" fmla="*/ 3 h 897"/>
              <a:gd name="T28" fmla="*/ 406 w 1166"/>
              <a:gd name="T29" fmla="*/ 8 h 897"/>
              <a:gd name="T30" fmla="*/ 392 w 1166"/>
              <a:gd name="T31" fmla="*/ 15 h 897"/>
              <a:gd name="T32" fmla="*/ 380 w 1166"/>
              <a:gd name="T33" fmla="*/ 25 h 897"/>
              <a:gd name="T34" fmla="*/ 369 w 1166"/>
              <a:gd name="T35" fmla="*/ 38 h 897"/>
              <a:gd name="T36" fmla="*/ 361 w 1166"/>
              <a:gd name="T37" fmla="*/ 51 h 897"/>
              <a:gd name="T38" fmla="*/ 357 w 1166"/>
              <a:gd name="T39" fmla="*/ 67 h 897"/>
              <a:gd name="T40" fmla="*/ 355 w 1166"/>
              <a:gd name="T41" fmla="*/ 84 h 897"/>
              <a:gd name="T42" fmla="*/ 230 w 1166"/>
              <a:gd name="T43" fmla="*/ 171 h 897"/>
              <a:gd name="T44" fmla="*/ 160 w 1166"/>
              <a:gd name="T45" fmla="*/ 650 h 897"/>
              <a:gd name="T46" fmla="*/ 33 w 1166"/>
              <a:gd name="T47" fmla="*/ 171 h 897"/>
              <a:gd name="T48" fmla="*/ 26 w 1166"/>
              <a:gd name="T49" fmla="*/ 171 h 897"/>
              <a:gd name="T50" fmla="*/ 15 w 1166"/>
              <a:gd name="T51" fmla="*/ 176 h 897"/>
              <a:gd name="T52" fmla="*/ 5 w 1166"/>
              <a:gd name="T53" fmla="*/ 185 h 897"/>
              <a:gd name="T54" fmla="*/ 0 w 1166"/>
              <a:gd name="T55" fmla="*/ 196 h 897"/>
              <a:gd name="T56" fmla="*/ 0 w 1166"/>
              <a:gd name="T57" fmla="*/ 865 h 897"/>
              <a:gd name="T58" fmla="*/ 0 w 1166"/>
              <a:gd name="T59" fmla="*/ 871 h 897"/>
              <a:gd name="T60" fmla="*/ 5 w 1166"/>
              <a:gd name="T61" fmla="*/ 883 h 897"/>
              <a:gd name="T62" fmla="*/ 15 w 1166"/>
              <a:gd name="T63" fmla="*/ 891 h 897"/>
              <a:gd name="T64" fmla="*/ 26 w 1166"/>
              <a:gd name="T65" fmla="*/ 896 h 897"/>
              <a:gd name="T66" fmla="*/ 1133 w 1166"/>
              <a:gd name="T67" fmla="*/ 897 h 897"/>
              <a:gd name="T68" fmla="*/ 1140 w 1166"/>
              <a:gd name="T69" fmla="*/ 896 h 897"/>
              <a:gd name="T70" fmla="*/ 1151 w 1166"/>
              <a:gd name="T71" fmla="*/ 891 h 897"/>
              <a:gd name="T72" fmla="*/ 1161 w 1166"/>
              <a:gd name="T73" fmla="*/ 883 h 897"/>
              <a:gd name="T74" fmla="*/ 1166 w 1166"/>
              <a:gd name="T75" fmla="*/ 871 h 897"/>
              <a:gd name="T76" fmla="*/ 1166 w 1166"/>
              <a:gd name="T77" fmla="*/ 203 h 897"/>
              <a:gd name="T78" fmla="*/ 1166 w 1166"/>
              <a:gd name="T79" fmla="*/ 196 h 897"/>
              <a:gd name="T80" fmla="*/ 1161 w 1166"/>
              <a:gd name="T81" fmla="*/ 185 h 897"/>
              <a:gd name="T82" fmla="*/ 1151 w 1166"/>
              <a:gd name="T83" fmla="*/ 176 h 897"/>
              <a:gd name="T84" fmla="*/ 1140 w 1166"/>
              <a:gd name="T85" fmla="*/ 171 h 897"/>
              <a:gd name="T86" fmla="*/ 1133 w 1166"/>
              <a:gd name="T87" fmla="*/ 171 h 897"/>
              <a:gd name="T88" fmla="*/ 724 w 1166"/>
              <a:gd name="T89" fmla="*/ 89 h 897"/>
              <a:gd name="T90" fmla="*/ 442 w 1166"/>
              <a:gd name="T91" fmla="*/ 171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6" h="897">
                <a:moveTo>
                  <a:pt x="1133" y="171"/>
                </a:moveTo>
                <a:lnTo>
                  <a:pt x="1005" y="171"/>
                </a:lnTo>
                <a:lnTo>
                  <a:pt x="1005" y="650"/>
                </a:lnTo>
                <a:lnTo>
                  <a:pt x="935" y="650"/>
                </a:lnTo>
                <a:lnTo>
                  <a:pt x="935" y="171"/>
                </a:lnTo>
                <a:lnTo>
                  <a:pt x="811" y="171"/>
                </a:lnTo>
                <a:lnTo>
                  <a:pt x="811" y="84"/>
                </a:lnTo>
                <a:lnTo>
                  <a:pt x="811" y="84"/>
                </a:lnTo>
                <a:lnTo>
                  <a:pt x="811" y="75"/>
                </a:lnTo>
                <a:lnTo>
                  <a:pt x="809" y="67"/>
                </a:lnTo>
                <a:lnTo>
                  <a:pt x="807" y="60"/>
                </a:lnTo>
                <a:lnTo>
                  <a:pt x="805" y="51"/>
                </a:lnTo>
                <a:lnTo>
                  <a:pt x="801" y="44"/>
                </a:lnTo>
                <a:lnTo>
                  <a:pt x="797" y="38"/>
                </a:lnTo>
                <a:lnTo>
                  <a:pt x="792" y="31"/>
                </a:lnTo>
                <a:lnTo>
                  <a:pt x="786" y="25"/>
                </a:lnTo>
                <a:lnTo>
                  <a:pt x="780" y="20"/>
                </a:lnTo>
                <a:lnTo>
                  <a:pt x="774" y="15"/>
                </a:lnTo>
                <a:lnTo>
                  <a:pt x="767" y="11"/>
                </a:lnTo>
                <a:lnTo>
                  <a:pt x="760" y="8"/>
                </a:lnTo>
                <a:lnTo>
                  <a:pt x="753" y="4"/>
                </a:lnTo>
                <a:lnTo>
                  <a:pt x="744" y="3"/>
                </a:lnTo>
                <a:lnTo>
                  <a:pt x="736" y="2"/>
                </a:lnTo>
                <a:lnTo>
                  <a:pt x="727" y="0"/>
                </a:lnTo>
                <a:lnTo>
                  <a:pt x="439" y="0"/>
                </a:lnTo>
                <a:lnTo>
                  <a:pt x="439" y="0"/>
                </a:lnTo>
                <a:lnTo>
                  <a:pt x="430" y="2"/>
                </a:lnTo>
                <a:lnTo>
                  <a:pt x="422" y="3"/>
                </a:lnTo>
                <a:lnTo>
                  <a:pt x="413" y="4"/>
                </a:lnTo>
                <a:lnTo>
                  <a:pt x="406" y="8"/>
                </a:lnTo>
                <a:lnTo>
                  <a:pt x="399" y="11"/>
                </a:lnTo>
                <a:lnTo>
                  <a:pt x="392" y="15"/>
                </a:lnTo>
                <a:lnTo>
                  <a:pt x="386" y="20"/>
                </a:lnTo>
                <a:lnTo>
                  <a:pt x="380" y="25"/>
                </a:lnTo>
                <a:lnTo>
                  <a:pt x="373" y="31"/>
                </a:lnTo>
                <a:lnTo>
                  <a:pt x="369" y="38"/>
                </a:lnTo>
                <a:lnTo>
                  <a:pt x="365" y="44"/>
                </a:lnTo>
                <a:lnTo>
                  <a:pt x="361" y="51"/>
                </a:lnTo>
                <a:lnTo>
                  <a:pt x="359" y="60"/>
                </a:lnTo>
                <a:lnTo>
                  <a:pt x="357" y="67"/>
                </a:lnTo>
                <a:lnTo>
                  <a:pt x="355" y="75"/>
                </a:lnTo>
                <a:lnTo>
                  <a:pt x="355" y="84"/>
                </a:lnTo>
                <a:lnTo>
                  <a:pt x="355" y="171"/>
                </a:lnTo>
                <a:lnTo>
                  <a:pt x="230" y="171"/>
                </a:lnTo>
                <a:lnTo>
                  <a:pt x="230" y="650"/>
                </a:lnTo>
                <a:lnTo>
                  <a:pt x="160" y="650"/>
                </a:lnTo>
                <a:lnTo>
                  <a:pt x="160" y="171"/>
                </a:lnTo>
                <a:lnTo>
                  <a:pt x="33" y="171"/>
                </a:lnTo>
                <a:lnTo>
                  <a:pt x="33" y="171"/>
                </a:lnTo>
                <a:lnTo>
                  <a:pt x="26" y="171"/>
                </a:lnTo>
                <a:lnTo>
                  <a:pt x="20" y="173"/>
                </a:lnTo>
                <a:lnTo>
                  <a:pt x="15" y="176"/>
                </a:lnTo>
                <a:lnTo>
                  <a:pt x="10" y="180"/>
                </a:lnTo>
                <a:lnTo>
                  <a:pt x="5" y="185"/>
                </a:lnTo>
                <a:lnTo>
                  <a:pt x="3" y="190"/>
                </a:lnTo>
                <a:lnTo>
                  <a:pt x="0" y="196"/>
                </a:lnTo>
                <a:lnTo>
                  <a:pt x="0" y="203"/>
                </a:lnTo>
                <a:lnTo>
                  <a:pt x="0" y="865"/>
                </a:lnTo>
                <a:lnTo>
                  <a:pt x="0" y="865"/>
                </a:lnTo>
                <a:lnTo>
                  <a:pt x="0" y="871"/>
                </a:lnTo>
                <a:lnTo>
                  <a:pt x="3" y="877"/>
                </a:lnTo>
                <a:lnTo>
                  <a:pt x="5" y="883"/>
                </a:lnTo>
                <a:lnTo>
                  <a:pt x="10" y="888"/>
                </a:lnTo>
                <a:lnTo>
                  <a:pt x="15" y="891"/>
                </a:lnTo>
                <a:lnTo>
                  <a:pt x="20" y="895"/>
                </a:lnTo>
                <a:lnTo>
                  <a:pt x="26" y="896"/>
                </a:lnTo>
                <a:lnTo>
                  <a:pt x="33" y="897"/>
                </a:lnTo>
                <a:lnTo>
                  <a:pt x="1133" y="897"/>
                </a:lnTo>
                <a:lnTo>
                  <a:pt x="1133" y="897"/>
                </a:lnTo>
                <a:lnTo>
                  <a:pt x="1140" y="896"/>
                </a:lnTo>
                <a:lnTo>
                  <a:pt x="1146" y="895"/>
                </a:lnTo>
                <a:lnTo>
                  <a:pt x="1151" y="891"/>
                </a:lnTo>
                <a:lnTo>
                  <a:pt x="1156" y="888"/>
                </a:lnTo>
                <a:lnTo>
                  <a:pt x="1161" y="883"/>
                </a:lnTo>
                <a:lnTo>
                  <a:pt x="1163" y="877"/>
                </a:lnTo>
                <a:lnTo>
                  <a:pt x="1166" y="871"/>
                </a:lnTo>
                <a:lnTo>
                  <a:pt x="1166" y="865"/>
                </a:lnTo>
                <a:lnTo>
                  <a:pt x="1166" y="203"/>
                </a:lnTo>
                <a:lnTo>
                  <a:pt x="1166" y="203"/>
                </a:lnTo>
                <a:lnTo>
                  <a:pt x="1166" y="196"/>
                </a:lnTo>
                <a:lnTo>
                  <a:pt x="1163" y="190"/>
                </a:lnTo>
                <a:lnTo>
                  <a:pt x="1161" y="185"/>
                </a:lnTo>
                <a:lnTo>
                  <a:pt x="1156" y="180"/>
                </a:lnTo>
                <a:lnTo>
                  <a:pt x="1151" y="176"/>
                </a:lnTo>
                <a:lnTo>
                  <a:pt x="1146" y="173"/>
                </a:lnTo>
                <a:lnTo>
                  <a:pt x="1140" y="171"/>
                </a:lnTo>
                <a:lnTo>
                  <a:pt x="1133" y="171"/>
                </a:lnTo>
                <a:lnTo>
                  <a:pt x="1133" y="171"/>
                </a:lnTo>
                <a:close/>
                <a:moveTo>
                  <a:pt x="442" y="89"/>
                </a:moveTo>
                <a:lnTo>
                  <a:pt x="724" y="89"/>
                </a:lnTo>
                <a:lnTo>
                  <a:pt x="724" y="171"/>
                </a:lnTo>
                <a:lnTo>
                  <a:pt x="442" y="171"/>
                </a:lnTo>
                <a:lnTo>
                  <a:pt x="442" y="89"/>
                </a:lnTo>
                <a:close/>
              </a:path>
            </a:pathLst>
          </a:custGeom>
          <a:solidFill>
            <a:srgbClr val="55CBC5"/>
          </a:solidFill>
          <a:ln>
            <a:noFill/>
          </a:ln>
          <a:extLst/>
        </p:spPr>
        <p:txBody>
          <a:bodyPr/>
          <a:lstStyle/>
          <a:p>
            <a:pPr eaLnBrk="1" fontAlgn="auto" hangingPunct="1">
              <a:spcBef>
                <a:spcPts val="0"/>
              </a:spcBef>
              <a:spcAft>
                <a:spcPts val="0"/>
              </a:spcAft>
              <a:defRPr/>
            </a:pPr>
            <a:endParaRPr lang="en-US">
              <a:solidFill>
                <a:schemeClr val="bg1">
                  <a:lumMod val="95000"/>
                </a:schemeClr>
              </a:solidFill>
              <a:latin typeface="+mn-lt"/>
            </a:endParaRPr>
          </a:p>
        </p:txBody>
      </p:sp>
      <p:sp>
        <p:nvSpPr>
          <p:cNvPr id="12" name="Rectangle 11"/>
          <p:cNvSpPr/>
          <p:nvPr/>
        </p:nvSpPr>
        <p:spPr>
          <a:xfrm>
            <a:off x="6224588" y="2813291"/>
            <a:ext cx="5281612" cy="2755000"/>
          </a:xfrm>
          <a:prstGeom prst="rect">
            <a:avLst/>
          </a:prstGeom>
        </p:spPr>
        <p:txBody>
          <a:bodyPr anchor="ctr"/>
          <a:lstStyle/>
          <a:p>
            <a:pPr eaLnBrk="1" fontAlgn="auto" hangingPunct="1">
              <a:spcAft>
                <a:spcPts val="0"/>
              </a:spcAft>
            </a:pPr>
            <a:r>
              <a:rPr lang="en-US" sz="2400" b="1" spc="-150" noProof="1" smtClean="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rPr>
              <a:t>Memulai dengan ‘ide’.  Menentang  cara kerja sistem yang ada dan berpikir untuk melakukan sesuatu secara berbeda. Dia menciptakan produk atau solusi yang menggunakan bobot dan kemampuan teknologi untuk mengubah cara sesuatu dilakukan secara tradisional.</a:t>
            </a:r>
            <a:endParaRPr lang="en-US" sz="2400" b="1" spc="-150" noProof="1">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 name="Rectangle 12"/>
          <p:cNvSpPr/>
          <p:nvPr/>
        </p:nvSpPr>
        <p:spPr>
          <a:xfrm>
            <a:off x="6340475" y="2395538"/>
            <a:ext cx="727075" cy="11747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chemeClr val="bg1">
                  <a:lumMod val="95000"/>
                </a:schemeClr>
              </a:solidFill>
            </a:endParaRPr>
          </a:p>
        </p:txBody>
      </p:sp>
      <p:sp>
        <p:nvSpPr>
          <p:cNvPr id="15" name="Freeform 149"/>
          <p:cNvSpPr>
            <a:spLocks/>
          </p:cNvSpPr>
          <p:nvPr/>
        </p:nvSpPr>
        <p:spPr bwMode="auto">
          <a:xfrm>
            <a:off x="6497638" y="1908175"/>
            <a:ext cx="414337" cy="412750"/>
          </a:xfrm>
          <a:custGeom>
            <a:avLst/>
            <a:gdLst>
              <a:gd name="T0" fmla="*/ 758 w 946"/>
              <a:gd name="T1" fmla="*/ 585 h 947"/>
              <a:gd name="T2" fmla="*/ 535 w 946"/>
              <a:gd name="T3" fmla="*/ 510 h 947"/>
              <a:gd name="T4" fmla="*/ 715 w 946"/>
              <a:gd name="T5" fmla="*/ 368 h 947"/>
              <a:gd name="T6" fmla="*/ 765 w 946"/>
              <a:gd name="T7" fmla="*/ 370 h 947"/>
              <a:gd name="T8" fmla="*/ 818 w 946"/>
              <a:gd name="T9" fmla="*/ 357 h 947"/>
              <a:gd name="T10" fmla="*/ 863 w 946"/>
              <a:gd name="T11" fmla="*/ 329 h 947"/>
              <a:gd name="T12" fmla="*/ 896 w 946"/>
              <a:gd name="T13" fmla="*/ 295 h 947"/>
              <a:gd name="T14" fmla="*/ 916 w 946"/>
              <a:gd name="T15" fmla="*/ 260 h 947"/>
              <a:gd name="T16" fmla="*/ 928 w 946"/>
              <a:gd name="T17" fmla="*/ 221 h 947"/>
              <a:gd name="T18" fmla="*/ 931 w 946"/>
              <a:gd name="T19" fmla="*/ 180 h 947"/>
              <a:gd name="T20" fmla="*/ 926 w 946"/>
              <a:gd name="T21" fmla="*/ 139 h 947"/>
              <a:gd name="T22" fmla="*/ 906 w 946"/>
              <a:gd name="T23" fmla="*/ 88 h 947"/>
              <a:gd name="T24" fmla="*/ 762 w 946"/>
              <a:gd name="T25" fmla="*/ 107 h 947"/>
              <a:gd name="T26" fmla="*/ 802 w 946"/>
              <a:gd name="T27" fmla="*/ 9 h 947"/>
              <a:gd name="T28" fmla="*/ 746 w 946"/>
              <a:gd name="T29" fmla="*/ 0 h 947"/>
              <a:gd name="T30" fmla="*/ 692 w 946"/>
              <a:gd name="T31" fmla="*/ 8 h 947"/>
              <a:gd name="T32" fmla="*/ 644 w 946"/>
              <a:gd name="T33" fmla="*/ 31 h 947"/>
              <a:gd name="T34" fmla="*/ 606 w 946"/>
              <a:gd name="T35" fmla="*/ 64 h 947"/>
              <a:gd name="T36" fmla="*/ 583 w 946"/>
              <a:gd name="T37" fmla="*/ 97 h 947"/>
              <a:gd name="T38" fmla="*/ 568 w 946"/>
              <a:gd name="T39" fmla="*/ 132 h 947"/>
              <a:gd name="T40" fmla="*/ 562 w 946"/>
              <a:gd name="T41" fmla="*/ 170 h 947"/>
              <a:gd name="T42" fmla="*/ 563 w 946"/>
              <a:gd name="T43" fmla="*/ 209 h 947"/>
              <a:gd name="T44" fmla="*/ 572 w 946"/>
              <a:gd name="T45" fmla="*/ 248 h 947"/>
              <a:gd name="T46" fmla="*/ 236 w 946"/>
              <a:gd name="T47" fmla="*/ 160 h 947"/>
              <a:gd name="T48" fmla="*/ 160 w 946"/>
              <a:gd name="T49" fmla="*/ 235 h 947"/>
              <a:gd name="T50" fmla="*/ 247 w 946"/>
              <a:gd name="T51" fmla="*/ 572 h 947"/>
              <a:gd name="T52" fmla="*/ 201 w 946"/>
              <a:gd name="T53" fmla="*/ 562 h 947"/>
              <a:gd name="T54" fmla="*/ 148 w 946"/>
              <a:gd name="T55" fmla="*/ 565 h 947"/>
              <a:gd name="T56" fmla="*/ 97 w 946"/>
              <a:gd name="T57" fmla="*/ 583 h 947"/>
              <a:gd name="T58" fmla="*/ 54 w 946"/>
              <a:gd name="T59" fmla="*/ 615 h 947"/>
              <a:gd name="T60" fmla="*/ 28 w 946"/>
              <a:gd name="T61" fmla="*/ 648 h 947"/>
              <a:gd name="T62" fmla="*/ 10 w 946"/>
              <a:gd name="T63" fmla="*/ 685 h 947"/>
              <a:gd name="T64" fmla="*/ 1 w 946"/>
              <a:gd name="T65" fmla="*/ 725 h 947"/>
              <a:gd name="T66" fmla="*/ 1 w 946"/>
              <a:gd name="T67" fmla="*/ 766 h 947"/>
              <a:gd name="T68" fmla="*/ 10 w 946"/>
              <a:gd name="T69" fmla="*/ 807 h 947"/>
              <a:gd name="T70" fmla="*/ 107 w 946"/>
              <a:gd name="T71" fmla="*/ 762 h 947"/>
              <a:gd name="T72" fmla="*/ 88 w 946"/>
              <a:gd name="T73" fmla="*/ 907 h 947"/>
              <a:gd name="T74" fmla="*/ 148 w 946"/>
              <a:gd name="T75" fmla="*/ 928 h 947"/>
              <a:gd name="T76" fmla="*/ 203 w 946"/>
              <a:gd name="T77" fmla="*/ 930 h 947"/>
              <a:gd name="T78" fmla="*/ 256 w 946"/>
              <a:gd name="T79" fmla="*/ 917 h 947"/>
              <a:gd name="T80" fmla="*/ 303 w 946"/>
              <a:gd name="T81" fmla="*/ 889 h 947"/>
              <a:gd name="T82" fmla="*/ 334 w 946"/>
              <a:gd name="T83" fmla="*/ 857 h 947"/>
              <a:gd name="T84" fmla="*/ 353 w 946"/>
              <a:gd name="T85" fmla="*/ 823 h 947"/>
              <a:gd name="T86" fmla="*/ 366 w 946"/>
              <a:gd name="T87" fmla="*/ 787 h 947"/>
              <a:gd name="T88" fmla="*/ 371 w 946"/>
              <a:gd name="T89" fmla="*/ 749 h 947"/>
              <a:gd name="T90" fmla="*/ 366 w 946"/>
              <a:gd name="T91" fmla="*/ 710 h 947"/>
              <a:gd name="T92" fmla="*/ 510 w 946"/>
              <a:gd name="T93" fmla="*/ 535 h 947"/>
              <a:gd name="T94" fmla="*/ 584 w 946"/>
              <a:gd name="T95" fmla="*/ 759 h 947"/>
              <a:gd name="T96" fmla="*/ 803 w 946"/>
              <a:gd name="T97" fmla="*/ 927 h 947"/>
              <a:gd name="T98" fmla="*/ 824 w 946"/>
              <a:gd name="T99" fmla="*/ 940 h 947"/>
              <a:gd name="T100" fmla="*/ 850 w 946"/>
              <a:gd name="T101" fmla="*/ 947 h 947"/>
              <a:gd name="T102" fmla="*/ 876 w 946"/>
              <a:gd name="T103" fmla="*/ 945 h 947"/>
              <a:gd name="T104" fmla="*/ 900 w 946"/>
              <a:gd name="T105" fmla="*/ 937 h 947"/>
              <a:gd name="T106" fmla="*/ 920 w 946"/>
              <a:gd name="T107" fmla="*/ 921 h 947"/>
              <a:gd name="T108" fmla="*/ 937 w 946"/>
              <a:gd name="T109" fmla="*/ 900 h 947"/>
              <a:gd name="T110" fmla="*/ 945 w 946"/>
              <a:gd name="T111" fmla="*/ 875 h 947"/>
              <a:gd name="T112" fmla="*/ 946 w 946"/>
              <a:gd name="T113" fmla="*/ 850 h 947"/>
              <a:gd name="T114" fmla="*/ 940 w 946"/>
              <a:gd name="T115" fmla="*/ 826 h 947"/>
              <a:gd name="T116" fmla="*/ 927 w 946"/>
              <a:gd name="T117" fmla="*/ 803 h 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6" h="947">
                <a:moveTo>
                  <a:pt x="920" y="796"/>
                </a:moveTo>
                <a:lnTo>
                  <a:pt x="734" y="610"/>
                </a:lnTo>
                <a:lnTo>
                  <a:pt x="758" y="585"/>
                </a:lnTo>
                <a:lnTo>
                  <a:pt x="734" y="560"/>
                </a:lnTo>
                <a:lnTo>
                  <a:pt x="659" y="634"/>
                </a:lnTo>
                <a:lnTo>
                  <a:pt x="535" y="510"/>
                </a:lnTo>
                <a:lnTo>
                  <a:pt x="684" y="360"/>
                </a:lnTo>
                <a:lnTo>
                  <a:pt x="699" y="364"/>
                </a:lnTo>
                <a:lnTo>
                  <a:pt x="715" y="368"/>
                </a:lnTo>
                <a:lnTo>
                  <a:pt x="730" y="370"/>
                </a:lnTo>
                <a:lnTo>
                  <a:pt x="746" y="371"/>
                </a:lnTo>
                <a:lnTo>
                  <a:pt x="765" y="370"/>
                </a:lnTo>
                <a:lnTo>
                  <a:pt x="783" y="367"/>
                </a:lnTo>
                <a:lnTo>
                  <a:pt x="800" y="362"/>
                </a:lnTo>
                <a:lnTo>
                  <a:pt x="818" y="357"/>
                </a:lnTo>
                <a:lnTo>
                  <a:pt x="834" y="348"/>
                </a:lnTo>
                <a:lnTo>
                  <a:pt x="849" y="340"/>
                </a:lnTo>
                <a:lnTo>
                  <a:pt x="863" y="329"/>
                </a:lnTo>
                <a:lnTo>
                  <a:pt x="877" y="316"/>
                </a:lnTo>
                <a:lnTo>
                  <a:pt x="887" y="306"/>
                </a:lnTo>
                <a:lnTo>
                  <a:pt x="896" y="295"/>
                </a:lnTo>
                <a:lnTo>
                  <a:pt x="903" y="283"/>
                </a:lnTo>
                <a:lnTo>
                  <a:pt x="911" y="272"/>
                </a:lnTo>
                <a:lnTo>
                  <a:pt x="916" y="260"/>
                </a:lnTo>
                <a:lnTo>
                  <a:pt x="921" y="247"/>
                </a:lnTo>
                <a:lnTo>
                  <a:pt x="925" y="234"/>
                </a:lnTo>
                <a:lnTo>
                  <a:pt x="928" y="221"/>
                </a:lnTo>
                <a:lnTo>
                  <a:pt x="930" y="207"/>
                </a:lnTo>
                <a:lnTo>
                  <a:pt x="931" y="194"/>
                </a:lnTo>
                <a:lnTo>
                  <a:pt x="931" y="180"/>
                </a:lnTo>
                <a:lnTo>
                  <a:pt x="930" y="166"/>
                </a:lnTo>
                <a:lnTo>
                  <a:pt x="928" y="153"/>
                </a:lnTo>
                <a:lnTo>
                  <a:pt x="926" y="139"/>
                </a:lnTo>
                <a:lnTo>
                  <a:pt x="921" y="126"/>
                </a:lnTo>
                <a:lnTo>
                  <a:pt x="916" y="112"/>
                </a:lnTo>
                <a:lnTo>
                  <a:pt x="906" y="88"/>
                </a:lnTo>
                <a:lnTo>
                  <a:pt x="825" y="169"/>
                </a:lnTo>
                <a:lnTo>
                  <a:pt x="761" y="170"/>
                </a:lnTo>
                <a:lnTo>
                  <a:pt x="762" y="107"/>
                </a:lnTo>
                <a:lnTo>
                  <a:pt x="844" y="26"/>
                </a:lnTo>
                <a:lnTo>
                  <a:pt x="820" y="16"/>
                </a:lnTo>
                <a:lnTo>
                  <a:pt x="802" y="9"/>
                </a:lnTo>
                <a:lnTo>
                  <a:pt x="783" y="4"/>
                </a:lnTo>
                <a:lnTo>
                  <a:pt x="765" y="2"/>
                </a:lnTo>
                <a:lnTo>
                  <a:pt x="746" y="0"/>
                </a:lnTo>
                <a:lnTo>
                  <a:pt x="728" y="2"/>
                </a:lnTo>
                <a:lnTo>
                  <a:pt x="710" y="4"/>
                </a:lnTo>
                <a:lnTo>
                  <a:pt x="692" y="8"/>
                </a:lnTo>
                <a:lnTo>
                  <a:pt x="675" y="14"/>
                </a:lnTo>
                <a:lnTo>
                  <a:pt x="659" y="22"/>
                </a:lnTo>
                <a:lnTo>
                  <a:pt x="644" y="31"/>
                </a:lnTo>
                <a:lnTo>
                  <a:pt x="629" y="43"/>
                </a:lnTo>
                <a:lnTo>
                  <a:pt x="616" y="54"/>
                </a:lnTo>
                <a:lnTo>
                  <a:pt x="606" y="64"/>
                </a:lnTo>
                <a:lnTo>
                  <a:pt x="597" y="75"/>
                </a:lnTo>
                <a:lnTo>
                  <a:pt x="590" y="86"/>
                </a:lnTo>
                <a:lnTo>
                  <a:pt x="583" y="97"/>
                </a:lnTo>
                <a:lnTo>
                  <a:pt x="578" y="108"/>
                </a:lnTo>
                <a:lnTo>
                  <a:pt x="573" y="120"/>
                </a:lnTo>
                <a:lnTo>
                  <a:pt x="568" y="132"/>
                </a:lnTo>
                <a:lnTo>
                  <a:pt x="565" y="145"/>
                </a:lnTo>
                <a:lnTo>
                  <a:pt x="563" y="158"/>
                </a:lnTo>
                <a:lnTo>
                  <a:pt x="562" y="170"/>
                </a:lnTo>
                <a:lnTo>
                  <a:pt x="561" y="183"/>
                </a:lnTo>
                <a:lnTo>
                  <a:pt x="562" y="196"/>
                </a:lnTo>
                <a:lnTo>
                  <a:pt x="563" y="209"/>
                </a:lnTo>
                <a:lnTo>
                  <a:pt x="565" y="222"/>
                </a:lnTo>
                <a:lnTo>
                  <a:pt x="568" y="235"/>
                </a:lnTo>
                <a:lnTo>
                  <a:pt x="572" y="248"/>
                </a:lnTo>
                <a:lnTo>
                  <a:pt x="422" y="398"/>
                </a:lnTo>
                <a:lnTo>
                  <a:pt x="210" y="185"/>
                </a:lnTo>
                <a:lnTo>
                  <a:pt x="236" y="160"/>
                </a:lnTo>
                <a:lnTo>
                  <a:pt x="98" y="23"/>
                </a:lnTo>
                <a:lnTo>
                  <a:pt x="23" y="98"/>
                </a:lnTo>
                <a:lnTo>
                  <a:pt x="160" y="235"/>
                </a:lnTo>
                <a:lnTo>
                  <a:pt x="185" y="210"/>
                </a:lnTo>
                <a:lnTo>
                  <a:pt x="398" y="423"/>
                </a:lnTo>
                <a:lnTo>
                  <a:pt x="247" y="572"/>
                </a:lnTo>
                <a:lnTo>
                  <a:pt x="232" y="567"/>
                </a:lnTo>
                <a:lnTo>
                  <a:pt x="216" y="564"/>
                </a:lnTo>
                <a:lnTo>
                  <a:pt x="201" y="562"/>
                </a:lnTo>
                <a:lnTo>
                  <a:pt x="185" y="561"/>
                </a:lnTo>
                <a:lnTo>
                  <a:pt x="166" y="562"/>
                </a:lnTo>
                <a:lnTo>
                  <a:pt x="148" y="565"/>
                </a:lnTo>
                <a:lnTo>
                  <a:pt x="131" y="570"/>
                </a:lnTo>
                <a:lnTo>
                  <a:pt x="115" y="575"/>
                </a:lnTo>
                <a:lnTo>
                  <a:pt x="97" y="583"/>
                </a:lnTo>
                <a:lnTo>
                  <a:pt x="82" y="592"/>
                </a:lnTo>
                <a:lnTo>
                  <a:pt x="68" y="603"/>
                </a:lnTo>
                <a:lnTo>
                  <a:pt x="54" y="615"/>
                </a:lnTo>
                <a:lnTo>
                  <a:pt x="44" y="626"/>
                </a:lnTo>
                <a:lnTo>
                  <a:pt x="36" y="637"/>
                </a:lnTo>
                <a:lnTo>
                  <a:pt x="28" y="648"/>
                </a:lnTo>
                <a:lnTo>
                  <a:pt x="21" y="660"/>
                </a:lnTo>
                <a:lnTo>
                  <a:pt x="15" y="672"/>
                </a:lnTo>
                <a:lnTo>
                  <a:pt x="10" y="685"/>
                </a:lnTo>
                <a:lnTo>
                  <a:pt x="7" y="698"/>
                </a:lnTo>
                <a:lnTo>
                  <a:pt x="3" y="712"/>
                </a:lnTo>
                <a:lnTo>
                  <a:pt x="1" y="725"/>
                </a:lnTo>
                <a:lnTo>
                  <a:pt x="0" y="739"/>
                </a:lnTo>
                <a:lnTo>
                  <a:pt x="0" y="752"/>
                </a:lnTo>
                <a:lnTo>
                  <a:pt x="1" y="766"/>
                </a:lnTo>
                <a:lnTo>
                  <a:pt x="3" y="780"/>
                </a:lnTo>
                <a:lnTo>
                  <a:pt x="6" y="793"/>
                </a:lnTo>
                <a:lnTo>
                  <a:pt x="10" y="807"/>
                </a:lnTo>
                <a:lnTo>
                  <a:pt x="15" y="820"/>
                </a:lnTo>
                <a:lnTo>
                  <a:pt x="26" y="844"/>
                </a:lnTo>
                <a:lnTo>
                  <a:pt x="107" y="762"/>
                </a:lnTo>
                <a:lnTo>
                  <a:pt x="170" y="761"/>
                </a:lnTo>
                <a:lnTo>
                  <a:pt x="169" y="826"/>
                </a:lnTo>
                <a:lnTo>
                  <a:pt x="88" y="907"/>
                </a:lnTo>
                <a:lnTo>
                  <a:pt x="111" y="916"/>
                </a:lnTo>
                <a:lnTo>
                  <a:pt x="130" y="923"/>
                </a:lnTo>
                <a:lnTo>
                  <a:pt x="148" y="928"/>
                </a:lnTo>
                <a:lnTo>
                  <a:pt x="166" y="930"/>
                </a:lnTo>
                <a:lnTo>
                  <a:pt x="185" y="931"/>
                </a:lnTo>
                <a:lnTo>
                  <a:pt x="203" y="930"/>
                </a:lnTo>
                <a:lnTo>
                  <a:pt x="222" y="928"/>
                </a:lnTo>
                <a:lnTo>
                  <a:pt x="239" y="924"/>
                </a:lnTo>
                <a:lnTo>
                  <a:pt x="256" y="917"/>
                </a:lnTo>
                <a:lnTo>
                  <a:pt x="272" y="910"/>
                </a:lnTo>
                <a:lnTo>
                  <a:pt x="287" y="900"/>
                </a:lnTo>
                <a:lnTo>
                  <a:pt x="303" y="889"/>
                </a:lnTo>
                <a:lnTo>
                  <a:pt x="316" y="877"/>
                </a:lnTo>
                <a:lnTo>
                  <a:pt x="325" y="868"/>
                </a:lnTo>
                <a:lnTo>
                  <a:pt x="334" y="857"/>
                </a:lnTo>
                <a:lnTo>
                  <a:pt x="341" y="846"/>
                </a:lnTo>
                <a:lnTo>
                  <a:pt x="348" y="835"/>
                </a:lnTo>
                <a:lnTo>
                  <a:pt x="353" y="823"/>
                </a:lnTo>
                <a:lnTo>
                  <a:pt x="359" y="812"/>
                </a:lnTo>
                <a:lnTo>
                  <a:pt x="363" y="800"/>
                </a:lnTo>
                <a:lnTo>
                  <a:pt x="366" y="787"/>
                </a:lnTo>
                <a:lnTo>
                  <a:pt x="368" y="775"/>
                </a:lnTo>
                <a:lnTo>
                  <a:pt x="370" y="762"/>
                </a:lnTo>
                <a:lnTo>
                  <a:pt x="371" y="749"/>
                </a:lnTo>
                <a:lnTo>
                  <a:pt x="370" y="736"/>
                </a:lnTo>
                <a:lnTo>
                  <a:pt x="368" y="723"/>
                </a:lnTo>
                <a:lnTo>
                  <a:pt x="366" y="710"/>
                </a:lnTo>
                <a:lnTo>
                  <a:pt x="363" y="697"/>
                </a:lnTo>
                <a:lnTo>
                  <a:pt x="360" y="684"/>
                </a:lnTo>
                <a:lnTo>
                  <a:pt x="510" y="535"/>
                </a:lnTo>
                <a:lnTo>
                  <a:pt x="634" y="659"/>
                </a:lnTo>
                <a:lnTo>
                  <a:pt x="560" y="734"/>
                </a:lnTo>
                <a:lnTo>
                  <a:pt x="584" y="759"/>
                </a:lnTo>
                <a:lnTo>
                  <a:pt x="609" y="734"/>
                </a:lnTo>
                <a:lnTo>
                  <a:pt x="796" y="921"/>
                </a:lnTo>
                <a:lnTo>
                  <a:pt x="803" y="927"/>
                </a:lnTo>
                <a:lnTo>
                  <a:pt x="809" y="932"/>
                </a:lnTo>
                <a:lnTo>
                  <a:pt x="817" y="937"/>
                </a:lnTo>
                <a:lnTo>
                  <a:pt x="824" y="940"/>
                </a:lnTo>
                <a:lnTo>
                  <a:pt x="833" y="943"/>
                </a:lnTo>
                <a:lnTo>
                  <a:pt x="842" y="945"/>
                </a:lnTo>
                <a:lnTo>
                  <a:pt x="850" y="947"/>
                </a:lnTo>
                <a:lnTo>
                  <a:pt x="859" y="947"/>
                </a:lnTo>
                <a:lnTo>
                  <a:pt x="867" y="947"/>
                </a:lnTo>
                <a:lnTo>
                  <a:pt x="876" y="945"/>
                </a:lnTo>
                <a:lnTo>
                  <a:pt x="885" y="943"/>
                </a:lnTo>
                <a:lnTo>
                  <a:pt x="892" y="940"/>
                </a:lnTo>
                <a:lnTo>
                  <a:pt x="900" y="937"/>
                </a:lnTo>
                <a:lnTo>
                  <a:pt x="907" y="932"/>
                </a:lnTo>
                <a:lnTo>
                  <a:pt x="914" y="927"/>
                </a:lnTo>
                <a:lnTo>
                  <a:pt x="920" y="921"/>
                </a:lnTo>
                <a:lnTo>
                  <a:pt x="927" y="914"/>
                </a:lnTo>
                <a:lnTo>
                  <a:pt x="932" y="908"/>
                </a:lnTo>
                <a:lnTo>
                  <a:pt x="937" y="900"/>
                </a:lnTo>
                <a:lnTo>
                  <a:pt x="940" y="891"/>
                </a:lnTo>
                <a:lnTo>
                  <a:pt x="943" y="884"/>
                </a:lnTo>
                <a:lnTo>
                  <a:pt x="945" y="875"/>
                </a:lnTo>
                <a:lnTo>
                  <a:pt x="946" y="868"/>
                </a:lnTo>
                <a:lnTo>
                  <a:pt x="946" y="859"/>
                </a:lnTo>
                <a:lnTo>
                  <a:pt x="946" y="850"/>
                </a:lnTo>
                <a:lnTo>
                  <a:pt x="945" y="842"/>
                </a:lnTo>
                <a:lnTo>
                  <a:pt x="943" y="833"/>
                </a:lnTo>
                <a:lnTo>
                  <a:pt x="940" y="826"/>
                </a:lnTo>
                <a:lnTo>
                  <a:pt x="937" y="818"/>
                </a:lnTo>
                <a:lnTo>
                  <a:pt x="932" y="810"/>
                </a:lnTo>
                <a:lnTo>
                  <a:pt x="927" y="803"/>
                </a:lnTo>
                <a:lnTo>
                  <a:pt x="920" y="796"/>
                </a:lnTo>
                <a:close/>
              </a:path>
            </a:pathLst>
          </a:custGeom>
          <a:solidFill>
            <a:srgbClr val="51C3F9"/>
          </a:solidFill>
          <a:ln>
            <a:noFill/>
          </a:ln>
          <a:extLst/>
        </p:spPr>
        <p:txBody>
          <a:bodyPr/>
          <a:lstStyle/>
          <a:p>
            <a:pPr eaLnBrk="1" fontAlgn="auto" hangingPunct="1">
              <a:spcBef>
                <a:spcPts val="0"/>
              </a:spcBef>
              <a:spcAft>
                <a:spcPts val="0"/>
              </a:spcAft>
              <a:defRPr/>
            </a:pPr>
            <a:endParaRPr lang="en-US">
              <a:solidFill>
                <a:schemeClr val="bg1">
                  <a:lumMod val="95000"/>
                </a:schemeClr>
              </a:solidFill>
              <a:latin typeface="+mn-lt"/>
            </a:endParaRPr>
          </a:p>
        </p:txBody>
      </p:sp>
      <p:sp>
        <p:nvSpPr>
          <p:cNvPr id="11" name="Rectangle 10"/>
          <p:cNvSpPr/>
          <p:nvPr/>
        </p:nvSpPr>
        <p:spPr>
          <a:xfrm>
            <a:off x="1323182" y="1992052"/>
            <a:ext cx="2389010" cy="584200"/>
          </a:xfrm>
          <a:prstGeom prst="rect">
            <a:avLst/>
          </a:prstGeom>
        </p:spPr>
        <p:txBody>
          <a:bodyPr anchor="ctr"/>
          <a:lstStyle/>
          <a:p>
            <a:pPr eaLnBrk="1" fontAlgn="auto" hangingPunct="1">
              <a:spcAft>
                <a:spcPts val="0"/>
              </a:spcAft>
              <a:defRPr/>
            </a:pPr>
            <a:r>
              <a:rPr lang="en-US" sz="3200" b="1" spc="-150" noProof="1" smtClean="0">
                <a:solidFill>
                  <a:srgbClr val="FFC000"/>
                </a:solidFill>
                <a:latin typeface="Open Sans" panose="020B0606030504020204" pitchFamily="34" charset="0"/>
                <a:ea typeface="Open Sans" panose="020B0606030504020204" pitchFamily="34" charset="0"/>
                <a:cs typeface="Open Sans" panose="020B0606030504020204" pitchFamily="34" charset="0"/>
              </a:rPr>
              <a:t>entrepreneur</a:t>
            </a:r>
            <a:endParaRPr lang="en-US" sz="3200" spc="-150" noProof="1">
              <a:solidFill>
                <a:srgbClr val="FFC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Rectangle 13"/>
          <p:cNvSpPr/>
          <p:nvPr/>
        </p:nvSpPr>
        <p:spPr>
          <a:xfrm>
            <a:off x="7128140" y="1992052"/>
            <a:ext cx="2724855" cy="584200"/>
          </a:xfrm>
          <a:prstGeom prst="rect">
            <a:avLst/>
          </a:prstGeom>
        </p:spPr>
        <p:txBody>
          <a:bodyPr anchor="ctr"/>
          <a:lstStyle/>
          <a:p>
            <a:pPr eaLnBrk="1" fontAlgn="auto" hangingPunct="1">
              <a:spcAft>
                <a:spcPts val="0"/>
              </a:spcAft>
              <a:defRPr/>
            </a:pPr>
            <a:r>
              <a:rPr lang="en-US" sz="3200" b="1" spc="-150" noProof="1" smtClean="0">
                <a:solidFill>
                  <a:srgbClr val="E77384"/>
                </a:solidFill>
                <a:latin typeface="Open Sans" panose="020B0606030504020204" pitchFamily="34" charset="0"/>
                <a:ea typeface="Open Sans" panose="020B0606030504020204" pitchFamily="34" charset="0"/>
                <a:cs typeface="Open Sans" panose="020B0606030504020204" pitchFamily="34" charset="0"/>
              </a:rPr>
              <a:t>technopreneur</a:t>
            </a:r>
            <a:endParaRPr lang="en-US" sz="3200" spc="-150" noProof="1">
              <a:solidFill>
                <a:srgbClr val="E77384"/>
              </a:solidFill>
              <a:latin typeface="Open Sans" panose="020B0606030504020204" pitchFamily="34" charset="0"/>
              <a:ea typeface="Open Sans" panose="020B0606030504020204" pitchFamily="34" charset="0"/>
              <a:cs typeface="Open Sans" panose="020B0606030504020204" pitchFamily="34" charset="0"/>
            </a:endParaRPr>
          </a:p>
        </p:txBody>
      </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42"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1000"/>
                                        <p:tgtEl>
                                          <p:spTgt spid="8"/>
                                        </p:tgtEl>
                                      </p:cBhvr>
                                    </p:animEffect>
                                    <p:anim calcmode="lin" valueType="num">
                                      <p:cBhvr>
                                        <p:cTn id="13" dur="1000" fill="hold"/>
                                        <p:tgtEl>
                                          <p:spTgt spid="8"/>
                                        </p:tgtEl>
                                        <p:attrNameLst>
                                          <p:attrName>ppt_x</p:attrName>
                                        </p:attrNameLst>
                                      </p:cBhvr>
                                      <p:tavLst>
                                        <p:tav tm="0">
                                          <p:val>
                                            <p:strVal val="#ppt_x"/>
                                          </p:val>
                                        </p:tav>
                                        <p:tav tm="100000">
                                          <p:val>
                                            <p:strVal val="#ppt_x"/>
                                          </p:val>
                                        </p:tav>
                                      </p:tavLst>
                                    </p:anim>
                                    <p:anim calcmode="lin" valueType="num">
                                      <p:cBhvr>
                                        <p:cTn id="14" dur="1000" fill="hold"/>
                                        <p:tgtEl>
                                          <p:spTgt spid="8"/>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1174"/>
                                        </p:tgtEl>
                                        <p:attrNameLst>
                                          <p:attrName>style.visibility</p:attrName>
                                        </p:attrNameLst>
                                      </p:cBhvr>
                                      <p:to>
                                        <p:strVal val="visible"/>
                                      </p:to>
                                    </p:set>
                                    <p:animEffect transition="in" filter="fade">
                                      <p:cBhvr>
                                        <p:cTn id="17" dur="1000"/>
                                        <p:tgtEl>
                                          <p:spTgt spid="1174"/>
                                        </p:tgtEl>
                                      </p:cBhvr>
                                    </p:animEffect>
                                    <p:anim calcmode="lin" valueType="num">
                                      <p:cBhvr>
                                        <p:cTn id="18" dur="1000" fill="hold"/>
                                        <p:tgtEl>
                                          <p:spTgt spid="1174"/>
                                        </p:tgtEl>
                                        <p:attrNameLst>
                                          <p:attrName>ppt_x</p:attrName>
                                        </p:attrNameLst>
                                      </p:cBhvr>
                                      <p:tavLst>
                                        <p:tav tm="0">
                                          <p:val>
                                            <p:strVal val="#ppt_x"/>
                                          </p:val>
                                        </p:tav>
                                        <p:tav tm="100000">
                                          <p:val>
                                            <p:strVal val="#ppt_x"/>
                                          </p:val>
                                        </p:tav>
                                      </p:tavLst>
                                    </p:anim>
                                    <p:anim calcmode="lin" valueType="num">
                                      <p:cBhvr>
                                        <p:cTn id="19" dur="1000" fill="hold"/>
                                        <p:tgtEl>
                                          <p:spTgt spid="1174"/>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1000"/>
                                        <p:tgtEl>
                                          <p:spTgt spid="12"/>
                                        </p:tgtEl>
                                      </p:cBhvr>
                                    </p:animEffect>
                                    <p:anim calcmode="lin" valueType="num">
                                      <p:cBhvr>
                                        <p:cTn id="23" dur="1000" fill="hold"/>
                                        <p:tgtEl>
                                          <p:spTgt spid="12"/>
                                        </p:tgtEl>
                                        <p:attrNameLst>
                                          <p:attrName>ppt_x</p:attrName>
                                        </p:attrNameLst>
                                      </p:cBhvr>
                                      <p:tavLst>
                                        <p:tav tm="0">
                                          <p:val>
                                            <p:strVal val="#ppt_x"/>
                                          </p:val>
                                        </p:tav>
                                        <p:tav tm="100000">
                                          <p:val>
                                            <p:strVal val="#ppt_x"/>
                                          </p:val>
                                        </p:tav>
                                      </p:tavLst>
                                    </p:anim>
                                    <p:anim calcmode="lin" valueType="num">
                                      <p:cBhvr>
                                        <p:cTn id="24" dur="1000" fill="hold"/>
                                        <p:tgtEl>
                                          <p:spTgt spid="12"/>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1000"/>
                                        <p:tgtEl>
                                          <p:spTgt spid="13"/>
                                        </p:tgtEl>
                                      </p:cBhvr>
                                    </p:animEffect>
                                    <p:anim calcmode="lin" valueType="num">
                                      <p:cBhvr>
                                        <p:cTn id="28" dur="1000" fill="hold"/>
                                        <p:tgtEl>
                                          <p:spTgt spid="13"/>
                                        </p:tgtEl>
                                        <p:attrNameLst>
                                          <p:attrName>ppt_x</p:attrName>
                                        </p:attrNameLst>
                                      </p:cBhvr>
                                      <p:tavLst>
                                        <p:tav tm="0">
                                          <p:val>
                                            <p:strVal val="#ppt_x"/>
                                          </p:val>
                                        </p:tav>
                                        <p:tav tm="100000">
                                          <p:val>
                                            <p:strVal val="#ppt_x"/>
                                          </p:val>
                                        </p:tav>
                                      </p:tavLst>
                                    </p:anim>
                                    <p:anim calcmode="lin" valueType="num">
                                      <p:cBhvr>
                                        <p:cTn id="29" dur="1000" fill="hold"/>
                                        <p:tgtEl>
                                          <p:spTgt spid="13"/>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0"/>
                                  </p:stCondLst>
                                  <p:childTnLst>
                                    <p:set>
                                      <p:cBhvr>
                                        <p:cTn id="31" dur="1" fill="hold">
                                          <p:stCondLst>
                                            <p:cond delay="0"/>
                                          </p:stCondLst>
                                        </p:cTn>
                                        <p:tgtEl>
                                          <p:spTgt spid="15"/>
                                        </p:tgtEl>
                                        <p:attrNameLst>
                                          <p:attrName>style.visibility</p:attrName>
                                        </p:attrNameLst>
                                      </p:cBhvr>
                                      <p:to>
                                        <p:strVal val="visible"/>
                                      </p:to>
                                    </p:set>
                                    <p:animEffect transition="in" filter="fade">
                                      <p:cBhvr>
                                        <p:cTn id="32" dur="1000"/>
                                        <p:tgtEl>
                                          <p:spTgt spid="15"/>
                                        </p:tgtEl>
                                      </p:cBhvr>
                                    </p:animEffect>
                                    <p:anim calcmode="lin" valueType="num">
                                      <p:cBhvr>
                                        <p:cTn id="33" dur="1000" fill="hold"/>
                                        <p:tgtEl>
                                          <p:spTgt spid="15"/>
                                        </p:tgtEl>
                                        <p:attrNameLst>
                                          <p:attrName>ppt_x</p:attrName>
                                        </p:attrNameLst>
                                      </p:cBhvr>
                                      <p:tavLst>
                                        <p:tav tm="0">
                                          <p:val>
                                            <p:strVal val="#ppt_x"/>
                                          </p:val>
                                        </p:tav>
                                        <p:tav tm="100000">
                                          <p:val>
                                            <p:strVal val="#ppt_x"/>
                                          </p:val>
                                        </p:tav>
                                      </p:tavLst>
                                    </p:anim>
                                    <p:anim calcmode="lin" valueType="num">
                                      <p:cBhvr>
                                        <p:cTn id="34"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animBg="1"/>
      <p:bldP spid="12" grpId="0"/>
      <p:bldP spid="1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3"/>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sp>
      <p:cxnSp>
        <p:nvCxnSpPr>
          <p:cNvPr id="9" name="Straight Connector 8"/>
          <p:cNvCxnSpPr/>
          <p:nvPr/>
        </p:nvCxnSpPr>
        <p:spPr>
          <a:xfrm flipH="1">
            <a:off x="6159500" y="2330450"/>
            <a:ext cx="144621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a:off x="1854200" y="4716463"/>
            <a:ext cx="575151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1846263" y="4716463"/>
            <a:ext cx="0" cy="212883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7605713" y="2301875"/>
            <a:ext cx="0" cy="241458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 name="Rectangle 4"/>
          <p:cNvSpPr/>
          <p:nvPr/>
        </p:nvSpPr>
        <p:spPr>
          <a:xfrm>
            <a:off x="382137" y="1512544"/>
            <a:ext cx="2446788" cy="1506148"/>
          </a:xfrm>
          <a:prstGeom prst="rect">
            <a:avLst/>
          </a:prstGeom>
        </p:spPr>
        <p:txBody>
          <a:bodyPr anchor="ctr"/>
          <a:lstStyle/>
          <a:p>
            <a:pPr algn="r" eaLnBrk="1" fontAlgn="auto" hangingPunct="1">
              <a:spcAft>
                <a:spcPts val="0"/>
              </a:spcAft>
            </a:pPr>
            <a:r>
              <a:rPr lang="en-US" sz="2800" b="1" spc="-150" noProof="1">
                <a:solidFill>
                  <a:srgbClr val="FFC000"/>
                </a:solidFill>
                <a:latin typeface="Open Sans" panose="020B0606030504020204" pitchFamily="34" charset="0"/>
                <a:ea typeface="Open Sans" panose="020B0606030504020204" pitchFamily="34" charset="0"/>
                <a:cs typeface="Open Sans" panose="020B0606030504020204" pitchFamily="34" charset="0"/>
              </a:rPr>
              <a:t>What should you do to be an </a:t>
            </a:r>
            <a:r>
              <a:rPr lang="en-US" sz="2800" b="1" spc="-150" noProof="1" smtClean="0">
                <a:solidFill>
                  <a:srgbClr val="FFC000"/>
                </a:solidFill>
                <a:latin typeface="Open Sans" panose="020B0606030504020204" pitchFamily="34" charset="0"/>
                <a:ea typeface="Open Sans" panose="020B0606030504020204" pitchFamily="34" charset="0"/>
                <a:cs typeface="Open Sans" panose="020B0606030504020204" pitchFamily="34" charset="0"/>
              </a:rPr>
              <a:t>technopreneur </a:t>
            </a:r>
            <a:r>
              <a:rPr lang="en-US" sz="2800" b="1" spc="-150" noProof="1">
                <a:solidFill>
                  <a:srgbClr val="FFC000"/>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 name="Rectangle 6"/>
          <p:cNvSpPr/>
          <p:nvPr/>
        </p:nvSpPr>
        <p:spPr>
          <a:xfrm rot="16200000">
            <a:off x="2683669" y="2293144"/>
            <a:ext cx="727075" cy="1190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0" name="Freeform 500"/>
          <p:cNvSpPr>
            <a:spLocks noEditPoints="1"/>
          </p:cNvSpPr>
          <p:nvPr/>
        </p:nvSpPr>
        <p:spPr bwMode="auto">
          <a:xfrm>
            <a:off x="3259138" y="1450975"/>
            <a:ext cx="2689225" cy="1258888"/>
          </a:xfrm>
          <a:custGeom>
            <a:avLst/>
            <a:gdLst>
              <a:gd name="T0" fmla="*/ 2621521 w 3168"/>
              <a:gd name="T1" fmla="*/ 892028 h 1480"/>
              <a:gd name="T2" fmla="*/ 2537449 w 3168"/>
              <a:gd name="T3" fmla="*/ 739814 h 1480"/>
              <a:gd name="T4" fmla="*/ 2454226 w 3168"/>
              <a:gd name="T5" fmla="*/ 405622 h 1480"/>
              <a:gd name="T6" fmla="*/ 2511972 w 3168"/>
              <a:gd name="T7" fmla="*/ 892028 h 1480"/>
              <a:gd name="T8" fmla="*/ 2446583 w 3168"/>
              <a:gd name="T9" fmla="*/ 448991 h 1480"/>
              <a:gd name="T10" fmla="*/ 2421956 w 3168"/>
              <a:gd name="T11" fmla="*/ 401370 h 1480"/>
              <a:gd name="T12" fmla="*/ 2395630 w 3168"/>
              <a:gd name="T13" fmla="*/ 477052 h 1480"/>
              <a:gd name="T14" fmla="*/ 2295423 w 3168"/>
              <a:gd name="T15" fmla="*/ 774679 h 1480"/>
              <a:gd name="T16" fmla="*/ 2210502 w 3168"/>
              <a:gd name="T17" fmla="*/ 739814 h 1480"/>
              <a:gd name="T18" fmla="*/ 2210502 w 3168"/>
              <a:gd name="T19" fmla="*/ 1091013 h 1480"/>
              <a:gd name="T20" fmla="*/ 2089064 w 3168"/>
              <a:gd name="T21" fmla="*/ 882675 h 1480"/>
              <a:gd name="T22" fmla="*/ 2078024 w 3168"/>
              <a:gd name="T23" fmla="*/ 758522 h 1480"/>
              <a:gd name="T24" fmla="*/ 2078024 w 3168"/>
              <a:gd name="T25" fmla="*/ 1258534 h 1480"/>
              <a:gd name="T26" fmla="*/ 2041508 w 3168"/>
              <a:gd name="T27" fmla="*/ 705799 h 1480"/>
              <a:gd name="T28" fmla="*/ 2030468 w 3168"/>
              <a:gd name="T29" fmla="*/ 1116524 h 1480"/>
              <a:gd name="T30" fmla="*/ 1993103 w 3168"/>
              <a:gd name="T31" fmla="*/ 594402 h 1480"/>
              <a:gd name="T32" fmla="*/ 1934507 w 3168"/>
              <a:gd name="T33" fmla="*/ 1064652 h 1480"/>
              <a:gd name="T34" fmla="*/ 1934507 w 3168"/>
              <a:gd name="T35" fmla="*/ 429432 h 1480"/>
              <a:gd name="T36" fmla="*/ 1934507 w 3168"/>
              <a:gd name="T37" fmla="*/ 970262 h 1480"/>
              <a:gd name="T38" fmla="*/ 1886951 w 3168"/>
              <a:gd name="T39" fmla="*/ 637771 h 1480"/>
              <a:gd name="T40" fmla="*/ 1876761 w 3168"/>
              <a:gd name="T41" fmla="*/ 958357 h 1480"/>
              <a:gd name="T42" fmla="*/ 1655965 w 3168"/>
              <a:gd name="T43" fmla="*/ 911587 h 1480"/>
              <a:gd name="T44" fmla="*/ 1642378 w 3168"/>
              <a:gd name="T45" fmla="*/ 250856 h 1480"/>
              <a:gd name="T46" fmla="*/ 1642378 w 3168"/>
              <a:gd name="T47" fmla="*/ 1072305 h 1480"/>
              <a:gd name="T48" fmla="*/ 1593124 w 3168"/>
              <a:gd name="T49" fmla="*/ 508516 h 1480"/>
              <a:gd name="T50" fmla="*/ 1543020 w 3168"/>
              <a:gd name="T51" fmla="*/ 713453 h 1480"/>
              <a:gd name="T52" fmla="*/ 1514147 w 3168"/>
              <a:gd name="T53" fmla="*/ 880974 h 1480"/>
              <a:gd name="T54" fmla="*/ 1464043 w 3168"/>
              <a:gd name="T55" fmla="*/ 506815 h 1480"/>
              <a:gd name="T56" fmla="*/ 1464043 w 3168"/>
              <a:gd name="T57" fmla="*/ 688792 h 1480"/>
              <a:gd name="T58" fmla="*/ 1413940 w 3168"/>
              <a:gd name="T59" fmla="*/ 430283 h 1480"/>
              <a:gd name="T60" fmla="*/ 1399503 w 3168"/>
              <a:gd name="T61" fmla="*/ 1176899 h 1480"/>
              <a:gd name="T62" fmla="*/ 1290804 w 3168"/>
              <a:gd name="T63" fmla="*/ 34865 h 1480"/>
              <a:gd name="T64" fmla="*/ 1240700 w 3168"/>
              <a:gd name="T65" fmla="*/ 994922 h 1480"/>
              <a:gd name="T66" fmla="*/ 1211827 w 3168"/>
              <a:gd name="T67" fmla="*/ 457494 h 1480"/>
              <a:gd name="T68" fmla="*/ 1176160 w 3168"/>
              <a:gd name="T69" fmla="*/ 473651 h 1480"/>
              <a:gd name="T70" fmla="*/ 1161723 w 3168"/>
              <a:gd name="T71" fmla="*/ 1059550 h 1480"/>
              <a:gd name="T72" fmla="*/ 1098882 w 3168"/>
              <a:gd name="T73" fmla="*/ 559537 h 1480"/>
              <a:gd name="T74" fmla="*/ 1048778 w 3168"/>
              <a:gd name="T75" fmla="*/ 908185 h 1480"/>
              <a:gd name="T76" fmla="*/ 1048778 w 3168"/>
              <a:gd name="T77" fmla="*/ 250856 h 1480"/>
              <a:gd name="T78" fmla="*/ 1034342 w 3168"/>
              <a:gd name="T79" fmla="*/ 748318 h 1480"/>
              <a:gd name="T80" fmla="*/ 813546 w 3168"/>
              <a:gd name="T81" fmla="*/ 1197308 h 1480"/>
              <a:gd name="T82" fmla="*/ 813546 w 3168"/>
              <a:gd name="T83" fmla="*/ 633519 h 1480"/>
              <a:gd name="T84" fmla="*/ 803356 w 3168"/>
              <a:gd name="T85" fmla="*/ 637771 h 1480"/>
              <a:gd name="T86" fmla="*/ 803356 w 3168"/>
              <a:gd name="T87" fmla="*/ 1197308 h 1480"/>
              <a:gd name="T88" fmla="*/ 765990 w 3168"/>
              <a:gd name="T89" fmla="*/ 653927 h 1480"/>
              <a:gd name="T90" fmla="*/ 754950 w 3168"/>
              <a:gd name="T91" fmla="*/ 1064652 h 1480"/>
              <a:gd name="T92" fmla="*/ 718434 w 3168"/>
              <a:gd name="T93" fmla="*/ 543381 h 1480"/>
              <a:gd name="T94" fmla="*/ 707394 w 3168"/>
              <a:gd name="T95" fmla="*/ 940499 h 1480"/>
              <a:gd name="T96" fmla="*/ 659839 w 3168"/>
              <a:gd name="T97" fmla="*/ 441337 h 1480"/>
              <a:gd name="T98" fmla="*/ 622473 w 3168"/>
              <a:gd name="T99" fmla="*/ 1083360 h 1480"/>
              <a:gd name="T100" fmla="*/ 612283 w 3168"/>
              <a:gd name="T101" fmla="*/ 471950 h 1480"/>
              <a:gd name="T102" fmla="*/ 512075 w 3168"/>
              <a:gd name="T103" fmla="*/ 1258534 h 1480"/>
              <a:gd name="T104" fmla="*/ 512075 w 3168"/>
              <a:gd name="T105" fmla="*/ 388615 h 1480"/>
              <a:gd name="T106" fmla="*/ 512075 w 3168"/>
              <a:gd name="T107" fmla="*/ 388615 h 1480"/>
              <a:gd name="T108" fmla="*/ 512075 w 3168"/>
              <a:gd name="T109" fmla="*/ 271265 h 1480"/>
              <a:gd name="T110" fmla="*/ 354122 w 3168"/>
              <a:gd name="T111" fmla="*/ 190481 h 1480"/>
              <a:gd name="T112" fmla="*/ 354122 w 3168"/>
              <a:gd name="T113" fmla="*/ 657329 h 1480"/>
              <a:gd name="T114" fmla="*/ 334590 w 3168"/>
              <a:gd name="T115" fmla="*/ 1258534 h 1480"/>
              <a:gd name="T116" fmla="*/ 298923 w 3168"/>
              <a:gd name="T117" fmla="*/ 973663 h 1480"/>
              <a:gd name="T118" fmla="*/ 244573 w 3168"/>
              <a:gd name="T119" fmla="*/ 271265 h 1480"/>
              <a:gd name="T120" fmla="*/ 298923 w 3168"/>
              <a:gd name="T121" fmla="*/ 622464 h 1480"/>
              <a:gd name="T122" fmla="*/ 229288 w 3168"/>
              <a:gd name="T123" fmla="*/ 190481 h 1480"/>
              <a:gd name="T124" fmla="*/ 212303 w 3168"/>
              <a:gd name="T125" fmla="*/ 1125878 h 148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168" h="1480">
                <a:moveTo>
                  <a:pt x="3115" y="623"/>
                </a:moveTo>
                <a:lnTo>
                  <a:pt x="3168" y="623"/>
                </a:lnTo>
                <a:lnTo>
                  <a:pt x="3168" y="1480"/>
                </a:lnTo>
                <a:lnTo>
                  <a:pt x="3115" y="1480"/>
                </a:lnTo>
                <a:lnTo>
                  <a:pt x="3115" y="1283"/>
                </a:lnTo>
                <a:lnTo>
                  <a:pt x="3144" y="1283"/>
                </a:lnTo>
                <a:lnTo>
                  <a:pt x="3144" y="1187"/>
                </a:lnTo>
                <a:lnTo>
                  <a:pt x="3115" y="1187"/>
                </a:lnTo>
                <a:lnTo>
                  <a:pt x="3115" y="1145"/>
                </a:lnTo>
                <a:lnTo>
                  <a:pt x="3144" y="1145"/>
                </a:lnTo>
                <a:lnTo>
                  <a:pt x="3144" y="1049"/>
                </a:lnTo>
                <a:lnTo>
                  <a:pt x="3115" y="1049"/>
                </a:lnTo>
                <a:lnTo>
                  <a:pt x="3115" y="870"/>
                </a:lnTo>
                <a:lnTo>
                  <a:pt x="3144" y="870"/>
                </a:lnTo>
                <a:lnTo>
                  <a:pt x="3144" y="773"/>
                </a:lnTo>
                <a:lnTo>
                  <a:pt x="3115" y="773"/>
                </a:lnTo>
                <a:lnTo>
                  <a:pt x="3115" y="623"/>
                </a:lnTo>
                <a:close/>
                <a:moveTo>
                  <a:pt x="2988" y="623"/>
                </a:moveTo>
                <a:lnTo>
                  <a:pt x="3115" y="623"/>
                </a:lnTo>
                <a:lnTo>
                  <a:pt x="3115" y="773"/>
                </a:lnTo>
                <a:lnTo>
                  <a:pt x="3087" y="773"/>
                </a:lnTo>
                <a:lnTo>
                  <a:pt x="3087" y="870"/>
                </a:lnTo>
                <a:lnTo>
                  <a:pt x="3115" y="870"/>
                </a:lnTo>
                <a:lnTo>
                  <a:pt x="3115" y="1049"/>
                </a:lnTo>
                <a:lnTo>
                  <a:pt x="3087" y="1049"/>
                </a:lnTo>
                <a:lnTo>
                  <a:pt x="3087" y="1145"/>
                </a:lnTo>
                <a:lnTo>
                  <a:pt x="3115" y="1145"/>
                </a:lnTo>
                <a:lnTo>
                  <a:pt x="3115" y="1187"/>
                </a:lnTo>
                <a:lnTo>
                  <a:pt x="3087" y="1187"/>
                </a:lnTo>
                <a:lnTo>
                  <a:pt x="3087" y="1283"/>
                </a:lnTo>
                <a:lnTo>
                  <a:pt x="3115" y="1283"/>
                </a:lnTo>
                <a:lnTo>
                  <a:pt x="3115" y="1480"/>
                </a:lnTo>
                <a:lnTo>
                  <a:pt x="2988" y="1480"/>
                </a:lnTo>
                <a:lnTo>
                  <a:pt x="2988" y="1419"/>
                </a:lnTo>
                <a:lnTo>
                  <a:pt x="3016" y="1419"/>
                </a:lnTo>
                <a:lnTo>
                  <a:pt x="3016" y="1324"/>
                </a:lnTo>
                <a:lnTo>
                  <a:pt x="2988" y="1324"/>
                </a:lnTo>
                <a:lnTo>
                  <a:pt x="2988" y="1283"/>
                </a:lnTo>
                <a:lnTo>
                  <a:pt x="3016" y="1283"/>
                </a:lnTo>
                <a:lnTo>
                  <a:pt x="3016" y="1187"/>
                </a:lnTo>
                <a:lnTo>
                  <a:pt x="2988" y="1187"/>
                </a:lnTo>
                <a:lnTo>
                  <a:pt x="2988" y="1145"/>
                </a:lnTo>
                <a:lnTo>
                  <a:pt x="3016" y="1145"/>
                </a:lnTo>
                <a:lnTo>
                  <a:pt x="3016" y="1049"/>
                </a:lnTo>
                <a:lnTo>
                  <a:pt x="2988" y="1049"/>
                </a:lnTo>
                <a:lnTo>
                  <a:pt x="2988" y="1008"/>
                </a:lnTo>
                <a:lnTo>
                  <a:pt x="3016" y="1008"/>
                </a:lnTo>
                <a:lnTo>
                  <a:pt x="3016" y="911"/>
                </a:lnTo>
                <a:lnTo>
                  <a:pt x="2988" y="911"/>
                </a:lnTo>
                <a:lnTo>
                  <a:pt x="2988" y="870"/>
                </a:lnTo>
                <a:lnTo>
                  <a:pt x="3016" y="870"/>
                </a:lnTo>
                <a:lnTo>
                  <a:pt x="3016" y="773"/>
                </a:lnTo>
                <a:lnTo>
                  <a:pt x="2988" y="773"/>
                </a:lnTo>
                <a:lnTo>
                  <a:pt x="2988" y="623"/>
                </a:lnTo>
                <a:close/>
                <a:moveTo>
                  <a:pt x="2859" y="386"/>
                </a:moveTo>
                <a:lnTo>
                  <a:pt x="2859" y="386"/>
                </a:lnTo>
                <a:lnTo>
                  <a:pt x="2864" y="387"/>
                </a:lnTo>
                <a:lnTo>
                  <a:pt x="2867" y="388"/>
                </a:lnTo>
                <a:lnTo>
                  <a:pt x="2871" y="389"/>
                </a:lnTo>
                <a:lnTo>
                  <a:pt x="2873" y="392"/>
                </a:lnTo>
                <a:lnTo>
                  <a:pt x="2875" y="395"/>
                </a:lnTo>
                <a:lnTo>
                  <a:pt x="2878" y="398"/>
                </a:lnTo>
                <a:lnTo>
                  <a:pt x="2879" y="403"/>
                </a:lnTo>
                <a:lnTo>
                  <a:pt x="2879" y="406"/>
                </a:lnTo>
                <a:lnTo>
                  <a:pt x="2879" y="413"/>
                </a:lnTo>
                <a:lnTo>
                  <a:pt x="2875" y="419"/>
                </a:lnTo>
                <a:lnTo>
                  <a:pt x="2872" y="423"/>
                </a:lnTo>
                <a:lnTo>
                  <a:pt x="2866" y="426"/>
                </a:lnTo>
                <a:lnTo>
                  <a:pt x="2866" y="472"/>
                </a:lnTo>
                <a:lnTo>
                  <a:pt x="2874" y="473"/>
                </a:lnTo>
                <a:lnTo>
                  <a:pt x="2882" y="475"/>
                </a:lnTo>
                <a:lnTo>
                  <a:pt x="2890" y="477"/>
                </a:lnTo>
                <a:lnTo>
                  <a:pt x="2897" y="481"/>
                </a:lnTo>
                <a:lnTo>
                  <a:pt x="2904" y="484"/>
                </a:lnTo>
                <a:lnTo>
                  <a:pt x="2911" y="489"/>
                </a:lnTo>
                <a:lnTo>
                  <a:pt x="2917" y="495"/>
                </a:lnTo>
                <a:lnTo>
                  <a:pt x="2922" y="500"/>
                </a:lnTo>
                <a:lnTo>
                  <a:pt x="2927" y="506"/>
                </a:lnTo>
                <a:lnTo>
                  <a:pt x="2932" y="513"/>
                </a:lnTo>
                <a:lnTo>
                  <a:pt x="2936" y="520"/>
                </a:lnTo>
                <a:lnTo>
                  <a:pt x="2940" y="528"/>
                </a:lnTo>
                <a:lnTo>
                  <a:pt x="2942" y="536"/>
                </a:lnTo>
                <a:lnTo>
                  <a:pt x="2944" y="544"/>
                </a:lnTo>
                <a:lnTo>
                  <a:pt x="2945" y="552"/>
                </a:lnTo>
                <a:lnTo>
                  <a:pt x="2945" y="561"/>
                </a:lnTo>
                <a:lnTo>
                  <a:pt x="2945" y="623"/>
                </a:lnTo>
                <a:lnTo>
                  <a:pt x="2988" y="623"/>
                </a:lnTo>
                <a:lnTo>
                  <a:pt x="2988" y="773"/>
                </a:lnTo>
                <a:lnTo>
                  <a:pt x="2958" y="773"/>
                </a:lnTo>
                <a:lnTo>
                  <a:pt x="2958" y="870"/>
                </a:lnTo>
                <a:lnTo>
                  <a:pt x="2988" y="870"/>
                </a:lnTo>
                <a:lnTo>
                  <a:pt x="2988" y="911"/>
                </a:lnTo>
                <a:lnTo>
                  <a:pt x="2958" y="911"/>
                </a:lnTo>
                <a:lnTo>
                  <a:pt x="2958" y="1008"/>
                </a:lnTo>
                <a:lnTo>
                  <a:pt x="2988" y="1008"/>
                </a:lnTo>
                <a:lnTo>
                  <a:pt x="2988" y="1049"/>
                </a:lnTo>
                <a:lnTo>
                  <a:pt x="2958" y="1049"/>
                </a:lnTo>
                <a:lnTo>
                  <a:pt x="2958" y="1145"/>
                </a:lnTo>
                <a:lnTo>
                  <a:pt x="2988" y="1145"/>
                </a:lnTo>
                <a:lnTo>
                  <a:pt x="2988" y="1187"/>
                </a:lnTo>
                <a:lnTo>
                  <a:pt x="2958" y="1187"/>
                </a:lnTo>
                <a:lnTo>
                  <a:pt x="2958" y="1283"/>
                </a:lnTo>
                <a:lnTo>
                  <a:pt x="2988" y="1283"/>
                </a:lnTo>
                <a:lnTo>
                  <a:pt x="2988" y="1324"/>
                </a:lnTo>
                <a:lnTo>
                  <a:pt x="2958" y="1324"/>
                </a:lnTo>
                <a:lnTo>
                  <a:pt x="2958" y="1419"/>
                </a:lnTo>
                <a:lnTo>
                  <a:pt x="2988" y="1419"/>
                </a:lnTo>
                <a:lnTo>
                  <a:pt x="2988" y="1480"/>
                </a:lnTo>
                <a:lnTo>
                  <a:pt x="2859" y="1480"/>
                </a:lnTo>
                <a:lnTo>
                  <a:pt x="2859" y="1145"/>
                </a:lnTo>
                <a:lnTo>
                  <a:pt x="2888" y="1145"/>
                </a:lnTo>
                <a:lnTo>
                  <a:pt x="2888" y="1049"/>
                </a:lnTo>
                <a:lnTo>
                  <a:pt x="2859" y="1049"/>
                </a:lnTo>
                <a:lnTo>
                  <a:pt x="2859" y="623"/>
                </a:lnTo>
                <a:lnTo>
                  <a:pt x="2897" y="623"/>
                </a:lnTo>
                <a:lnTo>
                  <a:pt x="2897" y="561"/>
                </a:lnTo>
                <a:lnTo>
                  <a:pt x="2897" y="553"/>
                </a:lnTo>
                <a:lnTo>
                  <a:pt x="2895" y="545"/>
                </a:lnTo>
                <a:lnTo>
                  <a:pt x="2891" y="538"/>
                </a:lnTo>
                <a:lnTo>
                  <a:pt x="2887" y="532"/>
                </a:lnTo>
                <a:lnTo>
                  <a:pt x="2881" y="528"/>
                </a:lnTo>
                <a:lnTo>
                  <a:pt x="2874" y="524"/>
                </a:lnTo>
                <a:lnTo>
                  <a:pt x="2867" y="522"/>
                </a:lnTo>
                <a:lnTo>
                  <a:pt x="2859" y="521"/>
                </a:lnTo>
                <a:lnTo>
                  <a:pt x="2859" y="386"/>
                </a:lnTo>
                <a:close/>
                <a:moveTo>
                  <a:pt x="2732" y="623"/>
                </a:moveTo>
                <a:lnTo>
                  <a:pt x="2773" y="623"/>
                </a:lnTo>
                <a:lnTo>
                  <a:pt x="2773" y="561"/>
                </a:lnTo>
                <a:lnTo>
                  <a:pt x="2774" y="552"/>
                </a:lnTo>
                <a:lnTo>
                  <a:pt x="2775" y="544"/>
                </a:lnTo>
                <a:lnTo>
                  <a:pt x="2777" y="536"/>
                </a:lnTo>
                <a:lnTo>
                  <a:pt x="2780" y="528"/>
                </a:lnTo>
                <a:lnTo>
                  <a:pt x="2783" y="520"/>
                </a:lnTo>
                <a:lnTo>
                  <a:pt x="2787" y="513"/>
                </a:lnTo>
                <a:lnTo>
                  <a:pt x="2791" y="506"/>
                </a:lnTo>
                <a:lnTo>
                  <a:pt x="2796" y="500"/>
                </a:lnTo>
                <a:lnTo>
                  <a:pt x="2802" y="495"/>
                </a:lnTo>
                <a:lnTo>
                  <a:pt x="2809" y="489"/>
                </a:lnTo>
                <a:lnTo>
                  <a:pt x="2814" y="484"/>
                </a:lnTo>
                <a:lnTo>
                  <a:pt x="2821" y="481"/>
                </a:lnTo>
                <a:lnTo>
                  <a:pt x="2829" y="477"/>
                </a:lnTo>
                <a:lnTo>
                  <a:pt x="2836" y="475"/>
                </a:lnTo>
                <a:lnTo>
                  <a:pt x="2844" y="473"/>
                </a:lnTo>
                <a:lnTo>
                  <a:pt x="2852" y="472"/>
                </a:lnTo>
                <a:lnTo>
                  <a:pt x="2852" y="426"/>
                </a:lnTo>
                <a:lnTo>
                  <a:pt x="2848" y="423"/>
                </a:lnTo>
                <a:lnTo>
                  <a:pt x="2843" y="419"/>
                </a:lnTo>
                <a:lnTo>
                  <a:pt x="2841" y="413"/>
                </a:lnTo>
                <a:lnTo>
                  <a:pt x="2840" y="406"/>
                </a:lnTo>
                <a:lnTo>
                  <a:pt x="2840" y="403"/>
                </a:lnTo>
                <a:lnTo>
                  <a:pt x="2841" y="398"/>
                </a:lnTo>
                <a:lnTo>
                  <a:pt x="2843" y="395"/>
                </a:lnTo>
                <a:lnTo>
                  <a:pt x="2845" y="392"/>
                </a:lnTo>
                <a:lnTo>
                  <a:pt x="2849" y="389"/>
                </a:lnTo>
                <a:lnTo>
                  <a:pt x="2851" y="388"/>
                </a:lnTo>
                <a:lnTo>
                  <a:pt x="2856" y="387"/>
                </a:lnTo>
                <a:lnTo>
                  <a:pt x="2859" y="386"/>
                </a:lnTo>
                <a:lnTo>
                  <a:pt x="2859" y="521"/>
                </a:lnTo>
                <a:lnTo>
                  <a:pt x="2852" y="522"/>
                </a:lnTo>
                <a:lnTo>
                  <a:pt x="2844" y="524"/>
                </a:lnTo>
                <a:lnTo>
                  <a:pt x="2839" y="528"/>
                </a:lnTo>
                <a:lnTo>
                  <a:pt x="2833" y="532"/>
                </a:lnTo>
                <a:lnTo>
                  <a:pt x="2828" y="538"/>
                </a:lnTo>
                <a:lnTo>
                  <a:pt x="2825" y="545"/>
                </a:lnTo>
                <a:lnTo>
                  <a:pt x="2822" y="553"/>
                </a:lnTo>
                <a:lnTo>
                  <a:pt x="2821" y="561"/>
                </a:lnTo>
                <a:lnTo>
                  <a:pt x="2821" y="623"/>
                </a:lnTo>
                <a:lnTo>
                  <a:pt x="2859" y="623"/>
                </a:lnTo>
                <a:lnTo>
                  <a:pt x="2859" y="1049"/>
                </a:lnTo>
                <a:lnTo>
                  <a:pt x="2831" y="1049"/>
                </a:lnTo>
                <a:lnTo>
                  <a:pt x="2831" y="1145"/>
                </a:lnTo>
                <a:lnTo>
                  <a:pt x="2859" y="1145"/>
                </a:lnTo>
                <a:lnTo>
                  <a:pt x="2859" y="1480"/>
                </a:lnTo>
                <a:lnTo>
                  <a:pt x="2732" y="1480"/>
                </a:lnTo>
                <a:lnTo>
                  <a:pt x="2732" y="1419"/>
                </a:lnTo>
                <a:lnTo>
                  <a:pt x="2761" y="1419"/>
                </a:lnTo>
                <a:lnTo>
                  <a:pt x="2761" y="1324"/>
                </a:lnTo>
                <a:lnTo>
                  <a:pt x="2732" y="1324"/>
                </a:lnTo>
                <a:lnTo>
                  <a:pt x="2732" y="1145"/>
                </a:lnTo>
                <a:lnTo>
                  <a:pt x="2761" y="1145"/>
                </a:lnTo>
                <a:lnTo>
                  <a:pt x="2761" y="1049"/>
                </a:lnTo>
                <a:lnTo>
                  <a:pt x="2732" y="1049"/>
                </a:lnTo>
                <a:lnTo>
                  <a:pt x="2732" y="1008"/>
                </a:lnTo>
                <a:lnTo>
                  <a:pt x="2761" y="1008"/>
                </a:lnTo>
                <a:lnTo>
                  <a:pt x="2761" y="911"/>
                </a:lnTo>
                <a:lnTo>
                  <a:pt x="2732" y="911"/>
                </a:lnTo>
                <a:lnTo>
                  <a:pt x="2732" y="623"/>
                </a:lnTo>
                <a:close/>
                <a:moveTo>
                  <a:pt x="2603" y="623"/>
                </a:moveTo>
                <a:lnTo>
                  <a:pt x="2732" y="623"/>
                </a:lnTo>
                <a:lnTo>
                  <a:pt x="2732" y="911"/>
                </a:lnTo>
                <a:lnTo>
                  <a:pt x="2703" y="911"/>
                </a:lnTo>
                <a:lnTo>
                  <a:pt x="2703" y="1008"/>
                </a:lnTo>
                <a:lnTo>
                  <a:pt x="2732" y="1008"/>
                </a:lnTo>
                <a:lnTo>
                  <a:pt x="2732" y="1049"/>
                </a:lnTo>
                <a:lnTo>
                  <a:pt x="2703" y="1049"/>
                </a:lnTo>
                <a:lnTo>
                  <a:pt x="2703" y="1145"/>
                </a:lnTo>
                <a:lnTo>
                  <a:pt x="2732" y="1145"/>
                </a:lnTo>
                <a:lnTo>
                  <a:pt x="2732" y="1324"/>
                </a:lnTo>
                <a:lnTo>
                  <a:pt x="2703" y="1324"/>
                </a:lnTo>
                <a:lnTo>
                  <a:pt x="2703" y="1419"/>
                </a:lnTo>
                <a:lnTo>
                  <a:pt x="2732" y="1419"/>
                </a:lnTo>
                <a:lnTo>
                  <a:pt x="2732" y="1480"/>
                </a:lnTo>
                <a:lnTo>
                  <a:pt x="2603" y="1480"/>
                </a:lnTo>
                <a:lnTo>
                  <a:pt x="2603" y="1419"/>
                </a:lnTo>
                <a:lnTo>
                  <a:pt x="2633" y="1419"/>
                </a:lnTo>
                <a:lnTo>
                  <a:pt x="2633" y="1324"/>
                </a:lnTo>
                <a:lnTo>
                  <a:pt x="2603" y="1324"/>
                </a:lnTo>
                <a:lnTo>
                  <a:pt x="2603" y="1283"/>
                </a:lnTo>
                <a:lnTo>
                  <a:pt x="2633" y="1283"/>
                </a:lnTo>
                <a:lnTo>
                  <a:pt x="2633" y="1187"/>
                </a:lnTo>
                <a:lnTo>
                  <a:pt x="2603" y="1187"/>
                </a:lnTo>
                <a:lnTo>
                  <a:pt x="2603" y="1008"/>
                </a:lnTo>
                <a:lnTo>
                  <a:pt x="2633" y="1008"/>
                </a:lnTo>
                <a:lnTo>
                  <a:pt x="2633" y="911"/>
                </a:lnTo>
                <a:lnTo>
                  <a:pt x="2603" y="911"/>
                </a:lnTo>
                <a:lnTo>
                  <a:pt x="2603" y="870"/>
                </a:lnTo>
                <a:lnTo>
                  <a:pt x="2633" y="870"/>
                </a:lnTo>
                <a:lnTo>
                  <a:pt x="2633" y="773"/>
                </a:lnTo>
                <a:lnTo>
                  <a:pt x="2603" y="773"/>
                </a:lnTo>
                <a:lnTo>
                  <a:pt x="2603" y="623"/>
                </a:lnTo>
                <a:close/>
                <a:moveTo>
                  <a:pt x="2447" y="555"/>
                </a:moveTo>
                <a:lnTo>
                  <a:pt x="2495" y="586"/>
                </a:lnTo>
                <a:lnTo>
                  <a:pt x="2495" y="709"/>
                </a:lnTo>
                <a:lnTo>
                  <a:pt x="2546" y="709"/>
                </a:lnTo>
                <a:lnTo>
                  <a:pt x="2546" y="623"/>
                </a:lnTo>
                <a:lnTo>
                  <a:pt x="2603" y="623"/>
                </a:lnTo>
                <a:lnTo>
                  <a:pt x="2603" y="773"/>
                </a:lnTo>
                <a:lnTo>
                  <a:pt x="2575" y="773"/>
                </a:lnTo>
                <a:lnTo>
                  <a:pt x="2575" y="870"/>
                </a:lnTo>
                <a:lnTo>
                  <a:pt x="2603" y="870"/>
                </a:lnTo>
                <a:lnTo>
                  <a:pt x="2603" y="911"/>
                </a:lnTo>
                <a:lnTo>
                  <a:pt x="2575" y="911"/>
                </a:lnTo>
                <a:lnTo>
                  <a:pt x="2575" y="1008"/>
                </a:lnTo>
                <a:lnTo>
                  <a:pt x="2603" y="1008"/>
                </a:lnTo>
                <a:lnTo>
                  <a:pt x="2603" y="1187"/>
                </a:lnTo>
                <a:lnTo>
                  <a:pt x="2575" y="1187"/>
                </a:lnTo>
                <a:lnTo>
                  <a:pt x="2575" y="1283"/>
                </a:lnTo>
                <a:lnTo>
                  <a:pt x="2603" y="1283"/>
                </a:lnTo>
                <a:lnTo>
                  <a:pt x="2603" y="1324"/>
                </a:lnTo>
                <a:lnTo>
                  <a:pt x="2575" y="1324"/>
                </a:lnTo>
                <a:lnTo>
                  <a:pt x="2575" y="1419"/>
                </a:lnTo>
                <a:lnTo>
                  <a:pt x="2603" y="1419"/>
                </a:lnTo>
                <a:lnTo>
                  <a:pt x="2603" y="1480"/>
                </a:lnTo>
                <a:lnTo>
                  <a:pt x="2495" y="1480"/>
                </a:lnTo>
                <a:lnTo>
                  <a:pt x="2447" y="1480"/>
                </a:lnTo>
                <a:lnTo>
                  <a:pt x="2447" y="1418"/>
                </a:lnTo>
                <a:lnTo>
                  <a:pt x="2460" y="1418"/>
                </a:lnTo>
                <a:lnTo>
                  <a:pt x="2460" y="1321"/>
                </a:lnTo>
                <a:lnTo>
                  <a:pt x="2447" y="1318"/>
                </a:lnTo>
                <a:lnTo>
                  <a:pt x="2447" y="1276"/>
                </a:lnTo>
                <a:lnTo>
                  <a:pt x="2460" y="1277"/>
                </a:lnTo>
                <a:lnTo>
                  <a:pt x="2460" y="1180"/>
                </a:lnTo>
                <a:lnTo>
                  <a:pt x="2447" y="1176"/>
                </a:lnTo>
                <a:lnTo>
                  <a:pt x="2447" y="1134"/>
                </a:lnTo>
                <a:lnTo>
                  <a:pt x="2460" y="1136"/>
                </a:lnTo>
                <a:lnTo>
                  <a:pt x="2460" y="1038"/>
                </a:lnTo>
                <a:lnTo>
                  <a:pt x="2447" y="1034"/>
                </a:lnTo>
                <a:lnTo>
                  <a:pt x="2447" y="991"/>
                </a:lnTo>
                <a:lnTo>
                  <a:pt x="2460" y="995"/>
                </a:lnTo>
                <a:lnTo>
                  <a:pt x="2460" y="897"/>
                </a:lnTo>
                <a:lnTo>
                  <a:pt x="2447" y="892"/>
                </a:lnTo>
                <a:lnTo>
                  <a:pt x="2447" y="707"/>
                </a:lnTo>
                <a:lnTo>
                  <a:pt x="2460" y="714"/>
                </a:lnTo>
                <a:lnTo>
                  <a:pt x="2460" y="615"/>
                </a:lnTo>
                <a:lnTo>
                  <a:pt x="2447" y="607"/>
                </a:lnTo>
                <a:lnTo>
                  <a:pt x="2447" y="555"/>
                </a:lnTo>
                <a:close/>
                <a:moveTo>
                  <a:pt x="2391" y="519"/>
                </a:moveTo>
                <a:lnTo>
                  <a:pt x="2447" y="555"/>
                </a:lnTo>
                <a:lnTo>
                  <a:pt x="2447" y="607"/>
                </a:lnTo>
                <a:lnTo>
                  <a:pt x="2435" y="599"/>
                </a:lnTo>
                <a:lnTo>
                  <a:pt x="2435" y="700"/>
                </a:lnTo>
                <a:lnTo>
                  <a:pt x="2447" y="707"/>
                </a:lnTo>
                <a:lnTo>
                  <a:pt x="2447" y="892"/>
                </a:lnTo>
                <a:lnTo>
                  <a:pt x="2435" y="887"/>
                </a:lnTo>
                <a:lnTo>
                  <a:pt x="2435" y="987"/>
                </a:lnTo>
                <a:lnTo>
                  <a:pt x="2447" y="991"/>
                </a:lnTo>
                <a:lnTo>
                  <a:pt x="2447" y="1034"/>
                </a:lnTo>
                <a:lnTo>
                  <a:pt x="2435" y="1030"/>
                </a:lnTo>
                <a:lnTo>
                  <a:pt x="2435" y="1130"/>
                </a:lnTo>
                <a:lnTo>
                  <a:pt x="2447" y="1134"/>
                </a:lnTo>
                <a:lnTo>
                  <a:pt x="2447" y="1176"/>
                </a:lnTo>
                <a:lnTo>
                  <a:pt x="2435" y="1174"/>
                </a:lnTo>
                <a:lnTo>
                  <a:pt x="2435" y="1274"/>
                </a:lnTo>
                <a:lnTo>
                  <a:pt x="2447" y="1276"/>
                </a:lnTo>
                <a:lnTo>
                  <a:pt x="2447" y="1318"/>
                </a:lnTo>
                <a:lnTo>
                  <a:pt x="2435" y="1317"/>
                </a:lnTo>
                <a:lnTo>
                  <a:pt x="2435" y="1417"/>
                </a:lnTo>
                <a:lnTo>
                  <a:pt x="2447" y="1418"/>
                </a:lnTo>
                <a:lnTo>
                  <a:pt x="2447" y="1480"/>
                </a:lnTo>
                <a:lnTo>
                  <a:pt x="2391" y="1480"/>
                </a:lnTo>
                <a:lnTo>
                  <a:pt x="2391" y="1416"/>
                </a:lnTo>
                <a:lnTo>
                  <a:pt x="2404" y="1416"/>
                </a:lnTo>
                <a:lnTo>
                  <a:pt x="2404" y="1314"/>
                </a:lnTo>
                <a:lnTo>
                  <a:pt x="2391" y="1313"/>
                </a:lnTo>
                <a:lnTo>
                  <a:pt x="2391" y="1120"/>
                </a:lnTo>
                <a:lnTo>
                  <a:pt x="2404" y="1123"/>
                </a:lnTo>
                <a:lnTo>
                  <a:pt x="2404" y="1021"/>
                </a:lnTo>
                <a:lnTo>
                  <a:pt x="2391" y="1017"/>
                </a:lnTo>
                <a:lnTo>
                  <a:pt x="2391" y="972"/>
                </a:lnTo>
                <a:lnTo>
                  <a:pt x="2404" y="977"/>
                </a:lnTo>
                <a:lnTo>
                  <a:pt x="2404" y="874"/>
                </a:lnTo>
                <a:lnTo>
                  <a:pt x="2391" y="869"/>
                </a:lnTo>
                <a:lnTo>
                  <a:pt x="2391" y="824"/>
                </a:lnTo>
                <a:lnTo>
                  <a:pt x="2404" y="830"/>
                </a:lnTo>
                <a:lnTo>
                  <a:pt x="2404" y="728"/>
                </a:lnTo>
                <a:lnTo>
                  <a:pt x="2391" y="721"/>
                </a:lnTo>
                <a:lnTo>
                  <a:pt x="2391" y="519"/>
                </a:lnTo>
                <a:close/>
                <a:moveTo>
                  <a:pt x="2335" y="483"/>
                </a:moveTo>
                <a:lnTo>
                  <a:pt x="2391" y="519"/>
                </a:lnTo>
                <a:lnTo>
                  <a:pt x="2391" y="721"/>
                </a:lnTo>
                <a:lnTo>
                  <a:pt x="2378" y="715"/>
                </a:lnTo>
                <a:lnTo>
                  <a:pt x="2378" y="818"/>
                </a:lnTo>
                <a:lnTo>
                  <a:pt x="2391" y="824"/>
                </a:lnTo>
                <a:lnTo>
                  <a:pt x="2391" y="869"/>
                </a:lnTo>
                <a:lnTo>
                  <a:pt x="2378" y="864"/>
                </a:lnTo>
                <a:lnTo>
                  <a:pt x="2378" y="967"/>
                </a:lnTo>
                <a:lnTo>
                  <a:pt x="2391" y="972"/>
                </a:lnTo>
                <a:lnTo>
                  <a:pt x="2391" y="1017"/>
                </a:lnTo>
                <a:lnTo>
                  <a:pt x="2378" y="1013"/>
                </a:lnTo>
                <a:lnTo>
                  <a:pt x="2378" y="1117"/>
                </a:lnTo>
                <a:lnTo>
                  <a:pt x="2391" y="1120"/>
                </a:lnTo>
                <a:lnTo>
                  <a:pt x="2391" y="1313"/>
                </a:lnTo>
                <a:lnTo>
                  <a:pt x="2378" y="1312"/>
                </a:lnTo>
                <a:lnTo>
                  <a:pt x="2378" y="1415"/>
                </a:lnTo>
                <a:lnTo>
                  <a:pt x="2391" y="1416"/>
                </a:lnTo>
                <a:lnTo>
                  <a:pt x="2391" y="1480"/>
                </a:lnTo>
                <a:lnTo>
                  <a:pt x="2335" y="1480"/>
                </a:lnTo>
                <a:lnTo>
                  <a:pt x="2335" y="1260"/>
                </a:lnTo>
                <a:lnTo>
                  <a:pt x="2347" y="1261"/>
                </a:lnTo>
                <a:lnTo>
                  <a:pt x="2347" y="1156"/>
                </a:lnTo>
                <a:lnTo>
                  <a:pt x="2335" y="1153"/>
                </a:lnTo>
                <a:lnTo>
                  <a:pt x="2335" y="952"/>
                </a:lnTo>
                <a:lnTo>
                  <a:pt x="2347" y="957"/>
                </a:lnTo>
                <a:lnTo>
                  <a:pt x="2347" y="851"/>
                </a:lnTo>
                <a:lnTo>
                  <a:pt x="2335" y="846"/>
                </a:lnTo>
                <a:lnTo>
                  <a:pt x="2335" y="800"/>
                </a:lnTo>
                <a:lnTo>
                  <a:pt x="2347" y="804"/>
                </a:lnTo>
                <a:lnTo>
                  <a:pt x="2347" y="699"/>
                </a:lnTo>
                <a:lnTo>
                  <a:pt x="2335" y="692"/>
                </a:lnTo>
                <a:lnTo>
                  <a:pt x="2335" y="483"/>
                </a:lnTo>
                <a:close/>
                <a:moveTo>
                  <a:pt x="2278" y="446"/>
                </a:moveTo>
                <a:lnTo>
                  <a:pt x="2335" y="483"/>
                </a:lnTo>
                <a:lnTo>
                  <a:pt x="2335" y="692"/>
                </a:lnTo>
                <a:lnTo>
                  <a:pt x="2322" y="686"/>
                </a:lnTo>
                <a:lnTo>
                  <a:pt x="2322" y="794"/>
                </a:lnTo>
                <a:lnTo>
                  <a:pt x="2335" y="800"/>
                </a:lnTo>
                <a:lnTo>
                  <a:pt x="2335" y="846"/>
                </a:lnTo>
                <a:lnTo>
                  <a:pt x="2322" y="841"/>
                </a:lnTo>
                <a:lnTo>
                  <a:pt x="2322" y="949"/>
                </a:lnTo>
                <a:lnTo>
                  <a:pt x="2335" y="952"/>
                </a:lnTo>
                <a:lnTo>
                  <a:pt x="2335" y="1153"/>
                </a:lnTo>
                <a:lnTo>
                  <a:pt x="2322" y="1150"/>
                </a:lnTo>
                <a:lnTo>
                  <a:pt x="2322" y="1258"/>
                </a:lnTo>
                <a:lnTo>
                  <a:pt x="2335" y="1260"/>
                </a:lnTo>
                <a:lnTo>
                  <a:pt x="2335" y="1480"/>
                </a:lnTo>
                <a:lnTo>
                  <a:pt x="2278" y="1480"/>
                </a:lnTo>
                <a:lnTo>
                  <a:pt x="2278" y="1252"/>
                </a:lnTo>
                <a:lnTo>
                  <a:pt x="2291" y="1253"/>
                </a:lnTo>
                <a:lnTo>
                  <a:pt x="2291" y="1144"/>
                </a:lnTo>
                <a:lnTo>
                  <a:pt x="2278" y="1141"/>
                </a:lnTo>
                <a:lnTo>
                  <a:pt x="2278" y="934"/>
                </a:lnTo>
                <a:lnTo>
                  <a:pt x="2291" y="938"/>
                </a:lnTo>
                <a:lnTo>
                  <a:pt x="2291" y="829"/>
                </a:lnTo>
                <a:lnTo>
                  <a:pt x="2278" y="823"/>
                </a:lnTo>
                <a:lnTo>
                  <a:pt x="2278" y="775"/>
                </a:lnTo>
                <a:lnTo>
                  <a:pt x="2291" y="780"/>
                </a:lnTo>
                <a:lnTo>
                  <a:pt x="2291" y="670"/>
                </a:lnTo>
                <a:lnTo>
                  <a:pt x="2278" y="664"/>
                </a:lnTo>
                <a:lnTo>
                  <a:pt x="2278" y="616"/>
                </a:lnTo>
                <a:lnTo>
                  <a:pt x="2291" y="622"/>
                </a:lnTo>
                <a:lnTo>
                  <a:pt x="2291" y="513"/>
                </a:lnTo>
                <a:lnTo>
                  <a:pt x="2278" y="505"/>
                </a:lnTo>
                <a:lnTo>
                  <a:pt x="2278" y="446"/>
                </a:lnTo>
                <a:close/>
                <a:moveTo>
                  <a:pt x="2222" y="411"/>
                </a:moveTo>
                <a:lnTo>
                  <a:pt x="2278" y="446"/>
                </a:lnTo>
                <a:lnTo>
                  <a:pt x="2278" y="505"/>
                </a:lnTo>
                <a:lnTo>
                  <a:pt x="2266" y="497"/>
                </a:lnTo>
                <a:lnTo>
                  <a:pt x="2266" y="609"/>
                </a:lnTo>
                <a:lnTo>
                  <a:pt x="2278" y="616"/>
                </a:lnTo>
                <a:lnTo>
                  <a:pt x="2278" y="664"/>
                </a:lnTo>
                <a:lnTo>
                  <a:pt x="2266" y="658"/>
                </a:lnTo>
                <a:lnTo>
                  <a:pt x="2266" y="769"/>
                </a:lnTo>
                <a:lnTo>
                  <a:pt x="2278" y="775"/>
                </a:lnTo>
                <a:lnTo>
                  <a:pt x="2278" y="823"/>
                </a:lnTo>
                <a:lnTo>
                  <a:pt x="2266" y="818"/>
                </a:lnTo>
                <a:lnTo>
                  <a:pt x="2266" y="929"/>
                </a:lnTo>
                <a:lnTo>
                  <a:pt x="2278" y="934"/>
                </a:lnTo>
                <a:lnTo>
                  <a:pt x="2278" y="1141"/>
                </a:lnTo>
                <a:lnTo>
                  <a:pt x="2266" y="1138"/>
                </a:lnTo>
                <a:lnTo>
                  <a:pt x="2266" y="1250"/>
                </a:lnTo>
                <a:lnTo>
                  <a:pt x="2278" y="1252"/>
                </a:lnTo>
                <a:lnTo>
                  <a:pt x="2278" y="1480"/>
                </a:lnTo>
                <a:lnTo>
                  <a:pt x="2222" y="1480"/>
                </a:lnTo>
                <a:lnTo>
                  <a:pt x="2222" y="1408"/>
                </a:lnTo>
                <a:lnTo>
                  <a:pt x="2236" y="1409"/>
                </a:lnTo>
                <a:lnTo>
                  <a:pt x="2236" y="1296"/>
                </a:lnTo>
                <a:lnTo>
                  <a:pt x="2222" y="1293"/>
                </a:lnTo>
                <a:lnTo>
                  <a:pt x="2222" y="1244"/>
                </a:lnTo>
                <a:lnTo>
                  <a:pt x="2236" y="1245"/>
                </a:lnTo>
                <a:lnTo>
                  <a:pt x="2236" y="1131"/>
                </a:lnTo>
                <a:lnTo>
                  <a:pt x="2222" y="1129"/>
                </a:lnTo>
                <a:lnTo>
                  <a:pt x="2222" y="1079"/>
                </a:lnTo>
                <a:lnTo>
                  <a:pt x="2236" y="1082"/>
                </a:lnTo>
                <a:lnTo>
                  <a:pt x="2236" y="968"/>
                </a:lnTo>
                <a:lnTo>
                  <a:pt x="2222" y="965"/>
                </a:lnTo>
                <a:lnTo>
                  <a:pt x="2222" y="750"/>
                </a:lnTo>
                <a:lnTo>
                  <a:pt x="2236" y="756"/>
                </a:lnTo>
                <a:lnTo>
                  <a:pt x="2236" y="641"/>
                </a:lnTo>
                <a:lnTo>
                  <a:pt x="2222" y="636"/>
                </a:lnTo>
                <a:lnTo>
                  <a:pt x="2222" y="411"/>
                </a:lnTo>
                <a:close/>
                <a:moveTo>
                  <a:pt x="1950" y="236"/>
                </a:moveTo>
                <a:lnTo>
                  <a:pt x="2014" y="278"/>
                </a:lnTo>
                <a:lnTo>
                  <a:pt x="2014" y="578"/>
                </a:lnTo>
                <a:lnTo>
                  <a:pt x="2175" y="380"/>
                </a:lnTo>
                <a:lnTo>
                  <a:pt x="2222" y="411"/>
                </a:lnTo>
                <a:lnTo>
                  <a:pt x="2222" y="636"/>
                </a:lnTo>
                <a:lnTo>
                  <a:pt x="2210" y="629"/>
                </a:lnTo>
                <a:lnTo>
                  <a:pt x="2210" y="745"/>
                </a:lnTo>
                <a:lnTo>
                  <a:pt x="2222" y="750"/>
                </a:lnTo>
                <a:lnTo>
                  <a:pt x="2222" y="965"/>
                </a:lnTo>
                <a:lnTo>
                  <a:pt x="2210" y="960"/>
                </a:lnTo>
                <a:lnTo>
                  <a:pt x="2210" y="1076"/>
                </a:lnTo>
                <a:lnTo>
                  <a:pt x="2222" y="1079"/>
                </a:lnTo>
                <a:lnTo>
                  <a:pt x="2222" y="1129"/>
                </a:lnTo>
                <a:lnTo>
                  <a:pt x="2210" y="1127"/>
                </a:lnTo>
                <a:lnTo>
                  <a:pt x="2210" y="1242"/>
                </a:lnTo>
                <a:lnTo>
                  <a:pt x="2222" y="1244"/>
                </a:lnTo>
                <a:lnTo>
                  <a:pt x="2222" y="1293"/>
                </a:lnTo>
                <a:lnTo>
                  <a:pt x="2210" y="1292"/>
                </a:lnTo>
                <a:lnTo>
                  <a:pt x="2210" y="1408"/>
                </a:lnTo>
                <a:lnTo>
                  <a:pt x="2222" y="1408"/>
                </a:lnTo>
                <a:lnTo>
                  <a:pt x="2222" y="1480"/>
                </a:lnTo>
                <a:lnTo>
                  <a:pt x="1950" y="1480"/>
                </a:lnTo>
                <a:lnTo>
                  <a:pt x="1950" y="1397"/>
                </a:lnTo>
                <a:lnTo>
                  <a:pt x="1967" y="1398"/>
                </a:lnTo>
                <a:lnTo>
                  <a:pt x="1967" y="1265"/>
                </a:lnTo>
                <a:lnTo>
                  <a:pt x="1950" y="1263"/>
                </a:lnTo>
                <a:lnTo>
                  <a:pt x="1950" y="1205"/>
                </a:lnTo>
                <a:lnTo>
                  <a:pt x="1967" y="1207"/>
                </a:lnTo>
                <a:lnTo>
                  <a:pt x="1967" y="1075"/>
                </a:lnTo>
                <a:lnTo>
                  <a:pt x="1950" y="1072"/>
                </a:lnTo>
                <a:lnTo>
                  <a:pt x="1950" y="1013"/>
                </a:lnTo>
                <a:lnTo>
                  <a:pt x="1967" y="1018"/>
                </a:lnTo>
                <a:lnTo>
                  <a:pt x="1967" y="886"/>
                </a:lnTo>
                <a:lnTo>
                  <a:pt x="1950" y="880"/>
                </a:lnTo>
                <a:lnTo>
                  <a:pt x="1950" y="822"/>
                </a:lnTo>
                <a:lnTo>
                  <a:pt x="1967" y="829"/>
                </a:lnTo>
                <a:lnTo>
                  <a:pt x="1967" y="695"/>
                </a:lnTo>
                <a:lnTo>
                  <a:pt x="1950" y="689"/>
                </a:lnTo>
                <a:lnTo>
                  <a:pt x="1950" y="439"/>
                </a:lnTo>
                <a:lnTo>
                  <a:pt x="1967" y="449"/>
                </a:lnTo>
                <a:lnTo>
                  <a:pt x="1967" y="317"/>
                </a:lnTo>
                <a:lnTo>
                  <a:pt x="1950" y="306"/>
                </a:lnTo>
                <a:lnTo>
                  <a:pt x="1950" y="236"/>
                </a:lnTo>
                <a:close/>
                <a:moveTo>
                  <a:pt x="1876" y="187"/>
                </a:moveTo>
                <a:lnTo>
                  <a:pt x="1950" y="236"/>
                </a:lnTo>
                <a:lnTo>
                  <a:pt x="1950" y="306"/>
                </a:lnTo>
                <a:lnTo>
                  <a:pt x="1934" y="295"/>
                </a:lnTo>
                <a:lnTo>
                  <a:pt x="1934" y="430"/>
                </a:lnTo>
                <a:lnTo>
                  <a:pt x="1950" y="439"/>
                </a:lnTo>
                <a:lnTo>
                  <a:pt x="1950" y="689"/>
                </a:lnTo>
                <a:lnTo>
                  <a:pt x="1934" y="682"/>
                </a:lnTo>
                <a:lnTo>
                  <a:pt x="1934" y="816"/>
                </a:lnTo>
                <a:lnTo>
                  <a:pt x="1950" y="822"/>
                </a:lnTo>
                <a:lnTo>
                  <a:pt x="1950" y="880"/>
                </a:lnTo>
                <a:lnTo>
                  <a:pt x="1934" y="876"/>
                </a:lnTo>
                <a:lnTo>
                  <a:pt x="1934" y="1010"/>
                </a:lnTo>
                <a:lnTo>
                  <a:pt x="1950" y="1013"/>
                </a:lnTo>
                <a:lnTo>
                  <a:pt x="1950" y="1072"/>
                </a:lnTo>
                <a:lnTo>
                  <a:pt x="1934" y="1068"/>
                </a:lnTo>
                <a:lnTo>
                  <a:pt x="1934" y="1203"/>
                </a:lnTo>
                <a:lnTo>
                  <a:pt x="1950" y="1205"/>
                </a:lnTo>
                <a:lnTo>
                  <a:pt x="1950" y="1263"/>
                </a:lnTo>
                <a:lnTo>
                  <a:pt x="1934" y="1261"/>
                </a:lnTo>
                <a:lnTo>
                  <a:pt x="1934" y="1395"/>
                </a:lnTo>
                <a:lnTo>
                  <a:pt x="1950" y="1397"/>
                </a:lnTo>
                <a:lnTo>
                  <a:pt x="1950" y="1480"/>
                </a:lnTo>
                <a:lnTo>
                  <a:pt x="1876" y="1480"/>
                </a:lnTo>
                <a:lnTo>
                  <a:pt x="1876" y="1195"/>
                </a:lnTo>
                <a:lnTo>
                  <a:pt x="1892" y="1197"/>
                </a:lnTo>
                <a:lnTo>
                  <a:pt x="1892" y="1059"/>
                </a:lnTo>
                <a:lnTo>
                  <a:pt x="1876" y="1056"/>
                </a:lnTo>
                <a:lnTo>
                  <a:pt x="1876" y="598"/>
                </a:lnTo>
                <a:lnTo>
                  <a:pt x="1892" y="605"/>
                </a:lnTo>
                <a:lnTo>
                  <a:pt x="1892" y="468"/>
                </a:lnTo>
                <a:lnTo>
                  <a:pt x="1876" y="459"/>
                </a:lnTo>
                <a:lnTo>
                  <a:pt x="1876" y="187"/>
                </a:lnTo>
                <a:close/>
                <a:moveTo>
                  <a:pt x="1800" y="139"/>
                </a:moveTo>
                <a:lnTo>
                  <a:pt x="1876" y="187"/>
                </a:lnTo>
                <a:lnTo>
                  <a:pt x="1876" y="459"/>
                </a:lnTo>
                <a:lnTo>
                  <a:pt x="1858" y="450"/>
                </a:lnTo>
                <a:lnTo>
                  <a:pt x="1858" y="590"/>
                </a:lnTo>
                <a:lnTo>
                  <a:pt x="1876" y="598"/>
                </a:lnTo>
                <a:lnTo>
                  <a:pt x="1876" y="1056"/>
                </a:lnTo>
                <a:lnTo>
                  <a:pt x="1858" y="1052"/>
                </a:lnTo>
                <a:lnTo>
                  <a:pt x="1858" y="1192"/>
                </a:lnTo>
                <a:lnTo>
                  <a:pt x="1876" y="1195"/>
                </a:lnTo>
                <a:lnTo>
                  <a:pt x="1876" y="1480"/>
                </a:lnTo>
                <a:lnTo>
                  <a:pt x="1800" y="1480"/>
                </a:lnTo>
                <a:lnTo>
                  <a:pt x="1800" y="1390"/>
                </a:lnTo>
                <a:lnTo>
                  <a:pt x="1817" y="1391"/>
                </a:lnTo>
                <a:lnTo>
                  <a:pt x="1817" y="1248"/>
                </a:lnTo>
                <a:lnTo>
                  <a:pt x="1800" y="1246"/>
                </a:lnTo>
                <a:lnTo>
                  <a:pt x="1800" y="1183"/>
                </a:lnTo>
                <a:lnTo>
                  <a:pt x="1817" y="1187"/>
                </a:lnTo>
                <a:lnTo>
                  <a:pt x="1817" y="1043"/>
                </a:lnTo>
                <a:lnTo>
                  <a:pt x="1800" y="1040"/>
                </a:lnTo>
                <a:lnTo>
                  <a:pt x="1800" y="978"/>
                </a:lnTo>
                <a:lnTo>
                  <a:pt x="1817" y="981"/>
                </a:lnTo>
                <a:lnTo>
                  <a:pt x="1817" y="839"/>
                </a:lnTo>
                <a:lnTo>
                  <a:pt x="1800" y="833"/>
                </a:lnTo>
                <a:lnTo>
                  <a:pt x="1800" y="565"/>
                </a:lnTo>
                <a:lnTo>
                  <a:pt x="1817" y="571"/>
                </a:lnTo>
                <a:lnTo>
                  <a:pt x="1817" y="429"/>
                </a:lnTo>
                <a:lnTo>
                  <a:pt x="1800" y="420"/>
                </a:lnTo>
                <a:lnTo>
                  <a:pt x="1800" y="139"/>
                </a:lnTo>
                <a:close/>
                <a:moveTo>
                  <a:pt x="1724" y="91"/>
                </a:moveTo>
                <a:lnTo>
                  <a:pt x="1800" y="139"/>
                </a:lnTo>
                <a:lnTo>
                  <a:pt x="1800" y="420"/>
                </a:lnTo>
                <a:lnTo>
                  <a:pt x="1783" y="412"/>
                </a:lnTo>
                <a:lnTo>
                  <a:pt x="1783" y="557"/>
                </a:lnTo>
                <a:lnTo>
                  <a:pt x="1800" y="565"/>
                </a:lnTo>
                <a:lnTo>
                  <a:pt x="1800" y="833"/>
                </a:lnTo>
                <a:lnTo>
                  <a:pt x="1783" y="829"/>
                </a:lnTo>
                <a:lnTo>
                  <a:pt x="1783" y="973"/>
                </a:lnTo>
                <a:lnTo>
                  <a:pt x="1800" y="978"/>
                </a:lnTo>
                <a:lnTo>
                  <a:pt x="1800" y="1040"/>
                </a:lnTo>
                <a:lnTo>
                  <a:pt x="1783" y="1036"/>
                </a:lnTo>
                <a:lnTo>
                  <a:pt x="1783" y="1181"/>
                </a:lnTo>
                <a:lnTo>
                  <a:pt x="1800" y="1183"/>
                </a:lnTo>
                <a:lnTo>
                  <a:pt x="1800" y="1246"/>
                </a:lnTo>
                <a:lnTo>
                  <a:pt x="1783" y="1244"/>
                </a:lnTo>
                <a:lnTo>
                  <a:pt x="1783" y="1390"/>
                </a:lnTo>
                <a:lnTo>
                  <a:pt x="1800" y="1390"/>
                </a:lnTo>
                <a:lnTo>
                  <a:pt x="1800" y="1480"/>
                </a:lnTo>
                <a:lnTo>
                  <a:pt x="1724" y="1480"/>
                </a:lnTo>
                <a:lnTo>
                  <a:pt x="1724" y="959"/>
                </a:lnTo>
                <a:lnTo>
                  <a:pt x="1741" y="963"/>
                </a:lnTo>
                <a:lnTo>
                  <a:pt x="1741" y="815"/>
                </a:lnTo>
                <a:lnTo>
                  <a:pt x="1724" y="810"/>
                </a:lnTo>
                <a:lnTo>
                  <a:pt x="1724" y="745"/>
                </a:lnTo>
                <a:lnTo>
                  <a:pt x="1741" y="750"/>
                </a:lnTo>
                <a:lnTo>
                  <a:pt x="1741" y="604"/>
                </a:lnTo>
                <a:lnTo>
                  <a:pt x="1724" y="596"/>
                </a:lnTo>
                <a:lnTo>
                  <a:pt x="1724" y="317"/>
                </a:lnTo>
                <a:lnTo>
                  <a:pt x="1741" y="326"/>
                </a:lnTo>
                <a:lnTo>
                  <a:pt x="1741" y="179"/>
                </a:lnTo>
                <a:lnTo>
                  <a:pt x="1724" y="169"/>
                </a:lnTo>
                <a:lnTo>
                  <a:pt x="1724" y="91"/>
                </a:lnTo>
                <a:close/>
                <a:moveTo>
                  <a:pt x="1648" y="41"/>
                </a:moveTo>
                <a:lnTo>
                  <a:pt x="1724" y="91"/>
                </a:lnTo>
                <a:lnTo>
                  <a:pt x="1724" y="169"/>
                </a:lnTo>
                <a:lnTo>
                  <a:pt x="1707" y="158"/>
                </a:lnTo>
                <a:lnTo>
                  <a:pt x="1707" y="308"/>
                </a:lnTo>
                <a:lnTo>
                  <a:pt x="1724" y="317"/>
                </a:lnTo>
                <a:lnTo>
                  <a:pt x="1724" y="596"/>
                </a:lnTo>
                <a:lnTo>
                  <a:pt x="1707" y="589"/>
                </a:lnTo>
                <a:lnTo>
                  <a:pt x="1707" y="739"/>
                </a:lnTo>
                <a:lnTo>
                  <a:pt x="1724" y="745"/>
                </a:lnTo>
                <a:lnTo>
                  <a:pt x="1724" y="810"/>
                </a:lnTo>
                <a:lnTo>
                  <a:pt x="1707" y="804"/>
                </a:lnTo>
                <a:lnTo>
                  <a:pt x="1707" y="955"/>
                </a:lnTo>
                <a:lnTo>
                  <a:pt x="1724" y="959"/>
                </a:lnTo>
                <a:lnTo>
                  <a:pt x="1724" y="1480"/>
                </a:lnTo>
                <a:lnTo>
                  <a:pt x="1648" y="1480"/>
                </a:lnTo>
                <a:lnTo>
                  <a:pt x="1648" y="1384"/>
                </a:lnTo>
                <a:lnTo>
                  <a:pt x="1665" y="1384"/>
                </a:lnTo>
                <a:lnTo>
                  <a:pt x="1665" y="1231"/>
                </a:lnTo>
                <a:lnTo>
                  <a:pt x="1648" y="1229"/>
                </a:lnTo>
                <a:lnTo>
                  <a:pt x="1648" y="941"/>
                </a:lnTo>
                <a:lnTo>
                  <a:pt x="1665" y="944"/>
                </a:lnTo>
                <a:lnTo>
                  <a:pt x="1665" y="792"/>
                </a:lnTo>
                <a:lnTo>
                  <a:pt x="1648" y="786"/>
                </a:lnTo>
                <a:lnTo>
                  <a:pt x="1648" y="498"/>
                </a:lnTo>
                <a:lnTo>
                  <a:pt x="1665" y="506"/>
                </a:lnTo>
                <a:lnTo>
                  <a:pt x="1665" y="352"/>
                </a:lnTo>
                <a:lnTo>
                  <a:pt x="1648" y="343"/>
                </a:lnTo>
                <a:lnTo>
                  <a:pt x="1648" y="41"/>
                </a:lnTo>
                <a:close/>
                <a:moveTo>
                  <a:pt x="1520" y="41"/>
                </a:moveTo>
                <a:lnTo>
                  <a:pt x="1584" y="0"/>
                </a:lnTo>
                <a:lnTo>
                  <a:pt x="1648" y="41"/>
                </a:lnTo>
                <a:lnTo>
                  <a:pt x="1648" y="343"/>
                </a:lnTo>
                <a:lnTo>
                  <a:pt x="1631" y="335"/>
                </a:lnTo>
                <a:lnTo>
                  <a:pt x="1631" y="490"/>
                </a:lnTo>
                <a:lnTo>
                  <a:pt x="1648" y="498"/>
                </a:lnTo>
                <a:lnTo>
                  <a:pt x="1648" y="786"/>
                </a:lnTo>
                <a:lnTo>
                  <a:pt x="1631" y="781"/>
                </a:lnTo>
                <a:lnTo>
                  <a:pt x="1631" y="936"/>
                </a:lnTo>
                <a:lnTo>
                  <a:pt x="1648" y="941"/>
                </a:lnTo>
                <a:lnTo>
                  <a:pt x="1648" y="1229"/>
                </a:lnTo>
                <a:lnTo>
                  <a:pt x="1631" y="1227"/>
                </a:lnTo>
                <a:lnTo>
                  <a:pt x="1631" y="1383"/>
                </a:lnTo>
                <a:lnTo>
                  <a:pt x="1648" y="1384"/>
                </a:lnTo>
                <a:lnTo>
                  <a:pt x="1648" y="1480"/>
                </a:lnTo>
                <a:lnTo>
                  <a:pt x="1520" y="1480"/>
                </a:lnTo>
                <a:lnTo>
                  <a:pt x="1520" y="1384"/>
                </a:lnTo>
                <a:lnTo>
                  <a:pt x="1537" y="1383"/>
                </a:lnTo>
                <a:lnTo>
                  <a:pt x="1537" y="1227"/>
                </a:lnTo>
                <a:lnTo>
                  <a:pt x="1520" y="1229"/>
                </a:lnTo>
                <a:lnTo>
                  <a:pt x="1520" y="941"/>
                </a:lnTo>
                <a:lnTo>
                  <a:pt x="1537" y="936"/>
                </a:lnTo>
                <a:lnTo>
                  <a:pt x="1537" y="781"/>
                </a:lnTo>
                <a:lnTo>
                  <a:pt x="1520" y="786"/>
                </a:lnTo>
                <a:lnTo>
                  <a:pt x="1520" y="719"/>
                </a:lnTo>
                <a:lnTo>
                  <a:pt x="1537" y="714"/>
                </a:lnTo>
                <a:lnTo>
                  <a:pt x="1537" y="558"/>
                </a:lnTo>
                <a:lnTo>
                  <a:pt x="1520" y="565"/>
                </a:lnTo>
                <a:lnTo>
                  <a:pt x="1520" y="41"/>
                </a:lnTo>
                <a:close/>
                <a:moveTo>
                  <a:pt x="1444" y="91"/>
                </a:moveTo>
                <a:lnTo>
                  <a:pt x="1520" y="41"/>
                </a:lnTo>
                <a:lnTo>
                  <a:pt x="1520" y="565"/>
                </a:lnTo>
                <a:lnTo>
                  <a:pt x="1502" y="573"/>
                </a:lnTo>
                <a:lnTo>
                  <a:pt x="1502" y="725"/>
                </a:lnTo>
                <a:lnTo>
                  <a:pt x="1520" y="719"/>
                </a:lnTo>
                <a:lnTo>
                  <a:pt x="1520" y="786"/>
                </a:lnTo>
                <a:lnTo>
                  <a:pt x="1502" y="792"/>
                </a:lnTo>
                <a:lnTo>
                  <a:pt x="1502" y="944"/>
                </a:lnTo>
                <a:lnTo>
                  <a:pt x="1520" y="941"/>
                </a:lnTo>
                <a:lnTo>
                  <a:pt x="1520" y="1229"/>
                </a:lnTo>
                <a:lnTo>
                  <a:pt x="1502" y="1231"/>
                </a:lnTo>
                <a:lnTo>
                  <a:pt x="1502" y="1384"/>
                </a:lnTo>
                <a:lnTo>
                  <a:pt x="1520" y="1384"/>
                </a:lnTo>
                <a:lnTo>
                  <a:pt x="1520" y="1480"/>
                </a:lnTo>
                <a:lnTo>
                  <a:pt x="1444" y="1480"/>
                </a:lnTo>
                <a:lnTo>
                  <a:pt x="1444" y="1173"/>
                </a:lnTo>
                <a:lnTo>
                  <a:pt x="1461" y="1170"/>
                </a:lnTo>
                <a:lnTo>
                  <a:pt x="1461" y="1020"/>
                </a:lnTo>
                <a:lnTo>
                  <a:pt x="1444" y="1024"/>
                </a:lnTo>
                <a:lnTo>
                  <a:pt x="1444" y="959"/>
                </a:lnTo>
                <a:lnTo>
                  <a:pt x="1461" y="955"/>
                </a:lnTo>
                <a:lnTo>
                  <a:pt x="1461" y="804"/>
                </a:lnTo>
                <a:lnTo>
                  <a:pt x="1444" y="810"/>
                </a:lnTo>
                <a:lnTo>
                  <a:pt x="1444" y="531"/>
                </a:lnTo>
                <a:lnTo>
                  <a:pt x="1461" y="523"/>
                </a:lnTo>
                <a:lnTo>
                  <a:pt x="1461" y="373"/>
                </a:lnTo>
                <a:lnTo>
                  <a:pt x="1444" y="382"/>
                </a:lnTo>
                <a:lnTo>
                  <a:pt x="1444" y="91"/>
                </a:lnTo>
                <a:close/>
                <a:moveTo>
                  <a:pt x="1368" y="139"/>
                </a:moveTo>
                <a:lnTo>
                  <a:pt x="1444" y="91"/>
                </a:lnTo>
                <a:lnTo>
                  <a:pt x="1444" y="382"/>
                </a:lnTo>
                <a:lnTo>
                  <a:pt x="1427" y="390"/>
                </a:lnTo>
                <a:lnTo>
                  <a:pt x="1427" y="538"/>
                </a:lnTo>
                <a:lnTo>
                  <a:pt x="1444" y="531"/>
                </a:lnTo>
                <a:lnTo>
                  <a:pt x="1444" y="810"/>
                </a:lnTo>
                <a:lnTo>
                  <a:pt x="1427" y="815"/>
                </a:lnTo>
                <a:lnTo>
                  <a:pt x="1427" y="963"/>
                </a:lnTo>
                <a:lnTo>
                  <a:pt x="1444" y="959"/>
                </a:lnTo>
                <a:lnTo>
                  <a:pt x="1444" y="1024"/>
                </a:lnTo>
                <a:lnTo>
                  <a:pt x="1427" y="1027"/>
                </a:lnTo>
                <a:lnTo>
                  <a:pt x="1427" y="1175"/>
                </a:lnTo>
                <a:lnTo>
                  <a:pt x="1444" y="1173"/>
                </a:lnTo>
                <a:lnTo>
                  <a:pt x="1444" y="1480"/>
                </a:lnTo>
                <a:lnTo>
                  <a:pt x="1368" y="1480"/>
                </a:lnTo>
                <a:lnTo>
                  <a:pt x="1368" y="1390"/>
                </a:lnTo>
                <a:lnTo>
                  <a:pt x="1385" y="1390"/>
                </a:lnTo>
                <a:lnTo>
                  <a:pt x="1385" y="1244"/>
                </a:lnTo>
                <a:lnTo>
                  <a:pt x="1368" y="1246"/>
                </a:lnTo>
                <a:lnTo>
                  <a:pt x="1368" y="565"/>
                </a:lnTo>
                <a:lnTo>
                  <a:pt x="1385" y="557"/>
                </a:lnTo>
                <a:lnTo>
                  <a:pt x="1385" y="412"/>
                </a:lnTo>
                <a:lnTo>
                  <a:pt x="1368" y="420"/>
                </a:lnTo>
                <a:lnTo>
                  <a:pt x="1368" y="358"/>
                </a:lnTo>
                <a:lnTo>
                  <a:pt x="1385" y="349"/>
                </a:lnTo>
                <a:lnTo>
                  <a:pt x="1385" y="204"/>
                </a:lnTo>
                <a:lnTo>
                  <a:pt x="1368" y="215"/>
                </a:lnTo>
                <a:lnTo>
                  <a:pt x="1368" y="139"/>
                </a:lnTo>
                <a:close/>
                <a:moveTo>
                  <a:pt x="1294" y="187"/>
                </a:moveTo>
                <a:lnTo>
                  <a:pt x="1368" y="139"/>
                </a:lnTo>
                <a:lnTo>
                  <a:pt x="1368" y="215"/>
                </a:lnTo>
                <a:lnTo>
                  <a:pt x="1351" y="225"/>
                </a:lnTo>
                <a:lnTo>
                  <a:pt x="1351" y="367"/>
                </a:lnTo>
                <a:lnTo>
                  <a:pt x="1368" y="358"/>
                </a:lnTo>
                <a:lnTo>
                  <a:pt x="1368" y="420"/>
                </a:lnTo>
                <a:lnTo>
                  <a:pt x="1351" y="429"/>
                </a:lnTo>
                <a:lnTo>
                  <a:pt x="1351" y="571"/>
                </a:lnTo>
                <a:lnTo>
                  <a:pt x="1368" y="565"/>
                </a:lnTo>
                <a:lnTo>
                  <a:pt x="1368" y="1246"/>
                </a:lnTo>
                <a:lnTo>
                  <a:pt x="1351" y="1248"/>
                </a:lnTo>
                <a:lnTo>
                  <a:pt x="1351" y="1391"/>
                </a:lnTo>
                <a:lnTo>
                  <a:pt x="1368" y="1390"/>
                </a:lnTo>
                <a:lnTo>
                  <a:pt x="1368" y="1480"/>
                </a:lnTo>
                <a:lnTo>
                  <a:pt x="1294" y="1480"/>
                </a:lnTo>
                <a:lnTo>
                  <a:pt x="1294" y="1195"/>
                </a:lnTo>
                <a:lnTo>
                  <a:pt x="1310" y="1192"/>
                </a:lnTo>
                <a:lnTo>
                  <a:pt x="1310" y="1052"/>
                </a:lnTo>
                <a:lnTo>
                  <a:pt x="1294" y="1056"/>
                </a:lnTo>
                <a:lnTo>
                  <a:pt x="1294" y="796"/>
                </a:lnTo>
                <a:lnTo>
                  <a:pt x="1310" y="791"/>
                </a:lnTo>
                <a:lnTo>
                  <a:pt x="1310" y="651"/>
                </a:lnTo>
                <a:lnTo>
                  <a:pt x="1294" y="658"/>
                </a:lnTo>
                <a:lnTo>
                  <a:pt x="1294" y="187"/>
                </a:lnTo>
                <a:close/>
                <a:moveTo>
                  <a:pt x="1218" y="236"/>
                </a:moveTo>
                <a:lnTo>
                  <a:pt x="1294" y="187"/>
                </a:lnTo>
                <a:lnTo>
                  <a:pt x="1294" y="658"/>
                </a:lnTo>
                <a:lnTo>
                  <a:pt x="1276" y="664"/>
                </a:lnTo>
                <a:lnTo>
                  <a:pt x="1276" y="802"/>
                </a:lnTo>
                <a:lnTo>
                  <a:pt x="1294" y="796"/>
                </a:lnTo>
                <a:lnTo>
                  <a:pt x="1294" y="1056"/>
                </a:lnTo>
                <a:lnTo>
                  <a:pt x="1276" y="1059"/>
                </a:lnTo>
                <a:lnTo>
                  <a:pt x="1276" y="1197"/>
                </a:lnTo>
                <a:lnTo>
                  <a:pt x="1294" y="1195"/>
                </a:lnTo>
                <a:lnTo>
                  <a:pt x="1294" y="1480"/>
                </a:lnTo>
                <a:lnTo>
                  <a:pt x="1218" y="1480"/>
                </a:lnTo>
                <a:lnTo>
                  <a:pt x="1218" y="1397"/>
                </a:lnTo>
                <a:lnTo>
                  <a:pt x="1235" y="1395"/>
                </a:lnTo>
                <a:lnTo>
                  <a:pt x="1235" y="1261"/>
                </a:lnTo>
                <a:lnTo>
                  <a:pt x="1218" y="1263"/>
                </a:lnTo>
                <a:lnTo>
                  <a:pt x="1218" y="1205"/>
                </a:lnTo>
                <a:lnTo>
                  <a:pt x="1235" y="1203"/>
                </a:lnTo>
                <a:lnTo>
                  <a:pt x="1235" y="1068"/>
                </a:lnTo>
                <a:lnTo>
                  <a:pt x="1218" y="1072"/>
                </a:lnTo>
                <a:lnTo>
                  <a:pt x="1218" y="1013"/>
                </a:lnTo>
                <a:lnTo>
                  <a:pt x="1235" y="1010"/>
                </a:lnTo>
                <a:lnTo>
                  <a:pt x="1235" y="876"/>
                </a:lnTo>
                <a:lnTo>
                  <a:pt x="1218" y="880"/>
                </a:lnTo>
                <a:lnTo>
                  <a:pt x="1218" y="822"/>
                </a:lnTo>
                <a:lnTo>
                  <a:pt x="1235" y="816"/>
                </a:lnTo>
                <a:lnTo>
                  <a:pt x="1235" y="682"/>
                </a:lnTo>
                <a:lnTo>
                  <a:pt x="1218" y="689"/>
                </a:lnTo>
                <a:lnTo>
                  <a:pt x="1218" y="631"/>
                </a:lnTo>
                <a:lnTo>
                  <a:pt x="1235" y="623"/>
                </a:lnTo>
                <a:lnTo>
                  <a:pt x="1235" y="489"/>
                </a:lnTo>
                <a:lnTo>
                  <a:pt x="1218" y="497"/>
                </a:lnTo>
                <a:lnTo>
                  <a:pt x="1218" y="439"/>
                </a:lnTo>
                <a:lnTo>
                  <a:pt x="1235" y="430"/>
                </a:lnTo>
                <a:lnTo>
                  <a:pt x="1235" y="295"/>
                </a:lnTo>
                <a:lnTo>
                  <a:pt x="1218" y="306"/>
                </a:lnTo>
                <a:lnTo>
                  <a:pt x="1218" y="236"/>
                </a:lnTo>
                <a:close/>
                <a:moveTo>
                  <a:pt x="946" y="411"/>
                </a:moveTo>
                <a:lnTo>
                  <a:pt x="993" y="380"/>
                </a:lnTo>
                <a:lnTo>
                  <a:pt x="1153" y="458"/>
                </a:lnTo>
                <a:lnTo>
                  <a:pt x="1153" y="278"/>
                </a:lnTo>
                <a:lnTo>
                  <a:pt x="1218" y="236"/>
                </a:lnTo>
                <a:lnTo>
                  <a:pt x="1218" y="306"/>
                </a:lnTo>
                <a:lnTo>
                  <a:pt x="1201" y="317"/>
                </a:lnTo>
                <a:lnTo>
                  <a:pt x="1201" y="449"/>
                </a:lnTo>
                <a:lnTo>
                  <a:pt x="1218" y="439"/>
                </a:lnTo>
                <a:lnTo>
                  <a:pt x="1218" y="497"/>
                </a:lnTo>
                <a:lnTo>
                  <a:pt x="1201" y="506"/>
                </a:lnTo>
                <a:lnTo>
                  <a:pt x="1201" y="638"/>
                </a:lnTo>
                <a:lnTo>
                  <a:pt x="1218" y="631"/>
                </a:lnTo>
                <a:lnTo>
                  <a:pt x="1218" y="689"/>
                </a:lnTo>
                <a:lnTo>
                  <a:pt x="1201" y="695"/>
                </a:lnTo>
                <a:lnTo>
                  <a:pt x="1201" y="829"/>
                </a:lnTo>
                <a:lnTo>
                  <a:pt x="1218" y="822"/>
                </a:lnTo>
                <a:lnTo>
                  <a:pt x="1218" y="880"/>
                </a:lnTo>
                <a:lnTo>
                  <a:pt x="1201" y="886"/>
                </a:lnTo>
                <a:lnTo>
                  <a:pt x="1201" y="1018"/>
                </a:lnTo>
                <a:lnTo>
                  <a:pt x="1218" y="1013"/>
                </a:lnTo>
                <a:lnTo>
                  <a:pt x="1218" y="1072"/>
                </a:lnTo>
                <a:lnTo>
                  <a:pt x="1201" y="1075"/>
                </a:lnTo>
                <a:lnTo>
                  <a:pt x="1201" y="1207"/>
                </a:lnTo>
                <a:lnTo>
                  <a:pt x="1218" y="1205"/>
                </a:lnTo>
                <a:lnTo>
                  <a:pt x="1218" y="1263"/>
                </a:lnTo>
                <a:lnTo>
                  <a:pt x="1201" y="1265"/>
                </a:lnTo>
                <a:lnTo>
                  <a:pt x="1201" y="1398"/>
                </a:lnTo>
                <a:lnTo>
                  <a:pt x="1218" y="1397"/>
                </a:lnTo>
                <a:lnTo>
                  <a:pt x="1218" y="1480"/>
                </a:lnTo>
                <a:lnTo>
                  <a:pt x="946" y="1480"/>
                </a:lnTo>
                <a:lnTo>
                  <a:pt x="946" y="1408"/>
                </a:lnTo>
                <a:lnTo>
                  <a:pt x="958" y="1408"/>
                </a:lnTo>
                <a:lnTo>
                  <a:pt x="958" y="1292"/>
                </a:lnTo>
                <a:lnTo>
                  <a:pt x="946" y="1293"/>
                </a:lnTo>
                <a:lnTo>
                  <a:pt x="946" y="1244"/>
                </a:lnTo>
                <a:lnTo>
                  <a:pt x="958" y="1242"/>
                </a:lnTo>
                <a:lnTo>
                  <a:pt x="958" y="1127"/>
                </a:lnTo>
                <a:lnTo>
                  <a:pt x="946" y="1129"/>
                </a:lnTo>
                <a:lnTo>
                  <a:pt x="946" y="1079"/>
                </a:lnTo>
                <a:lnTo>
                  <a:pt x="958" y="1076"/>
                </a:lnTo>
                <a:lnTo>
                  <a:pt x="958" y="960"/>
                </a:lnTo>
                <a:lnTo>
                  <a:pt x="946" y="965"/>
                </a:lnTo>
                <a:lnTo>
                  <a:pt x="946" y="915"/>
                </a:lnTo>
                <a:lnTo>
                  <a:pt x="958" y="910"/>
                </a:lnTo>
                <a:lnTo>
                  <a:pt x="958" y="795"/>
                </a:lnTo>
                <a:lnTo>
                  <a:pt x="946" y="800"/>
                </a:lnTo>
                <a:lnTo>
                  <a:pt x="946" y="750"/>
                </a:lnTo>
                <a:lnTo>
                  <a:pt x="958" y="745"/>
                </a:lnTo>
                <a:lnTo>
                  <a:pt x="958" y="629"/>
                </a:lnTo>
                <a:lnTo>
                  <a:pt x="946" y="636"/>
                </a:lnTo>
                <a:lnTo>
                  <a:pt x="946" y="585"/>
                </a:lnTo>
                <a:lnTo>
                  <a:pt x="958" y="578"/>
                </a:lnTo>
                <a:lnTo>
                  <a:pt x="958" y="464"/>
                </a:lnTo>
                <a:lnTo>
                  <a:pt x="946" y="470"/>
                </a:lnTo>
                <a:lnTo>
                  <a:pt x="946" y="411"/>
                </a:lnTo>
                <a:close/>
                <a:moveTo>
                  <a:pt x="889" y="446"/>
                </a:moveTo>
                <a:lnTo>
                  <a:pt x="946" y="411"/>
                </a:lnTo>
                <a:lnTo>
                  <a:pt x="946" y="470"/>
                </a:lnTo>
                <a:lnTo>
                  <a:pt x="933" y="479"/>
                </a:lnTo>
                <a:lnTo>
                  <a:pt x="933" y="592"/>
                </a:lnTo>
                <a:lnTo>
                  <a:pt x="946" y="585"/>
                </a:lnTo>
                <a:lnTo>
                  <a:pt x="946" y="636"/>
                </a:lnTo>
                <a:lnTo>
                  <a:pt x="933" y="641"/>
                </a:lnTo>
                <a:lnTo>
                  <a:pt x="933" y="756"/>
                </a:lnTo>
                <a:lnTo>
                  <a:pt x="946" y="750"/>
                </a:lnTo>
                <a:lnTo>
                  <a:pt x="946" y="800"/>
                </a:lnTo>
                <a:lnTo>
                  <a:pt x="933" y="806"/>
                </a:lnTo>
                <a:lnTo>
                  <a:pt x="933" y="919"/>
                </a:lnTo>
                <a:lnTo>
                  <a:pt x="946" y="915"/>
                </a:lnTo>
                <a:lnTo>
                  <a:pt x="946" y="965"/>
                </a:lnTo>
                <a:lnTo>
                  <a:pt x="933" y="968"/>
                </a:lnTo>
                <a:lnTo>
                  <a:pt x="933" y="1082"/>
                </a:lnTo>
                <a:lnTo>
                  <a:pt x="946" y="1079"/>
                </a:lnTo>
                <a:lnTo>
                  <a:pt x="946" y="1129"/>
                </a:lnTo>
                <a:lnTo>
                  <a:pt x="933" y="1131"/>
                </a:lnTo>
                <a:lnTo>
                  <a:pt x="933" y="1245"/>
                </a:lnTo>
                <a:lnTo>
                  <a:pt x="946" y="1244"/>
                </a:lnTo>
                <a:lnTo>
                  <a:pt x="946" y="1293"/>
                </a:lnTo>
                <a:lnTo>
                  <a:pt x="933" y="1296"/>
                </a:lnTo>
                <a:lnTo>
                  <a:pt x="933" y="1409"/>
                </a:lnTo>
                <a:lnTo>
                  <a:pt x="946" y="1408"/>
                </a:lnTo>
                <a:lnTo>
                  <a:pt x="946" y="1480"/>
                </a:lnTo>
                <a:lnTo>
                  <a:pt x="889" y="1480"/>
                </a:lnTo>
                <a:lnTo>
                  <a:pt x="889" y="1410"/>
                </a:lnTo>
                <a:lnTo>
                  <a:pt x="902" y="1410"/>
                </a:lnTo>
                <a:lnTo>
                  <a:pt x="902" y="1299"/>
                </a:lnTo>
                <a:lnTo>
                  <a:pt x="889" y="1300"/>
                </a:lnTo>
                <a:lnTo>
                  <a:pt x="889" y="1252"/>
                </a:lnTo>
                <a:lnTo>
                  <a:pt x="902" y="1250"/>
                </a:lnTo>
                <a:lnTo>
                  <a:pt x="902" y="1138"/>
                </a:lnTo>
                <a:lnTo>
                  <a:pt x="889" y="1141"/>
                </a:lnTo>
                <a:lnTo>
                  <a:pt x="889" y="1092"/>
                </a:lnTo>
                <a:lnTo>
                  <a:pt x="902" y="1090"/>
                </a:lnTo>
                <a:lnTo>
                  <a:pt x="902" y="978"/>
                </a:lnTo>
                <a:lnTo>
                  <a:pt x="889" y="982"/>
                </a:lnTo>
                <a:lnTo>
                  <a:pt x="889" y="775"/>
                </a:lnTo>
                <a:lnTo>
                  <a:pt x="902" y="769"/>
                </a:lnTo>
                <a:lnTo>
                  <a:pt x="902" y="658"/>
                </a:lnTo>
                <a:lnTo>
                  <a:pt x="889" y="664"/>
                </a:lnTo>
                <a:lnTo>
                  <a:pt x="889" y="446"/>
                </a:lnTo>
                <a:close/>
                <a:moveTo>
                  <a:pt x="833" y="483"/>
                </a:moveTo>
                <a:lnTo>
                  <a:pt x="889" y="446"/>
                </a:lnTo>
                <a:lnTo>
                  <a:pt x="889" y="664"/>
                </a:lnTo>
                <a:lnTo>
                  <a:pt x="877" y="670"/>
                </a:lnTo>
                <a:lnTo>
                  <a:pt x="877" y="780"/>
                </a:lnTo>
                <a:lnTo>
                  <a:pt x="889" y="775"/>
                </a:lnTo>
                <a:lnTo>
                  <a:pt x="889" y="982"/>
                </a:lnTo>
                <a:lnTo>
                  <a:pt x="877" y="986"/>
                </a:lnTo>
                <a:lnTo>
                  <a:pt x="877" y="1096"/>
                </a:lnTo>
                <a:lnTo>
                  <a:pt x="889" y="1092"/>
                </a:lnTo>
                <a:lnTo>
                  <a:pt x="889" y="1141"/>
                </a:lnTo>
                <a:lnTo>
                  <a:pt x="877" y="1144"/>
                </a:lnTo>
                <a:lnTo>
                  <a:pt x="877" y="1253"/>
                </a:lnTo>
                <a:lnTo>
                  <a:pt x="889" y="1252"/>
                </a:lnTo>
                <a:lnTo>
                  <a:pt x="889" y="1300"/>
                </a:lnTo>
                <a:lnTo>
                  <a:pt x="877" y="1301"/>
                </a:lnTo>
                <a:lnTo>
                  <a:pt x="877" y="1411"/>
                </a:lnTo>
                <a:lnTo>
                  <a:pt x="889" y="1410"/>
                </a:lnTo>
                <a:lnTo>
                  <a:pt x="889" y="1480"/>
                </a:lnTo>
                <a:lnTo>
                  <a:pt x="833" y="1480"/>
                </a:lnTo>
                <a:lnTo>
                  <a:pt x="833" y="1106"/>
                </a:lnTo>
                <a:lnTo>
                  <a:pt x="846" y="1103"/>
                </a:lnTo>
                <a:lnTo>
                  <a:pt x="846" y="995"/>
                </a:lnTo>
                <a:lnTo>
                  <a:pt x="833" y="999"/>
                </a:lnTo>
                <a:lnTo>
                  <a:pt x="833" y="952"/>
                </a:lnTo>
                <a:lnTo>
                  <a:pt x="846" y="949"/>
                </a:lnTo>
                <a:lnTo>
                  <a:pt x="846" y="841"/>
                </a:lnTo>
                <a:lnTo>
                  <a:pt x="833" y="846"/>
                </a:lnTo>
                <a:lnTo>
                  <a:pt x="833" y="646"/>
                </a:lnTo>
                <a:lnTo>
                  <a:pt x="846" y="639"/>
                </a:lnTo>
                <a:lnTo>
                  <a:pt x="846" y="531"/>
                </a:lnTo>
                <a:lnTo>
                  <a:pt x="833" y="539"/>
                </a:lnTo>
                <a:lnTo>
                  <a:pt x="833" y="483"/>
                </a:lnTo>
                <a:close/>
                <a:moveTo>
                  <a:pt x="777" y="519"/>
                </a:moveTo>
                <a:lnTo>
                  <a:pt x="833" y="483"/>
                </a:lnTo>
                <a:lnTo>
                  <a:pt x="833" y="539"/>
                </a:lnTo>
                <a:lnTo>
                  <a:pt x="821" y="547"/>
                </a:lnTo>
                <a:lnTo>
                  <a:pt x="821" y="653"/>
                </a:lnTo>
                <a:lnTo>
                  <a:pt x="833" y="646"/>
                </a:lnTo>
                <a:lnTo>
                  <a:pt x="833" y="846"/>
                </a:lnTo>
                <a:lnTo>
                  <a:pt x="821" y="851"/>
                </a:lnTo>
                <a:lnTo>
                  <a:pt x="821" y="957"/>
                </a:lnTo>
                <a:lnTo>
                  <a:pt x="833" y="952"/>
                </a:lnTo>
                <a:lnTo>
                  <a:pt x="833" y="999"/>
                </a:lnTo>
                <a:lnTo>
                  <a:pt x="821" y="1003"/>
                </a:lnTo>
                <a:lnTo>
                  <a:pt x="821" y="1110"/>
                </a:lnTo>
                <a:lnTo>
                  <a:pt x="833" y="1106"/>
                </a:lnTo>
                <a:lnTo>
                  <a:pt x="833" y="1480"/>
                </a:lnTo>
                <a:lnTo>
                  <a:pt x="777" y="1480"/>
                </a:lnTo>
                <a:lnTo>
                  <a:pt x="777" y="1416"/>
                </a:lnTo>
                <a:lnTo>
                  <a:pt x="790" y="1415"/>
                </a:lnTo>
                <a:lnTo>
                  <a:pt x="790" y="1312"/>
                </a:lnTo>
                <a:lnTo>
                  <a:pt x="777" y="1313"/>
                </a:lnTo>
                <a:lnTo>
                  <a:pt x="777" y="1268"/>
                </a:lnTo>
                <a:lnTo>
                  <a:pt x="790" y="1266"/>
                </a:lnTo>
                <a:lnTo>
                  <a:pt x="790" y="1162"/>
                </a:lnTo>
                <a:lnTo>
                  <a:pt x="777" y="1165"/>
                </a:lnTo>
                <a:lnTo>
                  <a:pt x="777" y="1120"/>
                </a:lnTo>
                <a:lnTo>
                  <a:pt x="790" y="1117"/>
                </a:lnTo>
                <a:lnTo>
                  <a:pt x="790" y="1013"/>
                </a:lnTo>
                <a:lnTo>
                  <a:pt x="777" y="1017"/>
                </a:lnTo>
                <a:lnTo>
                  <a:pt x="777" y="519"/>
                </a:lnTo>
                <a:close/>
                <a:moveTo>
                  <a:pt x="721" y="555"/>
                </a:moveTo>
                <a:lnTo>
                  <a:pt x="777" y="519"/>
                </a:lnTo>
                <a:lnTo>
                  <a:pt x="777" y="1017"/>
                </a:lnTo>
                <a:lnTo>
                  <a:pt x="764" y="1021"/>
                </a:lnTo>
                <a:lnTo>
                  <a:pt x="764" y="1123"/>
                </a:lnTo>
                <a:lnTo>
                  <a:pt x="777" y="1120"/>
                </a:lnTo>
                <a:lnTo>
                  <a:pt x="777" y="1165"/>
                </a:lnTo>
                <a:lnTo>
                  <a:pt x="764" y="1167"/>
                </a:lnTo>
                <a:lnTo>
                  <a:pt x="764" y="1269"/>
                </a:lnTo>
                <a:lnTo>
                  <a:pt x="777" y="1268"/>
                </a:lnTo>
                <a:lnTo>
                  <a:pt x="777" y="1313"/>
                </a:lnTo>
                <a:lnTo>
                  <a:pt x="764" y="1314"/>
                </a:lnTo>
                <a:lnTo>
                  <a:pt x="764" y="1416"/>
                </a:lnTo>
                <a:lnTo>
                  <a:pt x="777" y="1416"/>
                </a:lnTo>
                <a:lnTo>
                  <a:pt x="777" y="1480"/>
                </a:lnTo>
                <a:lnTo>
                  <a:pt x="721" y="1480"/>
                </a:lnTo>
                <a:lnTo>
                  <a:pt x="721" y="1276"/>
                </a:lnTo>
                <a:lnTo>
                  <a:pt x="733" y="1274"/>
                </a:lnTo>
                <a:lnTo>
                  <a:pt x="733" y="1174"/>
                </a:lnTo>
                <a:lnTo>
                  <a:pt x="721" y="1176"/>
                </a:lnTo>
                <a:lnTo>
                  <a:pt x="721" y="991"/>
                </a:lnTo>
                <a:lnTo>
                  <a:pt x="733" y="987"/>
                </a:lnTo>
                <a:lnTo>
                  <a:pt x="733" y="887"/>
                </a:lnTo>
                <a:lnTo>
                  <a:pt x="721" y="892"/>
                </a:lnTo>
                <a:lnTo>
                  <a:pt x="721" y="849"/>
                </a:lnTo>
                <a:lnTo>
                  <a:pt x="733" y="843"/>
                </a:lnTo>
                <a:lnTo>
                  <a:pt x="733" y="744"/>
                </a:lnTo>
                <a:lnTo>
                  <a:pt x="721" y="749"/>
                </a:lnTo>
                <a:lnTo>
                  <a:pt x="721" y="707"/>
                </a:lnTo>
                <a:lnTo>
                  <a:pt x="733" y="700"/>
                </a:lnTo>
                <a:lnTo>
                  <a:pt x="733" y="599"/>
                </a:lnTo>
                <a:lnTo>
                  <a:pt x="721" y="607"/>
                </a:lnTo>
                <a:lnTo>
                  <a:pt x="721" y="555"/>
                </a:lnTo>
                <a:close/>
                <a:moveTo>
                  <a:pt x="603" y="169"/>
                </a:moveTo>
                <a:lnTo>
                  <a:pt x="673" y="169"/>
                </a:lnTo>
                <a:lnTo>
                  <a:pt x="673" y="586"/>
                </a:lnTo>
                <a:lnTo>
                  <a:pt x="721" y="555"/>
                </a:lnTo>
                <a:lnTo>
                  <a:pt x="721" y="607"/>
                </a:lnTo>
                <a:lnTo>
                  <a:pt x="708" y="615"/>
                </a:lnTo>
                <a:lnTo>
                  <a:pt x="708" y="714"/>
                </a:lnTo>
                <a:lnTo>
                  <a:pt x="721" y="707"/>
                </a:lnTo>
                <a:lnTo>
                  <a:pt x="721" y="749"/>
                </a:lnTo>
                <a:lnTo>
                  <a:pt x="708" y="756"/>
                </a:lnTo>
                <a:lnTo>
                  <a:pt x="708" y="855"/>
                </a:lnTo>
                <a:lnTo>
                  <a:pt x="721" y="849"/>
                </a:lnTo>
                <a:lnTo>
                  <a:pt x="721" y="892"/>
                </a:lnTo>
                <a:lnTo>
                  <a:pt x="708" y="897"/>
                </a:lnTo>
                <a:lnTo>
                  <a:pt x="708" y="995"/>
                </a:lnTo>
                <a:lnTo>
                  <a:pt x="721" y="991"/>
                </a:lnTo>
                <a:lnTo>
                  <a:pt x="721" y="1176"/>
                </a:lnTo>
                <a:lnTo>
                  <a:pt x="708" y="1180"/>
                </a:lnTo>
                <a:lnTo>
                  <a:pt x="708" y="1277"/>
                </a:lnTo>
                <a:lnTo>
                  <a:pt x="721" y="1276"/>
                </a:lnTo>
                <a:lnTo>
                  <a:pt x="721" y="1480"/>
                </a:lnTo>
                <a:lnTo>
                  <a:pt x="603" y="1480"/>
                </a:lnTo>
                <a:lnTo>
                  <a:pt x="603" y="1419"/>
                </a:lnTo>
                <a:lnTo>
                  <a:pt x="621" y="1419"/>
                </a:lnTo>
                <a:lnTo>
                  <a:pt x="621" y="1324"/>
                </a:lnTo>
                <a:lnTo>
                  <a:pt x="603" y="1324"/>
                </a:lnTo>
                <a:lnTo>
                  <a:pt x="603" y="1283"/>
                </a:lnTo>
                <a:lnTo>
                  <a:pt x="621" y="1283"/>
                </a:lnTo>
                <a:lnTo>
                  <a:pt x="621" y="1187"/>
                </a:lnTo>
                <a:lnTo>
                  <a:pt x="603" y="1187"/>
                </a:lnTo>
                <a:lnTo>
                  <a:pt x="603" y="1145"/>
                </a:lnTo>
                <a:lnTo>
                  <a:pt x="621" y="1145"/>
                </a:lnTo>
                <a:lnTo>
                  <a:pt x="621" y="1049"/>
                </a:lnTo>
                <a:lnTo>
                  <a:pt x="603" y="1049"/>
                </a:lnTo>
                <a:lnTo>
                  <a:pt x="603" y="870"/>
                </a:lnTo>
                <a:lnTo>
                  <a:pt x="621" y="870"/>
                </a:lnTo>
                <a:lnTo>
                  <a:pt x="621" y="773"/>
                </a:lnTo>
                <a:lnTo>
                  <a:pt x="603" y="773"/>
                </a:lnTo>
                <a:lnTo>
                  <a:pt x="603" y="732"/>
                </a:lnTo>
                <a:lnTo>
                  <a:pt x="621" y="732"/>
                </a:lnTo>
                <a:lnTo>
                  <a:pt x="621" y="636"/>
                </a:lnTo>
                <a:lnTo>
                  <a:pt x="603" y="636"/>
                </a:lnTo>
                <a:lnTo>
                  <a:pt x="603" y="594"/>
                </a:lnTo>
                <a:lnTo>
                  <a:pt x="621" y="594"/>
                </a:lnTo>
                <a:lnTo>
                  <a:pt x="621" y="498"/>
                </a:lnTo>
                <a:lnTo>
                  <a:pt x="603" y="498"/>
                </a:lnTo>
                <a:lnTo>
                  <a:pt x="603" y="457"/>
                </a:lnTo>
                <a:lnTo>
                  <a:pt x="621" y="457"/>
                </a:lnTo>
                <a:lnTo>
                  <a:pt x="621" y="360"/>
                </a:lnTo>
                <a:lnTo>
                  <a:pt x="603" y="360"/>
                </a:lnTo>
                <a:lnTo>
                  <a:pt x="603" y="319"/>
                </a:lnTo>
                <a:lnTo>
                  <a:pt x="621" y="319"/>
                </a:lnTo>
                <a:lnTo>
                  <a:pt x="621" y="224"/>
                </a:lnTo>
                <a:lnTo>
                  <a:pt x="603" y="224"/>
                </a:lnTo>
                <a:lnTo>
                  <a:pt x="603" y="169"/>
                </a:lnTo>
                <a:close/>
                <a:moveTo>
                  <a:pt x="436" y="169"/>
                </a:moveTo>
                <a:lnTo>
                  <a:pt x="603" y="169"/>
                </a:lnTo>
                <a:lnTo>
                  <a:pt x="603" y="224"/>
                </a:lnTo>
                <a:lnTo>
                  <a:pt x="436" y="224"/>
                </a:lnTo>
                <a:lnTo>
                  <a:pt x="436" y="169"/>
                </a:lnTo>
                <a:close/>
                <a:moveTo>
                  <a:pt x="603" y="1480"/>
                </a:moveTo>
                <a:lnTo>
                  <a:pt x="436" y="1480"/>
                </a:lnTo>
                <a:lnTo>
                  <a:pt x="436" y="1419"/>
                </a:lnTo>
                <a:lnTo>
                  <a:pt x="603" y="1419"/>
                </a:lnTo>
                <a:lnTo>
                  <a:pt x="603" y="1480"/>
                </a:lnTo>
                <a:close/>
                <a:moveTo>
                  <a:pt x="603" y="319"/>
                </a:moveTo>
                <a:lnTo>
                  <a:pt x="603" y="360"/>
                </a:lnTo>
                <a:lnTo>
                  <a:pt x="583" y="360"/>
                </a:lnTo>
                <a:lnTo>
                  <a:pt x="583" y="457"/>
                </a:lnTo>
                <a:lnTo>
                  <a:pt x="603" y="457"/>
                </a:lnTo>
                <a:lnTo>
                  <a:pt x="603" y="498"/>
                </a:lnTo>
                <a:lnTo>
                  <a:pt x="500" y="498"/>
                </a:lnTo>
                <a:lnTo>
                  <a:pt x="500" y="594"/>
                </a:lnTo>
                <a:lnTo>
                  <a:pt x="603" y="594"/>
                </a:lnTo>
                <a:lnTo>
                  <a:pt x="603" y="636"/>
                </a:lnTo>
                <a:lnTo>
                  <a:pt x="583" y="636"/>
                </a:lnTo>
                <a:lnTo>
                  <a:pt x="583" y="732"/>
                </a:lnTo>
                <a:lnTo>
                  <a:pt x="603" y="732"/>
                </a:lnTo>
                <a:lnTo>
                  <a:pt x="603" y="773"/>
                </a:lnTo>
                <a:lnTo>
                  <a:pt x="436" y="773"/>
                </a:lnTo>
                <a:lnTo>
                  <a:pt x="436" y="732"/>
                </a:lnTo>
                <a:lnTo>
                  <a:pt x="538" y="732"/>
                </a:lnTo>
                <a:lnTo>
                  <a:pt x="538" y="636"/>
                </a:lnTo>
                <a:lnTo>
                  <a:pt x="436" y="636"/>
                </a:lnTo>
                <a:lnTo>
                  <a:pt x="436" y="594"/>
                </a:lnTo>
                <a:lnTo>
                  <a:pt x="454" y="594"/>
                </a:lnTo>
                <a:lnTo>
                  <a:pt x="454" y="498"/>
                </a:lnTo>
                <a:lnTo>
                  <a:pt x="436" y="498"/>
                </a:lnTo>
                <a:lnTo>
                  <a:pt x="436" y="457"/>
                </a:lnTo>
                <a:lnTo>
                  <a:pt x="538" y="457"/>
                </a:lnTo>
                <a:lnTo>
                  <a:pt x="538" y="360"/>
                </a:lnTo>
                <a:lnTo>
                  <a:pt x="436" y="360"/>
                </a:lnTo>
                <a:lnTo>
                  <a:pt x="436" y="319"/>
                </a:lnTo>
                <a:lnTo>
                  <a:pt x="603" y="319"/>
                </a:lnTo>
                <a:close/>
                <a:moveTo>
                  <a:pt x="603" y="870"/>
                </a:moveTo>
                <a:lnTo>
                  <a:pt x="603" y="1049"/>
                </a:lnTo>
                <a:lnTo>
                  <a:pt x="500" y="1049"/>
                </a:lnTo>
                <a:lnTo>
                  <a:pt x="500" y="1145"/>
                </a:lnTo>
                <a:lnTo>
                  <a:pt x="603" y="1145"/>
                </a:lnTo>
                <a:lnTo>
                  <a:pt x="603" y="1187"/>
                </a:lnTo>
                <a:lnTo>
                  <a:pt x="583" y="1187"/>
                </a:lnTo>
                <a:lnTo>
                  <a:pt x="583" y="1283"/>
                </a:lnTo>
                <a:lnTo>
                  <a:pt x="603" y="1283"/>
                </a:lnTo>
                <a:lnTo>
                  <a:pt x="603" y="1324"/>
                </a:lnTo>
                <a:lnTo>
                  <a:pt x="436" y="1324"/>
                </a:lnTo>
                <a:lnTo>
                  <a:pt x="436" y="1283"/>
                </a:lnTo>
                <a:lnTo>
                  <a:pt x="454" y="1283"/>
                </a:lnTo>
                <a:lnTo>
                  <a:pt x="454" y="1187"/>
                </a:lnTo>
                <a:lnTo>
                  <a:pt x="436" y="1187"/>
                </a:lnTo>
                <a:lnTo>
                  <a:pt x="436" y="1008"/>
                </a:lnTo>
                <a:lnTo>
                  <a:pt x="538" y="1008"/>
                </a:lnTo>
                <a:lnTo>
                  <a:pt x="538" y="911"/>
                </a:lnTo>
                <a:lnTo>
                  <a:pt x="436" y="911"/>
                </a:lnTo>
                <a:lnTo>
                  <a:pt x="436" y="870"/>
                </a:lnTo>
                <a:lnTo>
                  <a:pt x="603" y="870"/>
                </a:lnTo>
                <a:close/>
                <a:moveTo>
                  <a:pt x="394" y="169"/>
                </a:moveTo>
                <a:lnTo>
                  <a:pt x="436" y="169"/>
                </a:lnTo>
                <a:lnTo>
                  <a:pt x="436" y="224"/>
                </a:lnTo>
                <a:lnTo>
                  <a:pt x="417" y="224"/>
                </a:lnTo>
                <a:lnTo>
                  <a:pt x="417" y="319"/>
                </a:lnTo>
                <a:lnTo>
                  <a:pt x="436" y="319"/>
                </a:lnTo>
                <a:lnTo>
                  <a:pt x="436" y="360"/>
                </a:lnTo>
                <a:lnTo>
                  <a:pt x="394" y="360"/>
                </a:lnTo>
                <a:lnTo>
                  <a:pt x="394" y="169"/>
                </a:lnTo>
                <a:close/>
                <a:moveTo>
                  <a:pt x="436" y="1480"/>
                </a:moveTo>
                <a:lnTo>
                  <a:pt x="394" y="1480"/>
                </a:lnTo>
                <a:lnTo>
                  <a:pt x="394" y="1419"/>
                </a:lnTo>
                <a:lnTo>
                  <a:pt x="436" y="1419"/>
                </a:lnTo>
                <a:lnTo>
                  <a:pt x="436" y="1480"/>
                </a:lnTo>
                <a:close/>
                <a:moveTo>
                  <a:pt x="436" y="457"/>
                </a:moveTo>
                <a:lnTo>
                  <a:pt x="436" y="498"/>
                </a:lnTo>
                <a:lnTo>
                  <a:pt x="417" y="498"/>
                </a:lnTo>
                <a:lnTo>
                  <a:pt x="417" y="594"/>
                </a:lnTo>
                <a:lnTo>
                  <a:pt x="436" y="594"/>
                </a:lnTo>
                <a:lnTo>
                  <a:pt x="436" y="636"/>
                </a:lnTo>
                <a:lnTo>
                  <a:pt x="394" y="636"/>
                </a:lnTo>
                <a:lnTo>
                  <a:pt x="394" y="457"/>
                </a:lnTo>
                <a:lnTo>
                  <a:pt x="436" y="457"/>
                </a:lnTo>
                <a:close/>
                <a:moveTo>
                  <a:pt x="436" y="732"/>
                </a:moveTo>
                <a:lnTo>
                  <a:pt x="436" y="773"/>
                </a:lnTo>
                <a:lnTo>
                  <a:pt x="417" y="773"/>
                </a:lnTo>
                <a:lnTo>
                  <a:pt x="417" y="870"/>
                </a:lnTo>
                <a:lnTo>
                  <a:pt x="436" y="870"/>
                </a:lnTo>
                <a:lnTo>
                  <a:pt x="436" y="911"/>
                </a:lnTo>
                <a:lnTo>
                  <a:pt x="394" y="911"/>
                </a:lnTo>
                <a:lnTo>
                  <a:pt x="394" y="732"/>
                </a:lnTo>
                <a:lnTo>
                  <a:pt x="436" y="732"/>
                </a:lnTo>
                <a:close/>
                <a:moveTo>
                  <a:pt x="436" y="1008"/>
                </a:moveTo>
                <a:lnTo>
                  <a:pt x="436" y="1187"/>
                </a:lnTo>
                <a:lnTo>
                  <a:pt x="394" y="1187"/>
                </a:lnTo>
                <a:lnTo>
                  <a:pt x="394" y="1008"/>
                </a:lnTo>
                <a:lnTo>
                  <a:pt x="436" y="1008"/>
                </a:lnTo>
                <a:close/>
                <a:moveTo>
                  <a:pt x="436" y="1283"/>
                </a:moveTo>
                <a:lnTo>
                  <a:pt x="436" y="1324"/>
                </a:lnTo>
                <a:lnTo>
                  <a:pt x="394" y="1324"/>
                </a:lnTo>
                <a:lnTo>
                  <a:pt x="394" y="1283"/>
                </a:lnTo>
                <a:lnTo>
                  <a:pt x="436" y="1283"/>
                </a:lnTo>
                <a:close/>
                <a:moveTo>
                  <a:pt x="352" y="169"/>
                </a:moveTo>
                <a:lnTo>
                  <a:pt x="394" y="169"/>
                </a:lnTo>
                <a:lnTo>
                  <a:pt x="394" y="360"/>
                </a:lnTo>
                <a:lnTo>
                  <a:pt x="352" y="360"/>
                </a:lnTo>
                <a:lnTo>
                  <a:pt x="352" y="169"/>
                </a:lnTo>
                <a:close/>
                <a:moveTo>
                  <a:pt x="394" y="1480"/>
                </a:moveTo>
                <a:lnTo>
                  <a:pt x="352" y="1480"/>
                </a:lnTo>
                <a:lnTo>
                  <a:pt x="352" y="1419"/>
                </a:lnTo>
                <a:lnTo>
                  <a:pt x="394" y="1419"/>
                </a:lnTo>
                <a:lnTo>
                  <a:pt x="394" y="1480"/>
                </a:lnTo>
                <a:close/>
                <a:moveTo>
                  <a:pt x="394" y="457"/>
                </a:moveTo>
                <a:lnTo>
                  <a:pt x="352" y="457"/>
                </a:lnTo>
                <a:lnTo>
                  <a:pt x="352" y="360"/>
                </a:lnTo>
                <a:lnTo>
                  <a:pt x="372" y="360"/>
                </a:lnTo>
                <a:lnTo>
                  <a:pt x="372" y="457"/>
                </a:lnTo>
                <a:lnTo>
                  <a:pt x="352" y="457"/>
                </a:lnTo>
                <a:lnTo>
                  <a:pt x="352" y="636"/>
                </a:lnTo>
                <a:lnTo>
                  <a:pt x="394" y="636"/>
                </a:lnTo>
                <a:lnTo>
                  <a:pt x="394" y="457"/>
                </a:lnTo>
                <a:close/>
                <a:moveTo>
                  <a:pt x="394" y="732"/>
                </a:moveTo>
                <a:lnTo>
                  <a:pt x="394" y="911"/>
                </a:lnTo>
                <a:lnTo>
                  <a:pt x="352" y="911"/>
                </a:lnTo>
                <a:lnTo>
                  <a:pt x="352" y="732"/>
                </a:lnTo>
                <a:lnTo>
                  <a:pt x="394" y="732"/>
                </a:lnTo>
                <a:close/>
                <a:moveTo>
                  <a:pt x="394" y="1008"/>
                </a:moveTo>
                <a:lnTo>
                  <a:pt x="394" y="1187"/>
                </a:lnTo>
                <a:lnTo>
                  <a:pt x="352" y="1187"/>
                </a:lnTo>
                <a:lnTo>
                  <a:pt x="352" y="1145"/>
                </a:lnTo>
                <a:lnTo>
                  <a:pt x="372" y="1145"/>
                </a:lnTo>
                <a:lnTo>
                  <a:pt x="372" y="1049"/>
                </a:lnTo>
                <a:lnTo>
                  <a:pt x="352" y="1049"/>
                </a:lnTo>
                <a:lnTo>
                  <a:pt x="352" y="1008"/>
                </a:lnTo>
                <a:lnTo>
                  <a:pt x="394" y="1008"/>
                </a:lnTo>
                <a:close/>
                <a:moveTo>
                  <a:pt x="394" y="1283"/>
                </a:moveTo>
                <a:lnTo>
                  <a:pt x="394" y="1324"/>
                </a:lnTo>
                <a:lnTo>
                  <a:pt x="352" y="1324"/>
                </a:lnTo>
                <a:lnTo>
                  <a:pt x="352" y="1283"/>
                </a:lnTo>
                <a:lnTo>
                  <a:pt x="394" y="1283"/>
                </a:lnTo>
                <a:close/>
                <a:moveTo>
                  <a:pt x="270" y="169"/>
                </a:moveTo>
                <a:lnTo>
                  <a:pt x="352" y="169"/>
                </a:lnTo>
                <a:lnTo>
                  <a:pt x="352" y="360"/>
                </a:lnTo>
                <a:lnTo>
                  <a:pt x="334" y="360"/>
                </a:lnTo>
                <a:lnTo>
                  <a:pt x="334" y="457"/>
                </a:lnTo>
                <a:lnTo>
                  <a:pt x="352" y="457"/>
                </a:lnTo>
                <a:lnTo>
                  <a:pt x="352" y="636"/>
                </a:lnTo>
                <a:lnTo>
                  <a:pt x="270" y="636"/>
                </a:lnTo>
                <a:lnTo>
                  <a:pt x="270" y="457"/>
                </a:lnTo>
                <a:lnTo>
                  <a:pt x="288" y="457"/>
                </a:lnTo>
                <a:lnTo>
                  <a:pt x="288" y="360"/>
                </a:lnTo>
                <a:lnTo>
                  <a:pt x="270" y="360"/>
                </a:lnTo>
                <a:lnTo>
                  <a:pt x="270" y="319"/>
                </a:lnTo>
                <a:lnTo>
                  <a:pt x="288" y="319"/>
                </a:lnTo>
                <a:lnTo>
                  <a:pt x="288" y="224"/>
                </a:lnTo>
                <a:lnTo>
                  <a:pt x="270" y="224"/>
                </a:lnTo>
                <a:lnTo>
                  <a:pt x="270" y="169"/>
                </a:lnTo>
                <a:close/>
                <a:moveTo>
                  <a:pt x="352" y="1480"/>
                </a:moveTo>
                <a:lnTo>
                  <a:pt x="270" y="1480"/>
                </a:lnTo>
                <a:lnTo>
                  <a:pt x="270" y="1419"/>
                </a:lnTo>
                <a:lnTo>
                  <a:pt x="288" y="1419"/>
                </a:lnTo>
                <a:lnTo>
                  <a:pt x="288" y="1324"/>
                </a:lnTo>
                <a:lnTo>
                  <a:pt x="270" y="1324"/>
                </a:lnTo>
                <a:lnTo>
                  <a:pt x="270" y="1283"/>
                </a:lnTo>
                <a:lnTo>
                  <a:pt x="352" y="1283"/>
                </a:lnTo>
                <a:lnTo>
                  <a:pt x="352" y="1324"/>
                </a:lnTo>
                <a:lnTo>
                  <a:pt x="334" y="1324"/>
                </a:lnTo>
                <a:lnTo>
                  <a:pt x="334" y="1419"/>
                </a:lnTo>
                <a:lnTo>
                  <a:pt x="352" y="1419"/>
                </a:lnTo>
                <a:lnTo>
                  <a:pt x="352" y="1480"/>
                </a:lnTo>
                <a:close/>
                <a:moveTo>
                  <a:pt x="352" y="360"/>
                </a:moveTo>
                <a:lnTo>
                  <a:pt x="334" y="360"/>
                </a:lnTo>
                <a:lnTo>
                  <a:pt x="334" y="457"/>
                </a:lnTo>
                <a:lnTo>
                  <a:pt x="352" y="457"/>
                </a:lnTo>
                <a:lnTo>
                  <a:pt x="352" y="360"/>
                </a:lnTo>
                <a:close/>
                <a:moveTo>
                  <a:pt x="352" y="732"/>
                </a:moveTo>
                <a:lnTo>
                  <a:pt x="352" y="911"/>
                </a:lnTo>
                <a:lnTo>
                  <a:pt x="334" y="911"/>
                </a:lnTo>
                <a:lnTo>
                  <a:pt x="334" y="1008"/>
                </a:lnTo>
                <a:lnTo>
                  <a:pt x="352" y="1008"/>
                </a:lnTo>
                <a:lnTo>
                  <a:pt x="352" y="1049"/>
                </a:lnTo>
                <a:lnTo>
                  <a:pt x="334" y="1049"/>
                </a:lnTo>
                <a:lnTo>
                  <a:pt x="334" y="1145"/>
                </a:lnTo>
                <a:lnTo>
                  <a:pt x="352" y="1145"/>
                </a:lnTo>
                <a:lnTo>
                  <a:pt x="352" y="1187"/>
                </a:lnTo>
                <a:lnTo>
                  <a:pt x="270" y="1187"/>
                </a:lnTo>
                <a:lnTo>
                  <a:pt x="270" y="1008"/>
                </a:lnTo>
                <a:lnTo>
                  <a:pt x="288" y="1008"/>
                </a:lnTo>
                <a:lnTo>
                  <a:pt x="288" y="911"/>
                </a:lnTo>
                <a:lnTo>
                  <a:pt x="270" y="911"/>
                </a:lnTo>
                <a:lnTo>
                  <a:pt x="270" y="870"/>
                </a:lnTo>
                <a:lnTo>
                  <a:pt x="288" y="870"/>
                </a:lnTo>
                <a:lnTo>
                  <a:pt x="288" y="773"/>
                </a:lnTo>
                <a:lnTo>
                  <a:pt x="270" y="773"/>
                </a:lnTo>
                <a:lnTo>
                  <a:pt x="270" y="732"/>
                </a:lnTo>
                <a:lnTo>
                  <a:pt x="352" y="732"/>
                </a:lnTo>
                <a:close/>
                <a:moveTo>
                  <a:pt x="0" y="840"/>
                </a:moveTo>
                <a:lnTo>
                  <a:pt x="198" y="840"/>
                </a:lnTo>
                <a:lnTo>
                  <a:pt x="198" y="169"/>
                </a:lnTo>
                <a:lnTo>
                  <a:pt x="270" y="169"/>
                </a:lnTo>
                <a:lnTo>
                  <a:pt x="270" y="224"/>
                </a:lnTo>
                <a:lnTo>
                  <a:pt x="250" y="224"/>
                </a:lnTo>
                <a:lnTo>
                  <a:pt x="250" y="319"/>
                </a:lnTo>
                <a:lnTo>
                  <a:pt x="270" y="319"/>
                </a:lnTo>
                <a:lnTo>
                  <a:pt x="270" y="360"/>
                </a:lnTo>
                <a:lnTo>
                  <a:pt x="250" y="360"/>
                </a:lnTo>
                <a:lnTo>
                  <a:pt x="250" y="457"/>
                </a:lnTo>
                <a:lnTo>
                  <a:pt x="270" y="457"/>
                </a:lnTo>
                <a:lnTo>
                  <a:pt x="270" y="636"/>
                </a:lnTo>
                <a:lnTo>
                  <a:pt x="250" y="636"/>
                </a:lnTo>
                <a:lnTo>
                  <a:pt x="250" y="732"/>
                </a:lnTo>
                <a:lnTo>
                  <a:pt x="270" y="732"/>
                </a:lnTo>
                <a:lnTo>
                  <a:pt x="270" y="773"/>
                </a:lnTo>
                <a:lnTo>
                  <a:pt x="250" y="773"/>
                </a:lnTo>
                <a:lnTo>
                  <a:pt x="250" y="870"/>
                </a:lnTo>
                <a:lnTo>
                  <a:pt x="270" y="870"/>
                </a:lnTo>
                <a:lnTo>
                  <a:pt x="270" y="911"/>
                </a:lnTo>
                <a:lnTo>
                  <a:pt x="250" y="911"/>
                </a:lnTo>
                <a:lnTo>
                  <a:pt x="250" y="1008"/>
                </a:lnTo>
                <a:lnTo>
                  <a:pt x="270" y="1008"/>
                </a:lnTo>
                <a:lnTo>
                  <a:pt x="270" y="1187"/>
                </a:lnTo>
                <a:lnTo>
                  <a:pt x="250" y="1187"/>
                </a:lnTo>
                <a:lnTo>
                  <a:pt x="250" y="1283"/>
                </a:lnTo>
                <a:lnTo>
                  <a:pt x="270" y="1283"/>
                </a:lnTo>
                <a:lnTo>
                  <a:pt x="270" y="1324"/>
                </a:lnTo>
                <a:lnTo>
                  <a:pt x="250" y="1324"/>
                </a:lnTo>
                <a:lnTo>
                  <a:pt x="250" y="1419"/>
                </a:lnTo>
                <a:lnTo>
                  <a:pt x="270" y="1419"/>
                </a:lnTo>
                <a:lnTo>
                  <a:pt x="270" y="1480"/>
                </a:lnTo>
                <a:lnTo>
                  <a:pt x="0" y="1480"/>
                </a:lnTo>
                <a:lnTo>
                  <a:pt x="0" y="1419"/>
                </a:lnTo>
                <a:lnTo>
                  <a:pt x="155" y="1419"/>
                </a:lnTo>
                <a:lnTo>
                  <a:pt x="155" y="1374"/>
                </a:lnTo>
                <a:lnTo>
                  <a:pt x="0" y="1374"/>
                </a:lnTo>
                <a:lnTo>
                  <a:pt x="0" y="1328"/>
                </a:lnTo>
                <a:lnTo>
                  <a:pt x="155" y="1328"/>
                </a:lnTo>
                <a:lnTo>
                  <a:pt x="155" y="1282"/>
                </a:lnTo>
                <a:lnTo>
                  <a:pt x="0" y="1282"/>
                </a:lnTo>
                <a:lnTo>
                  <a:pt x="0" y="1050"/>
                </a:lnTo>
                <a:lnTo>
                  <a:pt x="155" y="1050"/>
                </a:lnTo>
                <a:lnTo>
                  <a:pt x="155" y="1004"/>
                </a:lnTo>
                <a:lnTo>
                  <a:pt x="0" y="1004"/>
                </a:lnTo>
                <a:lnTo>
                  <a:pt x="0" y="84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7" name="Rectangle 16"/>
          <p:cNvSpPr/>
          <p:nvPr/>
        </p:nvSpPr>
        <p:spPr>
          <a:xfrm>
            <a:off x="8101013" y="1867250"/>
            <a:ext cx="2209800" cy="864283"/>
          </a:xfrm>
          <a:prstGeom prst="rect">
            <a:avLst/>
          </a:prstGeom>
        </p:spPr>
        <p:txBody>
          <a:bodyPr anchor="ctr"/>
          <a:lstStyle/>
          <a:p>
            <a:pPr eaLnBrk="1" fontAlgn="auto" hangingPunct="1">
              <a:spcAft>
                <a:spcPts val="0"/>
              </a:spcAft>
              <a:defRPr/>
            </a:pPr>
            <a:r>
              <a:rPr lang="en-US" sz="2800" b="1" spc="-150" noProof="1" smtClean="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rPr>
              <a:t>Lihat Sekeliling</a:t>
            </a:r>
            <a:endParaRPr lang="en-US" sz="2800" spc="-150" noProof="1">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Rectangle 17"/>
          <p:cNvSpPr/>
          <p:nvPr/>
        </p:nvSpPr>
        <p:spPr>
          <a:xfrm>
            <a:off x="2272645" y="4746625"/>
            <a:ext cx="1547812" cy="890655"/>
          </a:xfrm>
          <a:prstGeom prst="rect">
            <a:avLst/>
          </a:prstGeom>
        </p:spPr>
        <p:txBody>
          <a:bodyPr anchor="ctr"/>
          <a:lstStyle/>
          <a:p>
            <a:pPr eaLnBrk="1" fontAlgn="auto" hangingPunct="1">
              <a:spcAft>
                <a:spcPts val="0"/>
              </a:spcAft>
            </a:pPr>
            <a:r>
              <a:rPr lang="en-US" sz="2800" b="1" spc="-150" noProof="1" smtClean="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rPr>
              <a:t>Kerja Keras</a:t>
            </a:r>
            <a:endParaRPr lang="en-US" sz="2800" b="1" spc="-150" noProof="1">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5" name="Group 24"/>
          <p:cNvGrpSpPr>
            <a:grpSpLocks/>
          </p:cNvGrpSpPr>
          <p:nvPr/>
        </p:nvGrpSpPr>
        <p:grpSpPr bwMode="auto">
          <a:xfrm>
            <a:off x="7058025" y="1763713"/>
            <a:ext cx="1068388" cy="1176337"/>
            <a:chOff x="4188097" y="2970895"/>
            <a:chExt cx="971005" cy="1069509"/>
          </a:xfrm>
        </p:grpSpPr>
        <p:graphicFrame>
          <p:nvGraphicFramePr>
            <p:cNvPr id="38939" name="Chart 20"/>
            <p:cNvGraphicFramePr>
              <a:graphicFrameLocks/>
            </p:cNvGraphicFramePr>
            <p:nvPr/>
          </p:nvGraphicFramePr>
          <p:xfrm>
            <a:off x="4141915" y="2924713"/>
            <a:ext cx="1063369" cy="1161873"/>
          </p:xfrm>
          <a:graphic>
            <a:graphicData uri="http://schemas.openxmlformats.org/presentationml/2006/ole">
              <mc:AlternateContent xmlns:mc="http://schemas.openxmlformats.org/markup-compatibility/2006">
                <mc:Choice xmlns:v="urn:schemas-microsoft-com:vml" Requires="v">
                  <p:oleObj spid="_x0000_s38960" name="Chart" r:id="rId5" imgW="1176630" imgH="1280271" progId="Excel.Chart.8">
                    <p:embed/>
                  </p:oleObj>
                </mc:Choice>
                <mc:Fallback>
                  <p:oleObj name="Chart" r:id="rId5" imgW="1176630" imgH="1280271" progId="Excel.Chart.8">
                    <p:embed/>
                    <p:pic>
                      <p:nvPicPr>
                        <p:cNvPr id="0" name="Chart 20"/>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141915" y="2924713"/>
                          <a:ext cx="1063369" cy="116187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2" name="Oval 21"/>
            <p:cNvSpPr/>
            <p:nvPr/>
          </p:nvSpPr>
          <p:spPr>
            <a:xfrm flipH="1">
              <a:off x="4436259" y="3269664"/>
              <a:ext cx="476124" cy="4763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grpSp>
        <p:nvGrpSpPr>
          <p:cNvPr id="27" name="Group 26"/>
          <p:cNvGrpSpPr>
            <a:grpSpLocks/>
          </p:cNvGrpSpPr>
          <p:nvPr/>
        </p:nvGrpSpPr>
        <p:grpSpPr bwMode="auto">
          <a:xfrm>
            <a:off x="7058025" y="4156075"/>
            <a:ext cx="1068388" cy="1176338"/>
            <a:chOff x="4188097" y="2970895"/>
            <a:chExt cx="971005" cy="1069509"/>
          </a:xfrm>
        </p:grpSpPr>
        <p:graphicFrame>
          <p:nvGraphicFramePr>
            <p:cNvPr id="38937" name="Chart 27"/>
            <p:cNvGraphicFramePr>
              <a:graphicFrameLocks/>
            </p:cNvGraphicFramePr>
            <p:nvPr/>
          </p:nvGraphicFramePr>
          <p:xfrm>
            <a:off x="4141915" y="2924713"/>
            <a:ext cx="1063369" cy="1161873"/>
          </p:xfrm>
          <a:graphic>
            <a:graphicData uri="http://schemas.openxmlformats.org/presentationml/2006/ole">
              <mc:AlternateContent xmlns:mc="http://schemas.openxmlformats.org/markup-compatibility/2006">
                <mc:Choice xmlns:v="urn:schemas-microsoft-com:vml" Requires="v">
                  <p:oleObj spid="_x0000_s38961" name="Chart" r:id="rId8" imgW="1176630" imgH="1286367" progId="Excel.Chart.8">
                    <p:embed/>
                  </p:oleObj>
                </mc:Choice>
                <mc:Fallback>
                  <p:oleObj name="Chart" r:id="rId8" imgW="1176630" imgH="1286367" progId="Excel.Chart.8">
                    <p:embed/>
                    <p:pic>
                      <p:nvPicPr>
                        <p:cNvPr id="0" name="Chart 27"/>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41915" y="2924713"/>
                          <a:ext cx="1063369" cy="116187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9" name="Oval 28"/>
            <p:cNvSpPr/>
            <p:nvPr/>
          </p:nvSpPr>
          <p:spPr>
            <a:xfrm flipH="1">
              <a:off x="4436259" y="3269665"/>
              <a:ext cx="476124" cy="47629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grpSp>
        <p:nvGrpSpPr>
          <p:cNvPr id="32" name="Group 31"/>
          <p:cNvGrpSpPr>
            <a:grpSpLocks/>
          </p:cNvGrpSpPr>
          <p:nvPr/>
        </p:nvGrpSpPr>
        <p:grpSpPr bwMode="auto">
          <a:xfrm>
            <a:off x="1327150" y="4156075"/>
            <a:ext cx="1066800" cy="1176338"/>
            <a:chOff x="4188097" y="2970895"/>
            <a:chExt cx="971005" cy="1069509"/>
          </a:xfrm>
        </p:grpSpPr>
        <p:graphicFrame>
          <p:nvGraphicFramePr>
            <p:cNvPr id="38935" name="Chart 32"/>
            <p:cNvGraphicFramePr>
              <a:graphicFrameLocks/>
            </p:cNvGraphicFramePr>
            <p:nvPr/>
          </p:nvGraphicFramePr>
          <p:xfrm>
            <a:off x="4141915" y="2924713"/>
            <a:ext cx="1063369" cy="1161873"/>
          </p:xfrm>
          <a:graphic>
            <a:graphicData uri="http://schemas.openxmlformats.org/presentationml/2006/ole">
              <mc:AlternateContent xmlns:mc="http://schemas.openxmlformats.org/markup-compatibility/2006">
                <mc:Choice xmlns:v="urn:schemas-microsoft-com:vml" Requires="v">
                  <p:oleObj spid="_x0000_s38962" name="Chart" r:id="rId11" imgW="1176630" imgH="1286367" progId="Excel.Chart.8">
                    <p:embed/>
                  </p:oleObj>
                </mc:Choice>
                <mc:Fallback>
                  <p:oleObj name="Chart" r:id="rId11" imgW="1176630" imgH="1286367" progId="Excel.Chart.8">
                    <p:embed/>
                    <p:pic>
                      <p:nvPicPr>
                        <p:cNvPr id="0" name="Chart 32"/>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141915" y="2924713"/>
                          <a:ext cx="1063369" cy="116187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4" name="Oval 33"/>
            <p:cNvSpPr/>
            <p:nvPr/>
          </p:nvSpPr>
          <p:spPr>
            <a:xfrm flipH="1">
              <a:off x="4436628" y="3269665"/>
              <a:ext cx="475388" cy="47629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sp>
        <p:nvSpPr>
          <p:cNvPr id="39" name="Rectangle 38"/>
          <p:cNvSpPr/>
          <p:nvPr/>
        </p:nvSpPr>
        <p:spPr>
          <a:xfrm>
            <a:off x="8101013" y="4321634"/>
            <a:ext cx="2209800" cy="836242"/>
          </a:xfrm>
          <a:prstGeom prst="rect">
            <a:avLst/>
          </a:prstGeom>
        </p:spPr>
        <p:txBody>
          <a:bodyPr anchor="ctr"/>
          <a:lstStyle/>
          <a:p>
            <a:pPr eaLnBrk="1" fontAlgn="auto" hangingPunct="1">
              <a:spcAft>
                <a:spcPts val="0"/>
              </a:spcAft>
            </a:pPr>
            <a:r>
              <a:rPr lang="en-US" sz="2800" b="1" spc="-150" noProof="1" smtClean="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rPr>
              <a:t>Bisnis Matching</a:t>
            </a:r>
            <a:endParaRPr lang="en-US" sz="2800" b="1" spc="-150" noProof="1">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6" name="Group 25"/>
          <p:cNvGrpSpPr/>
          <p:nvPr/>
        </p:nvGrpSpPr>
        <p:grpSpPr>
          <a:xfrm>
            <a:off x="7472177" y="2237991"/>
            <a:ext cx="246004" cy="241777"/>
            <a:chOff x="-20638" y="1588"/>
            <a:chExt cx="2955925" cy="2905125"/>
          </a:xfrm>
          <a:solidFill>
            <a:schemeClr val="bg1">
              <a:lumMod val="65000"/>
            </a:schemeClr>
          </a:solidFill>
        </p:grpSpPr>
        <p:sp>
          <p:nvSpPr>
            <p:cNvPr id="31" name="Freeform 5"/>
            <p:cNvSpPr>
              <a:spLocks/>
            </p:cNvSpPr>
            <p:nvPr/>
          </p:nvSpPr>
          <p:spPr bwMode="auto">
            <a:xfrm>
              <a:off x="1595438" y="363538"/>
              <a:ext cx="955675" cy="955675"/>
            </a:xfrm>
            <a:custGeom>
              <a:avLst/>
              <a:gdLst>
                <a:gd name="T0" fmla="*/ 229 w 254"/>
                <a:gd name="T1" fmla="*/ 242 h 254"/>
                <a:gd name="T2" fmla="*/ 229 w 254"/>
                <a:gd name="T3" fmla="*/ 242 h 254"/>
                <a:gd name="T4" fmla="*/ 241 w 254"/>
                <a:gd name="T5" fmla="*/ 254 h 254"/>
                <a:gd name="T6" fmla="*/ 254 w 254"/>
                <a:gd name="T7" fmla="*/ 242 h 254"/>
                <a:gd name="T8" fmla="*/ 253 w 254"/>
                <a:gd name="T9" fmla="*/ 242 h 254"/>
                <a:gd name="T10" fmla="*/ 13 w 254"/>
                <a:gd name="T11" fmla="*/ 1 h 254"/>
                <a:gd name="T12" fmla="*/ 12 w 254"/>
                <a:gd name="T13" fmla="*/ 0 h 254"/>
                <a:gd name="T14" fmla="*/ 0 w 254"/>
                <a:gd name="T15" fmla="*/ 13 h 254"/>
                <a:gd name="T16" fmla="*/ 12 w 254"/>
                <a:gd name="T17" fmla="*/ 25 h 254"/>
                <a:gd name="T18" fmla="*/ 12 w 254"/>
                <a:gd name="T19" fmla="*/ 25 h 254"/>
                <a:gd name="T20" fmla="*/ 229 w 254"/>
                <a:gd name="T21" fmla="*/ 242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 h="254">
                  <a:moveTo>
                    <a:pt x="229" y="242"/>
                  </a:moveTo>
                  <a:cubicBezTo>
                    <a:pt x="229" y="242"/>
                    <a:pt x="229" y="242"/>
                    <a:pt x="229" y="242"/>
                  </a:cubicBezTo>
                  <a:cubicBezTo>
                    <a:pt x="229" y="248"/>
                    <a:pt x="235" y="254"/>
                    <a:pt x="241" y="254"/>
                  </a:cubicBezTo>
                  <a:cubicBezTo>
                    <a:pt x="248" y="254"/>
                    <a:pt x="254" y="248"/>
                    <a:pt x="254" y="242"/>
                  </a:cubicBezTo>
                  <a:cubicBezTo>
                    <a:pt x="254" y="242"/>
                    <a:pt x="253" y="242"/>
                    <a:pt x="253" y="242"/>
                  </a:cubicBezTo>
                  <a:cubicBezTo>
                    <a:pt x="253" y="109"/>
                    <a:pt x="146" y="1"/>
                    <a:pt x="13" y="1"/>
                  </a:cubicBezTo>
                  <a:cubicBezTo>
                    <a:pt x="13" y="1"/>
                    <a:pt x="12" y="0"/>
                    <a:pt x="12" y="0"/>
                  </a:cubicBezTo>
                  <a:cubicBezTo>
                    <a:pt x="6" y="0"/>
                    <a:pt x="0" y="6"/>
                    <a:pt x="0" y="13"/>
                  </a:cubicBezTo>
                  <a:cubicBezTo>
                    <a:pt x="0" y="19"/>
                    <a:pt x="6" y="25"/>
                    <a:pt x="12" y="25"/>
                  </a:cubicBezTo>
                  <a:cubicBezTo>
                    <a:pt x="12" y="25"/>
                    <a:pt x="12" y="25"/>
                    <a:pt x="12" y="25"/>
                  </a:cubicBezTo>
                  <a:cubicBezTo>
                    <a:pt x="132" y="25"/>
                    <a:pt x="229" y="122"/>
                    <a:pt x="229" y="242"/>
                  </a:cubicBezTo>
                  <a:close/>
                </a:path>
              </a:pathLst>
            </a:custGeom>
            <a:grpFill/>
            <a:ln>
              <a:noFill/>
            </a:ln>
            <a:extLst>
              <a:ext uri="{91240B29-F687-4f45-9708-019B960494DF}"/>
            </a:extLst>
          </p:spPr>
          <p:txBody>
            <a:bodyPr/>
            <a:lstStyle/>
            <a:p>
              <a:pPr eaLnBrk="1" fontAlgn="auto" hangingPunct="1">
                <a:spcBef>
                  <a:spcPts val="0"/>
                </a:spcBef>
                <a:spcAft>
                  <a:spcPts val="0"/>
                </a:spcAft>
                <a:defRPr/>
              </a:pPr>
              <a:endParaRPr lang="id-ID">
                <a:latin typeface="+mn-lt"/>
              </a:endParaRPr>
            </a:p>
          </p:txBody>
        </p:sp>
        <p:grpSp>
          <p:nvGrpSpPr>
            <p:cNvPr id="36" name="Group 35"/>
            <p:cNvGrpSpPr/>
            <p:nvPr/>
          </p:nvGrpSpPr>
          <p:grpSpPr>
            <a:xfrm>
              <a:off x="-20638" y="1588"/>
              <a:ext cx="2955925" cy="2905125"/>
              <a:chOff x="-20638" y="1588"/>
              <a:chExt cx="2955925" cy="2905125"/>
            </a:xfrm>
            <a:grpFill/>
          </p:grpSpPr>
          <p:sp>
            <p:nvSpPr>
              <p:cNvPr id="37" name="Freeform 6"/>
              <p:cNvSpPr>
                <a:spLocks noEditPoints="1"/>
              </p:cNvSpPr>
              <p:nvPr/>
            </p:nvSpPr>
            <p:spPr bwMode="auto">
              <a:xfrm>
                <a:off x="-20638" y="1588"/>
                <a:ext cx="2955925" cy="2905125"/>
              </a:xfrm>
              <a:custGeom>
                <a:avLst/>
                <a:gdLst>
                  <a:gd name="T0" fmla="*/ 227 w 785"/>
                  <a:gd name="T1" fmla="*/ 21 h 772"/>
                  <a:gd name="T2" fmla="*/ 176 w 785"/>
                  <a:gd name="T3" fmla="*/ 0 h 772"/>
                  <a:gd name="T4" fmla="*/ 148 w 785"/>
                  <a:gd name="T5" fmla="*/ 6 h 772"/>
                  <a:gd name="T6" fmla="*/ 103 w 785"/>
                  <a:gd name="T7" fmla="*/ 72 h 772"/>
                  <a:gd name="T8" fmla="*/ 103 w 785"/>
                  <a:gd name="T9" fmla="*/ 404 h 772"/>
                  <a:gd name="T10" fmla="*/ 28 w 785"/>
                  <a:gd name="T11" fmla="*/ 480 h 772"/>
                  <a:gd name="T12" fmla="*/ 28 w 785"/>
                  <a:gd name="T13" fmla="*/ 582 h 772"/>
                  <a:gd name="T14" fmla="*/ 197 w 785"/>
                  <a:gd name="T15" fmla="*/ 751 h 772"/>
                  <a:gd name="T16" fmla="*/ 248 w 785"/>
                  <a:gd name="T17" fmla="*/ 772 h 772"/>
                  <a:gd name="T18" fmla="*/ 299 w 785"/>
                  <a:gd name="T19" fmla="*/ 751 h 772"/>
                  <a:gd name="T20" fmla="*/ 375 w 785"/>
                  <a:gd name="T21" fmla="*/ 675 h 772"/>
                  <a:gd name="T22" fmla="*/ 707 w 785"/>
                  <a:gd name="T23" fmla="*/ 675 h 772"/>
                  <a:gd name="T24" fmla="*/ 773 w 785"/>
                  <a:gd name="T25" fmla="*/ 631 h 772"/>
                  <a:gd name="T26" fmla="*/ 758 w 785"/>
                  <a:gd name="T27" fmla="*/ 552 h 772"/>
                  <a:gd name="T28" fmla="*/ 227 w 785"/>
                  <a:gd name="T29" fmla="*/ 21 h 772"/>
                  <a:gd name="T30" fmla="*/ 341 w 785"/>
                  <a:gd name="T31" fmla="*/ 641 h 772"/>
                  <a:gd name="T32" fmla="*/ 265 w 785"/>
                  <a:gd name="T33" fmla="*/ 717 h 772"/>
                  <a:gd name="T34" fmla="*/ 248 w 785"/>
                  <a:gd name="T35" fmla="*/ 724 h 772"/>
                  <a:gd name="T36" fmla="*/ 231 w 785"/>
                  <a:gd name="T37" fmla="*/ 717 h 772"/>
                  <a:gd name="T38" fmla="*/ 62 w 785"/>
                  <a:gd name="T39" fmla="*/ 548 h 772"/>
                  <a:gd name="T40" fmla="*/ 55 w 785"/>
                  <a:gd name="T41" fmla="*/ 531 h 772"/>
                  <a:gd name="T42" fmla="*/ 62 w 785"/>
                  <a:gd name="T43" fmla="*/ 514 h 772"/>
                  <a:gd name="T44" fmla="*/ 138 w 785"/>
                  <a:gd name="T45" fmla="*/ 438 h 772"/>
                  <a:gd name="T46" fmla="*/ 138 w 785"/>
                  <a:gd name="T47" fmla="*/ 438 h 772"/>
                  <a:gd name="T48" fmla="*/ 341 w 785"/>
                  <a:gd name="T49" fmla="*/ 641 h 772"/>
                  <a:gd name="T50" fmla="*/ 341 w 785"/>
                  <a:gd name="T51" fmla="*/ 641 h 772"/>
                  <a:gd name="T52" fmla="*/ 375 w 785"/>
                  <a:gd name="T53" fmla="*/ 627 h 772"/>
                  <a:gd name="T54" fmla="*/ 364 w 785"/>
                  <a:gd name="T55" fmla="*/ 629 h 772"/>
                  <a:gd name="T56" fmla="*/ 150 w 785"/>
                  <a:gd name="T57" fmla="*/ 415 h 772"/>
                  <a:gd name="T58" fmla="*/ 152 w 785"/>
                  <a:gd name="T59" fmla="*/ 404 h 772"/>
                  <a:gd name="T60" fmla="*/ 152 w 785"/>
                  <a:gd name="T61" fmla="*/ 114 h 772"/>
                  <a:gd name="T62" fmla="*/ 665 w 785"/>
                  <a:gd name="T63" fmla="*/ 627 h 772"/>
                  <a:gd name="T64" fmla="*/ 375 w 785"/>
                  <a:gd name="T65" fmla="*/ 627 h 772"/>
                  <a:gd name="T66" fmla="*/ 729 w 785"/>
                  <a:gd name="T67" fmla="*/ 612 h 772"/>
                  <a:gd name="T68" fmla="*/ 707 w 785"/>
                  <a:gd name="T69" fmla="*/ 627 h 772"/>
                  <a:gd name="T70" fmla="*/ 699 w 785"/>
                  <a:gd name="T71" fmla="*/ 627 h 772"/>
                  <a:gd name="T72" fmla="*/ 152 w 785"/>
                  <a:gd name="T73" fmla="*/ 80 h 772"/>
                  <a:gd name="T74" fmla="*/ 152 w 785"/>
                  <a:gd name="T75" fmla="*/ 72 h 772"/>
                  <a:gd name="T76" fmla="*/ 167 w 785"/>
                  <a:gd name="T77" fmla="*/ 50 h 772"/>
                  <a:gd name="T78" fmla="*/ 176 w 785"/>
                  <a:gd name="T79" fmla="*/ 48 h 772"/>
                  <a:gd name="T80" fmla="*/ 193 w 785"/>
                  <a:gd name="T81" fmla="*/ 55 h 772"/>
                  <a:gd name="T82" fmla="*/ 724 w 785"/>
                  <a:gd name="T83" fmla="*/ 586 h 772"/>
                  <a:gd name="T84" fmla="*/ 729 w 785"/>
                  <a:gd name="T85" fmla="*/ 612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85" h="772">
                    <a:moveTo>
                      <a:pt x="227" y="21"/>
                    </a:moveTo>
                    <a:cubicBezTo>
                      <a:pt x="213" y="7"/>
                      <a:pt x="195" y="0"/>
                      <a:pt x="176" y="0"/>
                    </a:cubicBezTo>
                    <a:cubicBezTo>
                      <a:pt x="167" y="0"/>
                      <a:pt x="157" y="2"/>
                      <a:pt x="148" y="6"/>
                    </a:cubicBezTo>
                    <a:cubicBezTo>
                      <a:pt x="121" y="17"/>
                      <a:pt x="103" y="43"/>
                      <a:pt x="103" y="72"/>
                    </a:cubicBezTo>
                    <a:cubicBezTo>
                      <a:pt x="103" y="404"/>
                      <a:pt x="103" y="404"/>
                      <a:pt x="103" y="404"/>
                    </a:cubicBezTo>
                    <a:cubicBezTo>
                      <a:pt x="28" y="480"/>
                      <a:pt x="28" y="480"/>
                      <a:pt x="28" y="480"/>
                    </a:cubicBezTo>
                    <a:cubicBezTo>
                      <a:pt x="0" y="508"/>
                      <a:pt x="0" y="554"/>
                      <a:pt x="28" y="582"/>
                    </a:cubicBezTo>
                    <a:cubicBezTo>
                      <a:pt x="197" y="751"/>
                      <a:pt x="197" y="751"/>
                      <a:pt x="197" y="751"/>
                    </a:cubicBezTo>
                    <a:cubicBezTo>
                      <a:pt x="211" y="765"/>
                      <a:pt x="230" y="772"/>
                      <a:pt x="248" y="772"/>
                    </a:cubicBezTo>
                    <a:cubicBezTo>
                      <a:pt x="267" y="772"/>
                      <a:pt x="285" y="765"/>
                      <a:pt x="299" y="751"/>
                    </a:cubicBezTo>
                    <a:cubicBezTo>
                      <a:pt x="375" y="675"/>
                      <a:pt x="375" y="675"/>
                      <a:pt x="375" y="675"/>
                    </a:cubicBezTo>
                    <a:cubicBezTo>
                      <a:pt x="707" y="675"/>
                      <a:pt x="707" y="675"/>
                      <a:pt x="707" y="675"/>
                    </a:cubicBezTo>
                    <a:cubicBezTo>
                      <a:pt x="736" y="675"/>
                      <a:pt x="762" y="658"/>
                      <a:pt x="773" y="631"/>
                    </a:cubicBezTo>
                    <a:cubicBezTo>
                      <a:pt x="785" y="604"/>
                      <a:pt x="778" y="573"/>
                      <a:pt x="758" y="552"/>
                    </a:cubicBezTo>
                    <a:lnTo>
                      <a:pt x="227" y="21"/>
                    </a:lnTo>
                    <a:close/>
                    <a:moveTo>
                      <a:pt x="341" y="641"/>
                    </a:moveTo>
                    <a:cubicBezTo>
                      <a:pt x="265" y="717"/>
                      <a:pt x="265" y="717"/>
                      <a:pt x="265" y="717"/>
                    </a:cubicBezTo>
                    <a:cubicBezTo>
                      <a:pt x="259" y="723"/>
                      <a:pt x="252" y="724"/>
                      <a:pt x="248" y="724"/>
                    </a:cubicBezTo>
                    <a:cubicBezTo>
                      <a:pt x="245" y="724"/>
                      <a:pt x="237" y="723"/>
                      <a:pt x="231" y="717"/>
                    </a:cubicBezTo>
                    <a:cubicBezTo>
                      <a:pt x="62" y="548"/>
                      <a:pt x="62" y="548"/>
                      <a:pt x="62" y="548"/>
                    </a:cubicBezTo>
                    <a:cubicBezTo>
                      <a:pt x="56" y="542"/>
                      <a:pt x="55" y="534"/>
                      <a:pt x="55" y="531"/>
                    </a:cubicBezTo>
                    <a:cubicBezTo>
                      <a:pt x="55" y="527"/>
                      <a:pt x="56" y="520"/>
                      <a:pt x="62" y="514"/>
                    </a:cubicBezTo>
                    <a:cubicBezTo>
                      <a:pt x="138" y="438"/>
                      <a:pt x="138" y="438"/>
                      <a:pt x="138" y="438"/>
                    </a:cubicBezTo>
                    <a:cubicBezTo>
                      <a:pt x="138" y="438"/>
                      <a:pt x="138" y="438"/>
                      <a:pt x="138" y="438"/>
                    </a:cubicBezTo>
                    <a:cubicBezTo>
                      <a:pt x="341" y="641"/>
                      <a:pt x="341" y="641"/>
                      <a:pt x="341" y="641"/>
                    </a:cubicBezTo>
                    <a:cubicBezTo>
                      <a:pt x="341" y="641"/>
                      <a:pt x="341" y="641"/>
                      <a:pt x="341" y="641"/>
                    </a:cubicBezTo>
                    <a:close/>
                    <a:moveTo>
                      <a:pt x="375" y="627"/>
                    </a:moveTo>
                    <a:cubicBezTo>
                      <a:pt x="371" y="627"/>
                      <a:pt x="368" y="629"/>
                      <a:pt x="364" y="629"/>
                    </a:cubicBezTo>
                    <a:cubicBezTo>
                      <a:pt x="150" y="415"/>
                      <a:pt x="150" y="415"/>
                      <a:pt x="150" y="415"/>
                    </a:cubicBezTo>
                    <a:cubicBezTo>
                      <a:pt x="150" y="411"/>
                      <a:pt x="152" y="408"/>
                      <a:pt x="152" y="404"/>
                    </a:cubicBezTo>
                    <a:cubicBezTo>
                      <a:pt x="152" y="114"/>
                      <a:pt x="152" y="114"/>
                      <a:pt x="152" y="114"/>
                    </a:cubicBezTo>
                    <a:cubicBezTo>
                      <a:pt x="665" y="627"/>
                      <a:pt x="665" y="627"/>
                      <a:pt x="665" y="627"/>
                    </a:cubicBezTo>
                    <a:lnTo>
                      <a:pt x="375" y="627"/>
                    </a:lnTo>
                    <a:close/>
                    <a:moveTo>
                      <a:pt x="729" y="612"/>
                    </a:moveTo>
                    <a:cubicBezTo>
                      <a:pt x="725" y="621"/>
                      <a:pt x="716" y="627"/>
                      <a:pt x="707" y="627"/>
                    </a:cubicBezTo>
                    <a:cubicBezTo>
                      <a:pt x="699" y="627"/>
                      <a:pt x="699" y="627"/>
                      <a:pt x="699" y="627"/>
                    </a:cubicBezTo>
                    <a:cubicBezTo>
                      <a:pt x="152" y="80"/>
                      <a:pt x="152" y="80"/>
                      <a:pt x="152" y="80"/>
                    </a:cubicBezTo>
                    <a:cubicBezTo>
                      <a:pt x="152" y="72"/>
                      <a:pt x="152" y="72"/>
                      <a:pt x="152" y="72"/>
                    </a:cubicBezTo>
                    <a:cubicBezTo>
                      <a:pt x="152" y="63"/>
                      <a:pt x="158" y="54"/>
                      <a:pt x="167" y="50"/>
                    </a:cubicBezTo>
                    <a:cubicBezTo>
                      <a:pt x="170" y="49"/>
                      <a:pt x="173" y="48"/>
                      <a:pt x="176" y="48"/>
                    </a:cubicBezTo>
                    <a:cubicBezTo>
                      <a:pt x="182" y="48"/>
                      <a:pt x="188" y="51"/>
                      <a:pt x="193" y="55"/>
                    </a:cubicBezTo>
                    <a:cubicBezTo>
                      <a:pt x="724" y="586"/>
                      <a:pt x="724" y="586"/>
                      <a:pt x="724" y="586"/>
                    </a:cubicBezTo>
                    <a:cubicBezTo>
                      <a:pt x="731" y="593"/>
                      <a:pt x="733" y="603"/>
                      <a:pt x="729" y="612"/>
                    </a:cubicBezTo>
                    <a:close/>
                  </a:path>
                </a:pathLst>
              </a:custGeom>
              <a:grpFill/>
              <a:ln>
                <a:noFill/>
              </a:ln>
              <a:extLst>
                <a:ext uri="{91240B29-F687-4f45-9708-019B960494DF}"/>
              </a:extLst>
            </p:spPr>
            <p:txBody>
              <a:bodyPr/>
              <a:lstStyle/>
              <a:p>
                <a:pPr eaLnBrk="1" fontAlgn="auto" hangingPunct="1">
                  <a:spcBef>
                    <a:spcPts val="0"/>
                  </a:spcBef>
                  <a:spcAft>
                    <a:spcPts val="0"/>
                  </a:spcAft>
                  <a:defRPr/>
                </a:pPr>
                <a:endParaRPr lang="id-ID">
                  <a:latin typeface="+mn-lt"/>
                </a:endParaRPr>
              </a:p>
            </p:txBody>
          </p:sp>
          <p:sp>
            <p:nvSpPr>
              <p:cNvPr id="40" name="Freeform 7"/>
              <p:cNvSpPr>
                <a:spLocks/>
              </p:cNvSpPr>
              <p:nvPr/>
            </p:nvSpPr>
            <p:spPr bwMode="auto">
              <a:xfrm>
                <a:off x="1549400" y="1588"/>
                <a:ext cx="1362075" cy="1362075"/>
              </a:xfrm>
              <a:custGeom>
                <a:avLst/>
                <a:gdLst>
                  <a:gd name="T0" fmla="*/ 24 w 362"/>
                  <a:gd name="T1" fmla="*/ 48 h 362"/>
                  <a:gd name="T2" fmla="*/ 24 w 362"/>
                  <a:gd name="T3" fmla="*/ 48 h 362"/>
                  <a:gd name="T4" fmla="*/ 314 w 362"/>
                  <a:gd name="T5" fmla="*/ 338 h 362"/>
                  <a:gd name="T6" fmla="*/ 314 w 362"/>
                  <a:gd name="T7" fmla="*/ 338 h 362"/>
                  <a:gd name="T8" fmla="*/ 338 w 362"/>
                  <a:gd name="T9" fmla="*/ 362 h 362"/>
                  <a:gd name="T10" fmla="*/ 362 w 362"/>
                  <a:gd name="T11" fmla="*/ 338 h 362"/>
                  <a:gd name="T12" fmla="*/ 362 w 362"/>
                  <a:gd name="T13" fmla="*/ 338 h 362"/>
                  <a:gd name="T14" fmla="*/ 25 w 362"/>
                  <a:gd name="T15" fmla="*/ 0 h 362"/>
                  <a:gd name="T16" fmla="*/ 24 w 362"/>
                  <a:gd name="T17" fmla="*/ 0 h 362"/>
                  <a:gd name="T18" fmla="*/ 0 w 362"/>
                  <a:gd name="T19" fmla="*/ 24 h 362"/>
                  <a:gd name="T20" fmla="*/ 24 w 362"/>
                  <a:gd name="T21" fmla="*/ 48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2" h="362">
                    <a:moveTo>
                      <a:pt x="24" y="48"/>
                    </a:moveTo>
                    <a:cubicBezTo>
                      <a:pt x="24" y="48"/>
                      <a:pt x="24" y="48"/>
                      <a:pt x="24" y="48"/>
                    </a:cubicBezTo>
                    <a:cubicBezTo>
                      <a:pt x="184" y="48"/>
                      <a:pt x="314" y="178"/>
                      <a:pt x="314" y="338"/>
                    </a:cubicBezTo>
                    <a:cubicBezTo>
                      <a:pt x="314" y="338"/>
                      <a:pt x="314" y="338"/>
                      <a:pt x="314" y="338"/>
                    </a:cubicBezTo>
                    <a:cubicBezTo>
                      <a:pt x="314" y="351"/>
                      <a:pt x="325" y="362"/>
                      <a:pt x="338" y="362"/>
                    </a:cubicBezTo>
                    <a:cubicBezTo>
                      <a:pt x="351" y="362"/>
                      <a:pt x="362" y="351"/>
                      <a:pt x="362" y="338"/>
                    </a:cubicBezTo>
                    <a:cubicBezTo>
                      <a:pt x="362" y="338"/>
                      <a:pt x="362" y="338"/>
                      <a:pt x="362" y="338"/>
                    </a:cubicBezTo>
                    <a:cubicBezTo>
                      <a:pt x="362" y="151"/>
                      <a:pt x="211" y="0"/>
                      <a:pt x="25" y="0"/>
                    </a:cubicBezTo>
                    <a:cubicBezTo>
                      <a:pt x="25" y="0"/>
                      <a:pt x="24" y="0"/>
                      <a:pt x="24" y="0"/>
                    </a:cubicBezTo>
                    <a:cubicBezTo>
                      <a:pt x="11" y="0"/>
                      <a:pt x="0" y="11"/>
                      <a:pt x="0" y="24"/>
                    </a:cubicBezTo>
                    <a:cubicBezTo>
                      <a:pt x="0" y="37"/>
                      <a:pt x="11" y="48"/>
                      <a:pt x="24" y="48"/>
                    </a:cubicBezTo>
                    <a:close/>
                  </a:path>
                </a:pathLst>
              </a:custGeom>
              <a:grpFill/>
              <a:ln>
                <a:noFill/>
              </a:ln>
              <a:extLst>
                <a:ext uri="{91240B29-F687-4f45-9708-019B960494DF}"/>
              </a:extLst>
            </p:spPr>
            <p:txBody>
              <a:bodyPr/>
              <a:lstStyle/>
              <a:p>
                <a:pPr eaLnBrk="1" fontAlgn="auto" hangingPunct="1">
                  <a:spcBef>
                    <a:spcPts val="0"/>
                  </a:spcBef>
                  <a:spcAft>
                    <a:spcPts val="0"/>
                  </a:spcAft>
                  <a:defRPr/>
                </a:pPr>
                <a:endParaRPr lang="id-ID">
                  <a:latin typeface="+mn-lt"/>
                </a:endParaRPr>
              </a:p>
            </p:txBody>
          </p:sp>
        </p:grpSp>
      </p:grpSp>
      <p:grpSp>
        <p:nvGrpSpPr>
          <p:cNvPr id="41" name="Group 40"/>
          <p:cNvGrpSpPr/>
          <p:nvPr/>
        </p:nvGrpSpPr>
        <p:grpSpPr>
          <a:xfrm>
            <a:off x="7449912" y="4629150"/>
            <a:ext cx="298521" cy="261206"/>
            <a:chOff x="2734468" y="4611290"/>
            <a:chExt cx="457200" cy="400050"/>
          </a:xfrm>
          <a:solidFill>
            <a:schemeClr val="tx1">
              <a:lumMod val="50000"/>
              <a:lumOff val="50000"/>
            </a:schemeClr>
          </a:solidFill>
        </p:grpSpPr>
        <p:sp>
          <p:nvSpPr>
            <p:cNvPr id="42" name="Freeform 104"/>
            <p:cNvSpPr>
              <a:spLocks/>
            </p:cNvSpPr>
            <p:nvPr/>
          </p:nvSpPr>
          <p:spPr bwMode="auto">
            <a:xfrm>
              <a:off x="2805906" y="4682728"/>
              <a:ext cx="165100" cy="106363"/>
            </a:xfrm>
            <a:custGeom>
              <a:avLst/>
              <a:gdLst>
                <a:gd name="T0" fmla="*/ 376 w 415"/>
                <a:gd name="T1" fmla="*/ 1 h 270"/>
                <a:gd name="T2" fmla="*/ 337 w 415"/>
                <a:gd name="T3" fmla="*/ 3 h 270"/>
                <a:gd name="T4" fmla="*/ 298 w 415"/>
                <a:gd name="T5" fmla="*/ 8 h 270"/>
                <a:gd name="T6" fmla="*/ 261 w 415"/>
                <a:gd name="T7" fmla="*/ 16 h 270"/>
                <a:gd name="T8" fmla="*/ 227 w 415"/>
                <a:gd name="T9" fmla="*/ 26 h 270"/>
                <a:gd name="T10" fmla="*/ 192 w 415"/>
                <a:gd name="T11" fmla="*/ 37 h 270"/>
                <a:gd name="T12" fmla="*/ 161 w 415"/>
                <a:gd name="T13" fmla="*/ 50 h 270"/>
                <a:gd name="T14" fmla="*/ 132 w 415"/>
                <a:gd name="T15" fmla="*/ 67 h 270"/>
                <a:gd name="T16" fmla="*/ 105 w 415"/>
                <a:gd name="T17" fmla="*/ 84 h 270"/>
                <a:gd name="T18" fmla="*/ 80 w 415"/>
                <a:gd name="T19" fmla="*/ 102 h 270"/>
                <a:gd name="T20" fmla="*/ 58 w 415"/>
                <a:gd name="T21" fmla="*/ 123 h 270"/>
                <a:gd name="T22" fmla="*/ 40 w 415"/>
                <a:gd name="T23" fmla="*/ 143 h 270"/>
                <a:gd name="T24" fmla="*/ 25 w 415"/>
                <a:gd name="T25" fmla="*/ 166 h 270"/>
                <a:gd name="T26" fmla="*/ 13 w 415"/>
                <a:gd name="T27" fmla="*/ 190 h 270"/>
                <a:gd name="T28" fmla="*/ 5 w 415"/>
                <a:gd name="T29" fmla="*/ 215 h 270"/>
                <a:gd name="T30" fmla="*/ 1 w 415"/>
                <a:gd name="T31" fmla="*/ 239 h 270"/>
                <a:gd name="T32" fmla="*/ 1 w 415"/>
                <a:gd name="T33" fmla="*/ 256 h 270"/>
                <a:gd name="T34" fmla="*/ 3 w 415"/>
                <a:gd name="T35" fmla="*/ 262 h 270"/>
                <a:gd name="T36" fmla="*/ 8 w 415"/>
                <a:gd name="T37" fmla="*/ 266 h 270"/>
                <a:gd name="T38" fmla="*/ 15 w 415"/>
                <a:gd name="T39" fmla="*/ 270 h 270"/>
                <a:gd name="T40" fmla="*/ 21 w 415"/>
                <a:gd name="T41" fmla="*/ 270 h 270"/>
                <a:gd name="T42" fmla="*/ 28 w 415"/>
                <a:gd name="T43" fmla="*/ 266 h 270"/>
                <a:gd name="T44" fmla="*/ 33 w 415"/>
                <a:gd name="T45" fmla="*/ 262 h 270"/>
                <a:gd name="T46" fmla="*/ 35 w 415"/>
                <a:gd name="T47" fmla="*/ 256 h 270"/>
                <a:gd name="T48" fmla="*/ 36 w 415"/>
                <a:gd name="T49" fmla="*/ 242 h 270"/>
                <a:gd name="T50" fmla="*/ 41 w 415"/>
                <a:gd name="T51" fmla="*/ 220 h 270"/>
                <a:gd name="T52" fmla="*/ 47 w 415"/>
                <a:gd name="T53" fmla="*/ 199 h 270"/>
                <a:gd name="T54" fmla="*/ 58 w 415"/>
                <a:gd name="T55" fmla="*/ 179 h 270"/>
                <a:gd name="T56" fmla="*/ 73 w 415"/>
                <a:gd name="T57" fmla="*/ 161 h 270"/>
                <a:gd name="T58" fmla="*/ 89 w 415"/>
                <a:gd name="T59" fmla="*/ 142 h 270"/>
                <a:gd name="T60" fmla="*/ 110 w 415"/>
                <a:gd name="T61" fmla="*/ 125 h 270"/>
                <a:gd name="T62" fmla="*/ 132 w 415"/>
                <a:gd name="T63" fmla="*/ 109 h 270"/>
                <a:gd name="T64" fmla="*/ 156 w 415"/>
                <a:gd name="T65" fmla="*/ 94 h 270"/>
                <a:gd name="T66" fmla="*/ 183 w 415"/>
                <a:gd name="T67" fmla="*/ 80 h 270"/>
                <a:gd name="T68" fmla="*/ 228 w 415"/>
                <a:gd name="T69" fmla="*/ 62 h 270"/>
                <a:gd name="T70" fmla="*/ 275 w 415"/>
                <a:gd name="T71" fmla="*/ 49 h 270"/>
                <a:gd name="T72" fmla="*/ 309 w 415"/>
                <a:gd name="T73" fmla="*/ 43 h 270"/>
                <a:gd name="T74" fmla="*/ 343 w 415"/>
                <a:gd name="T75" fmla="*/ 39 h 270"/>
                <a:gd name="T76" fmla="*/ 378 w 415"/>
                <a:gd name="T77" fmla="*/ 36 h 270"/>
                <a:gd name="T78" fmla="*/ 399 w 415"/>
                <a:gd name="T79" fmla="*/ 35 h 270"/>
                <a:gd name="T80" fmla="*/ 406 w 415"/>
                <a:gd name="T81" fmla="*/ 33 h 270"/>
                <a:gd name="T82" fmla="*/ 411 w 415"/>
                <a:gd name="T83" fmla="*/ 28 h 270"/>
                <a:gd name="T84" fmla="*/ 413 w 415"/>
                <a:gd name="T85" fmla="*/ 21 h 270"/>
                <a:gd name="T86" fmla="*/ 413 w 415"/>
                <a:gd name="T87" fmla="*/ 15 h 270"/>
                <a:gd name="T88" fmla="*/ 411 w 415"/>
                <a:gd name="T89" fmla="*/ 8 h 270"/>
                <a:gd name="T90" fmla="*/ 406 w 415"/>
                <a:gd name="T91" fmla="*/ 3 h 270"/>
                <a:gd name="T92" fmla="*/ 399 w 415"/>
                <a:gd name="T93" fmla="*/ 1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15" h="270">
                  <a:moveTo>
                    <a:pt x="396" y="0"/>
                  </a:moveTo>
                  <a:lnTo>
                    <a:pt x="376" y="1"/>
                  </a:lnTo>
                  <a:lnTo>
                    <a:pt x="356" y="1"/>
                  </a:lnTo>
                  <a:lnTo>
                    <a:pt x="337" y="3"/>
                  </a:lnTo>
                  <a:lnTo>
                    <a:pt x="317" y="5"/>
                  </a:lnTo>
                  <a:lnTo>
                    <a:pt x="298" y="8"/>
                  </a:lnTo>
                  <a:lnTo>
                    <a:pt x="280" y="12"/>
                  </a:lnTo>
                  <a:lnTo>
                    <a:pt x="261" y="16"/>
                  </a:lnTo>
                  <a:lnTo>
                    <a:pt x="244" y="20"/>
                  </a:lnTo>
                  <a:lnTo>
                    <a:pt x="227" y="26"/>
                  </a:lnTo>
                  <a:lnTo>
                    <a:pt x="209" y="31"/>
                  </a:lnTo>
                  <a:lnTo>
                    <a:pt x="192" y="37"/>
                  </a:lnTo>
                  <a:lnTo>
                    <a:pt x="177" y="44"/>
                  </a:lnTo>
                  <a:lnTo>
                    <a:pt x="161" y="50"/>
                  </a:lnTo>
                  <a:lnTo>
                    <a:pt x="146" y="58"/>
                  </a:lnTo>
                  <a:lnTo>
                    <a:pt x="132" y="67"/>
                  </a:lnTo>
                  <a:lnTo>
                    <a:pt x="117" y="74"/>
                  </a:lnTo>
                  <a:lnTo>
                    <a:pt x="105" y="84"/>
                  </a:lnTo>
                  <a:lnTo>
                    <a:pt x="92" y="93"/>
                  </a:lnTo>
                  <a:lnTo>
                    <a:pt x="80" y="102"/>
                  </a:lnTo>
                  <a:lnTo>
                    <a:pt x="69" y="112"/>
                  </a:lnTo>
                  <a:lnTo>
                    <a:pt x="58" y="123"/>
                  </a:lnTo>
                  <a:lnTo>
                    <a:pt x="48" y="132"/>
                  </a:lnTo>
                  <a:lnTo>
                    <a:pt x="40" y="143"/>
                  </a:lnTo>
                  <a:lnTo>
                    <a:pt x="32" y="155"/>
                  </a:lnTo>
                  <a:lnTo>
                    <a:pt x="25" y="166"/>
                  </a:lnTo>
                  <a:lnTo>
                    <a:pt x="18" y="178"/>
                  </a:lnTo>
                  <a:lnTo>
                    <a:pt x="13" y="190"/>
                  </a:lnTo>
                  <a:lnTo>
                    <a:pt x="8" y="202"/>
                  </a:lnTo>
                  <a:lnTo>
                    <a:pt x="5" y="215"/>
                  </a:lnTo>
                  <a:lnTo>
                    <a:pt x="2" y="226"/>
                  </a:lnTo>
                  <a:lnTo>
                    <a:pt x="1" y="239"/>
                  </a:lnTo>
                  <a:lnTo>
                    <a:pt x="0" y="252"/>
                  </a:lnTo>
                  <a:lnTo>
                    <a:pt x="1" y="256"/>
                  </a:lnTo>
                  <a:lnTo>
                    <a:pt x="2" y="259"/>
                  </a:lnTo>
                  <a:lnTo>
                    <a:pt x="3" y="262"/>
                  </a:lnTo>
                  <a:lnTo>
                    <a:pt x="5" y="264"/>
                  </a:lnTo>
                  <a:lnTo>
                    <a:pt x="8" y="266"/>
                  </a:lnTo>
                  <a:lnTo>
                    <a:pt x="11" y="269"/>
                  </a:lnTo>
                  <a:lnTo>
                    <a:pt x="15" y="270"/>
                  </a:lnTo>
                  <a:lnTo>
                    <a:pt x="18" y="270"/>
                  </a:lnTo>
                  <a:lnTo>
                    <a:pt x="21" y="270"/>
                  </a:lnTo>
                  <a:lnTo>
                    <a:pt x="25" y="269"/>
                  </a:lnTo>
                  <a:lnTo>
                    <a:pt x="28" y="266"/>
                  </a:lnTo>
                  <a:lnTo>
                    <a:pt x="31" y="264"/>
                  </a:lnTo>
                  <a:lnTo>
                    <a:pt x="33" y="262"/>
                  </a:lnTo>
                  <a:lnTo>
                    <a:pt x="34" y="259"/>
                  </a:lnTo>
                  <a:lnTo>
                    <a:pt x="35" y="256"/>
                  </a:lnTo>
                  <a:lnTo>
                    <a:pt x="36" y="252"/>
                  </a:lnTo>
                  <a:lnTo>
                    <a:pt x="36" y="242"/>
                  </a:lnTo>
                  <a:lnTo>
                    <a:pt x="38" y="231"/>
                  </a:lnTo>
                  <a:lnTo>
                    <a:pt x="41" y="220"/>
                  </a:lnTo>
                  <a:lnTo>
                    <a:pt x="44" y="209"/>
                  </a:lnTo>
                  <a:lnTo>
                    <a:pt x="47" y="199"/>
                  </a:lnTo>
                  <a:lnTo>
                    <a:pt x="53" y="190"/>
                  </a:lnTo>
                  <a:lnTo>
                    <a:pt x="58" y="179"/>
                  </a:lnTo>
                  <a:lnTo>
                    <a:pt x="66" y="169"/>
                  </a:lnTo>
                  <a:lnTo>
                    <a:pt x="73" y="161"/>
                  </a:lnTo>
                  <a:lnTo>
                    <a:pt x="81" y="151"/>
                  </a:lnTo>
                  <a:lnTo>
                    <a:pt x="89" y="142"/>
                  </a:lnTo>
                  <a:lnTo>
                    <a:pt x="99" y="132"/>
                  </a:lnTo>
                  <a:lnTo>
                    <a:pt x="110" y="125"/>
                  </a:lnTo>
                  <a:lnTo>
                    <a:pt x="121" y="116"/>
                  </a:lnTo>
                  <a:lnTo>
                    <a:pt x="132" y="109"/>
                  </a:lnTo>
                  <a:lnTo>
                    <a:pt x="145" y="101"/>
                  </a:lnTo>
                  <a:lnTo>
                    <a:pt x="156" y="94"/>
                  </a:lnTo>
                  <a:lnTo>
                    <a:pt x="170" y="86"/>
                  </a:lnTo>
                  <a:lnTo>
                    <a:pt x="183" y="80"/>
                  </a:lnTo>
                  <a:lnTo>
                    <a:pt x="197" y="74"/>
                  </a:lnTo>
                  <a:lnTo>
                    <a:pt x="228" y="62"/>
                  </a:lnTo>
                  <a:lnTo>
                    <a:pt x="259" y="54"/>
                  </a:lnTo>
                  <a:lnTo>
                    <a:pt x="275" y="49"/>
                  </a:lnTo>
                  <a:lnTo>
                    <a:pt x="291" y="46"/>
                  </a:lnTo>
                  <a:lnTo>
                    <a:pt x="309" y="43"/>
                  </a:lnTo>
                  <a:lnTo>
                    <a:pt x="326" y="41"/>
                  </a:lnTo>
                  <a:lnTo>
                    <a:pt x="343" y="39"/>
                  </a:lnTo>
                  <a:lnTo>
                    <a:pt x="361" y="37"/>
                  </a:lnTo>
                  <a:lnTo>
                    <a:pt x="378" y="36"/>
                  </a:lnTo>
                  <a:lnTo>
                    <a:pt x="396" y="36"/>
                  </a:lnTo>
                  <a:lnTo>
                    <a:pt x="399" y="35"/>
                  </a:lnTo>
                  <a:lnTo>
                    <a:pt x="403" y="34"/>
                  </a:lnTo>
                  <a:lnTo>
                    <a:pt x="406" y="33"/>
                  </a:lnTo>
                  <a:lnTo>
                    <a:pt x="409" y="31"/>
                  </a:lnTo>
                  <a:lnTo>
                    <a:pt x="411" y="28"/>
                  </a:lnTo>
                  <a:lnTo>
                    <a:pt x="412" y="24"/>
                  </a:lnTo>
                  <a:lnTo>
                    <a:pt x="413" y="21"/>
                  </a:lnTo>
                  <a:lnTo>
                    <a:pt x="415" y="18"/>
                  </a:lnTo>
                  <a:lnTo>
                    <a:pt x="413" y="15"/>
                  </a:lnTo>
                  <a:lnTo>
                    <a:pt x="412" y="10"/>
                  </a:lnTo>
                  <a:lnTo>
                    <a:pt x="411" y="8"/>
                  </a:lnTo>
                  <a:lnTo>
                    <a:pt x="409" y="5"/>
                  </a:lnTo>
                  <a:lnTo>
                    <a:pt x="406" y="3"/>
                  </a:lnTo>
                  <a:lnTo>
                    <a:pt x="403" y="2"/>
                  </a:lnTo>
                  <a:lnTo>
                    <a:pt x="399" y="1"/>
                  </a:lnTo>
                  <a:lnTo>
                    <a:pt x="3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latin typeface="+mn-lt"/>
              </a:endParaRPr>
            </a:p>
          </p:txBody>
        </p:sp>
        <p:sp>
          <p:nvSpPr>
            <p:cNvPr id="43" name="Freeform 105"/>
            <p:cNvSpPr>
              <a:spLocks noEditPoints="1"/>
            </p:cNvSpPr>
            <p:nvPr/>
          </p:nvSpPr>
          <p:spPr bwMode="auto">
            <a:xfrm>
              <a:off x="2734468" y="4611290"/>
              <a:ext cx="457200" cy="400050"/>
            </a:xfrm>
            <a:custGeom>
              <a:avLst/>
              <a:gdLst>
                <a:gd name="T0" fmla="*/ 476 w 1152"/>
                <a:gd name="T1" fmla="*/ 784 h 1008"/>
                <a:gd name="T2" fmla="*/ 441 w 1152"/>
                <a:gd name="T3" fmla="*/ 788 h 1008"/>
                <a:gd name="T4" fmla="*/ 409 w 1152"/>
                <a:gd name="T5" fmla="*/ 810 h 1008"/>
                <a:gd name="T6" fmla="*/ 352 w 1152"/>
                <a:gd name="T7" fmla="*/ 864 h 1008"/>
                <a:gd name="T8" fmla="*/ 316 w 1152"/>
                <a:gd name="T9" fmla="*/ 850 h 1008"/>
                <a:gd name="T10" fmla="*/ 325 w 1152"/>
                <a:gd name="T11" fmla="*/ 792 h 1008"/>
                <a:gd name="T12" fmla="*/ 314 w 1152"/>
                <a:gd name="T13" fmla="*/ 752 h 1008"/>
                <a:gd name="T14" fmla="*/ 261 w 1152"/>
                <a:gd name="T15" fmla="*/ 712 h 1008"/>
                <a:gd name="T16" fmla="*/ 159 w 1152"/>
                <a:gd name="T17" fmla="*/ 633 h 1008"/>
                <a:gd name="T18" fmla="*/ 94 w 1152"/>
                <a:gd name="T19" fmla="*/ 537 h 1008"/>
                <a:gd name="T20" fmla="*/ 72 w 1152"/>
                <a:gd name="T21" fmla="*/ 432 h 1008"/>
                <a:gd name="T22" fmla="*/ 88 w 1152"/>
                <a:gd name="T23" fmla="*/ 342 h 1008"/>
                <a:gd name="T24" fmla="*/ 133 w 1152"/>
                <a:gd name="T25" fmla="*/ 261 h 1008"/>
                <a:gd name="T26" fmla="*/ 204 w 1152"/>
                <a:gd name="T27" fmla="*/ 190 h 1008"/>
                <a:gd name="T28" fmla="*/ 294 w 1152"/>
                <a:gd name="T29" fmla="*/ 133 h 1008"/>
                <a:gd name="T30" fmla="*/ 403 w 1152"/>
                <a:gd name="T31" fmla="*/ 93 h 1008"/>
                <a:gd name="T32" fmla="*/ 524 w 1152"/>
                <a:gd name="T33" fmla="*/ 74 h 1008"/>
                <a:gd name="T34" fmla="*/ 653 w 1152"/>
                <a:gd name="T35" fmla="*/ 76 h 1008"/>
                <a:gd name="T36" fmla="*/ 772 w 1152"/>
                <a:gd name="T37" fmla="*/ 100 h 1008"/>
                <a:gd name="T38" fmla="*/ 877 w 1152"/>
                <a:gd name="T39" fmla="*/ 144 h 1008"/>
                <a:gd name="T40" fmla="*/ 965 w 1152"/>
                <a:gd name="T41" fmla="*/ 203 h 1008"/>
                <a:gd name="T42" fmla="*/ 1030 w 1152"/>
                <a:gd name="T43" fmla="*/ 276 h 1008"/>
                <a:gd name="T44" fmla="*/ 1070 w 1152"/>
                <a:gd name="T45" fmla="*/ 359 h 1008"/>
                <a:gd name="T46" fmla="*/ 1079 w 1152"/>
                <a:gd name="T47" fmla="*/ 451 h 1008"/>
                <a:gd name="T48" fmla="*/ 1057 w 1152"/>
                <a:gd name="T49" fmla="*/ 539 h 1008"/>
                <a:gd name="T50" fmla="*/ 1007 w 1152"/>
                <a:gd name="T51" fmla="*/ 618 h 1008"/>
                <a:gd name="T52" fmla="*/ 933 w 1152"/>
                <a:gd name="T53" fmla="*/ 686 h 1008"/>
                <a:gd name="T54" fmla="*/ 838 w 1152"/>
                <a:gd name="T55" fmla="*/ 740 h 1008"/>
                <a:gd name="T56" fmla="*/ 725 w 1152"/>
                <a:gd name="T57" fmla="*/ 776 h 1008"/>
                <a:gd name="T58" fmla="*/ 602 w 1152"/>
                <a:gd name="T59" fmla="*/ 791 h 1008"/>
                <a:gd name="T60" fmla="*/ 489 w 1152"/>
                <a:gd name="T61" fmla="*/ 5 h 1008"/>
                <a:gd name="T62" fmla="*/ 352 w 1152"/>
                <a:gd name="T63" fmla="*/ 34 h 1008"/>
                <a:gd name="T64" fmla="*/ 232 w 1152"/>
                <a:gd name="T65" fmla="*/ 86 h 1008"/>
                <a:gd name="T66" fmla="*/ 131 w 1152"/>
                <a:gd name="T67" fmla="*/ 157 h 1008"/>
                <a:gd name="T68" fmla="*/ 57 w 1152"/>
                <a:gd name="T69" fmla="*/ 244 h 1008"/>
                <a:gd name="T70" fmla="*/ 11 w 1152"/>
                <a:gd name="T71" fmla="*/ 345 h 1008"/>
                <a:gd name="T72" fmla="*/ 0 w 1152"/>
                <a:gd name="T73" fmla="*/ 445 h 1008"/>
                <a:gd name="T74" fmla="*/ 10 w 1152"/>
                <a:gd name="T75" fmla="*/ 513 h 1008"/>
                <a:gd name="T76" fmla="*/ 53 w 1152"/>
                <a:gd name="T77" fmla="*/ 614 h 1008"/>
                <a:gd name="T78" fmla="*/ 148 w 1152"/>
                <a:gd name="T79" fmla="*/ 722 h 1008"/>
                <a:gd name="T80" fmla="*/ 252 w 1152"/>
                <a:gd name="T81" fmla="*/ 791 h 1008"/>
                <a:gd name="T82" fmla="*/ 245 w 1152"/>
                <a:gd name="T83" fmla="*/ 841 h 1008"/>
                <a:gd name="T84" fmla="*/ 192 w 1152"/>
                <a:gd name="T85" fmla="*/ 948 h 1008"/>
                <a:gd name="T86" fmla="*/ 181 w 1152"/>
                <a:gd name="T87" fmla="*/ 982 h 1008"/>
                <a:gd name="T88" fmla="*/ 200 w 1152"/>
                <a:gd name="T89" fmla="*/ 1005 h 1008"/>
                <a:gd name="T90" fmla="*/ 242 w 1152"/>
                <a:gd name="T91" fmla="*/ 1003 h 1008"/>
                <a:gd name="T92" fmla="*/ 342 w 1152"/>
                <a:gd name="T93" fmla="*/ 959 h 1008"/>
                <a:gd name="T94" fmla="*/ 421 w 1152"/>
                <a:gd name="T95" fmla="*/ 900 h 1008"/>
                <a:gd name="T96" fmla="*/ 520 w 1152"/>
                <a:gd name="T97" fmla="*/ 862 h 1008"/>
                <a:gd name="T98" fmla="*/ 664 w 1152"/>
                <a:gd name="T99" fmla="*/ 859 h 1008"/>
                <a:gd name="T100" fmla="*/ 800 w 1152"/>
                <a:gd name="T101" fmla="*/ 830 h 1008"/>
                <a:gd name="T102" fmla="*/ 921 w 1152"/>
                <a:gd name="T103" fmla="*/ 778 h 1008"/>
                <a:gd name="T104" fmla="*/ 1020 w 1152"/>
                <a:gd name="T105" fmla="*/ 707 h 1008"/>
                <a:gd name="T106" fmla="*/ 1096 w 1152"/>
                <a:gd name="T107" fmla="*/ 619 h 1008"/>
                <a:gd name="T108" fmla="*/ 1140 w 1152"/>
                <a:gd name="T109" fmla="*/ 519 h 1008"/>
                <a:gd name="T110" fmla="*/ 1151 w 1152"/>
                <a:gd name="T111" fmla="*/ 410 h 1008"/>
                <a:gd name="T112" fmla="*/ 1126 w 1152"/>
                <a:gd name="T113" fmla="*/ 304 h 1008"/>
                <a:gd name="T114" fmla="*/ 1069 w 1152"/>
                <a:gd name="T115" fmla="*/ 208 h 1008"/>
                <a:gd name="T116" fmla="*/ 983 w 1152"/>
                <a:gd name="T117" fmla="*/ 127 h 1008"/>
                <a:gd name="T118" fmla="*/ 874 w 1152"/>
                <a:gd name="T119" fmla="*/ 62 h 1008"/>
                <a:gd name="T120" fmla="*/ 747 w 1152"/>
                <a:gd name="T121" fmla="*/ 20 h 1008"/>
                <a:gd name="T122" fmla="*/ 605 w 1152"/>
                <a:gd name="T123" fmla="*/ 0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52" h="1008">
                  <a:moveTo>
                    <a:pt x="576" y="792"/>
                  </a:moveTo>
                  <a:lnTo>
                    <a:pt x="551" y="791"/>
                  </a:lnTo>
                  <a:lnTo>
                    <a:pt x="526" y="790"/>
                  </a:lnTo>
                  <a:lnTo>
                    <a:pt x="501" y="788"/>
                  </a:lnTo>
                  <a:lnTo>
                    <a:pt x="476" y="784"/>
                  </a:lnTo>
                  <a:lnTo>
                    <a:pt x="470" y="783"/>
                  </a:lnTo>
                  <a:lnTo>
                    <a:pt x="465" y="783"/>
                  </a:lnTo>
                  <a:lnTo>
                    <a:pt x="457" y="784"/>
                  </a:lnTo>
                  <a:lnTo>
                    <a:pt x="449" y="786"/>
                  </a:lnTo>
                  <a:lnTo>
                    <a:pt x="441" y="788"/>
                  </a:lnTo>
                  <a:lnTo>
                    <a:pt x="435" y="791"/>
                  </a:lnTo>
                  <a:lnTo>
                    <a:pt x="427" y="794"/>
                  </a:lnTo>
                  <a:lnTo>
                    <a:pt x="421" y="798"/>
                  </a:lnTo>
                  <a:lnTo>
                    <a:pt x="415" y="804"/>
                  </a:lnTo>
                  <a:lnTo>
                    <a:pt x="409" y="810"/>
                  </a:lnTo>
                  <a:lnTo>
                    <a:pt x="402" y="818"/>
                  </a:lnTo>
                  <a:lnTo>
                    <a:pt x="393" y="828"/>
                  </a:lnTo>
                  <a:lnTo>
                    <a:pt x="381" y="840"/>
                  </a:lnTo>
                  <a:lnTo>
                    <a:pt x="368" y="851"/>
                  </a:lnTo>
                  <a:lnTo>
                    <a:pt x="352" y="864"/>
                  </a:lnTo>
                  <a:lnTo>
                    <a:pt x="335" y="876"/>
                  </a:lnTo>
                  <a:lnTo>
                    <a:pt x="317" y="889"/>
                  </a:lnTo>
                  <a:lnTo>
                    <a:pt x="299" y="901"/>
                  </a:lnTo>
                  <a:lnTo>
                    <a:pt x="308" y="876"/>
                  </a:lnTo>
                  <a:lnTo>
                    <a:pt x="316" y="850"/>
                  </a:lnTo>
                  <a:lnTo>
                    <a:pt x="319" y="837"/>
                  </a:lnTo>
                  <a:lnTo>
                    <a:pt x="321" y="823"/>
                  </a:lnTo>
                  <a:lnTo>
                    <a:pt x="323" y="809"/>
                  </a:lnTo>
                  <a:lnTo>
                    <a:pt x="323" y="796"/>
                  </a:lnTo>
                  <a:lnTo>
                    <a:pt x="325" y="792"/>
                  </a:lnTo>
                  <a:lnTo>
                    <a:pt x="325" y="789"/>
                  </a:lnTo>
                  <a:lnTo>
                    <a:pt x="323" y="779"/>
                  </a:lnTo>
                  <a:lnTo>
                    <a:pt x="321" y="769"/>
                  </a:lnTo>
                  <a:lnTo>
                    <a:pt x="318" y="761"/>
                  </a:lnTo>
                  <a:lnTo>
                    <a:pt x="314" y="752"/>
                  </a:lnTo>
                  <a:lnTo>
                    <a:pt x="308" y="743"/>
                  </a:lnTo>
                  <a:lnTo>
                    <a:pt x="302" y="737"/>
                  </a:lnTo>
                  <a:lnTo>
                    <a:pt x="293" y="730"/>
                  </a:lnTo>
                  <a:lnTo>
                    <a:pt x="285" y="725"/>
                  </a:lnTo>
                  <a:lnTo>
                    <a:pt x="261" y="712"/>
                  </a:lnTo>
                  <a:lnTo>
                    <a:pt x="238" y="698"/>
                  </a:lnTo>
                  <a:lnTo>
                    <a:pt x="215" y="683"/>
                  </a:lnTo>
                  <a:lnTo>
                    <a:pt x="196" y="667"/>
                  </a:lnTo>
                  <a:lnTo>
                    <a:pt x="177" y="651"/>
                  </a:lnTo>
                  <a:lnTo>
                    <a:pt x="159" y="633"/>
                  </a:lnTo>
                  <a:lnTo>
                    <a:pt x="143" y="615"/>
                  </a:lnTo>
                  <a:lnTo>
                    <a:pt x="129" y="597"/>
                  </a:lnTo>
                  <a:lnTo>
                    <a:pt x="116" y="577"/>
                  </a:lnTo>
                  <a:lnTo>
                    <a:pt x="104" y="558"/>
                  </a:lnTo>
                  <a:lnTo>
                    <a:pt x="94" y="537"/>
                  </a:lnTo>
                  <a:lnTo>
                    <a:pt x="87" y="517"/>
                  </a:lnTo>
                  <a:lnTo>
                    <a:pt x="80" y="496"/>
                  </a:lnTo>
                  <a:lnTo>
                    <a:pt x="76" y="474"/>
                  </a:lnTo>
                  <a:lnTo>
                    <a:pt x="73" y="454"/>
                  </a:lnTo>
                  <a:lnTo>
                    <a:pt x="72" y="432"/>
                  </a:lnTo>
                  <a:lnTo>
                    <a:pt x="73" y="413"/>
                  </a:lnTo>
                  <a:lnTo>
                    <a:pt x="75" y="396"/>
                  </a:lnTo>
                  <a:lnTo>
                    <a:pt x="78" y="377"/>
                  </a:lnTo>
                  <a:lnTo>
                    <a:pt x="83" y="359"/>
                  </a:lnTo>
                  <a:lnTo>
                    <a:pt x="88" y="342"/>
                  </a:lnTo>
                  <a:lnTo>
                    <a:pt x="94" y="325"/>
                  </a:lnTo>
                  <a:lnTo>
                    <a:pt x="103" y="308"/>
                  </a:lnTo>
                  <a:lnTo>
                    <a:pt x="112" y="292"/>
                  </a:lnTo>
                  <a:lnTo>
                    <a:pt x="121" y="276"/>
                  </a:lnTo>
                  <a:lnTo>
                    <a:pt x="133" y="261"/>
                  </a:lnTo>
                  <a:lnTo>
                    <a:pt x="145" y="246"/>
                  </a:lnTo>
                  <a:lnTo>
                    <a:pt x="158" y="230"/>
                  </a:lnTo>
                  <a:lnTo>
                    <a:pt x="172" y="216"/>
                  </a:lnTo>
                  <a:lnTo>
                    <a:pt x="187" y="203"/>
                  </a:lnTo>
                  <a:lnTo>
                    <a:pt x="204" y="190"/>
                  </a:lnTo>
                  <a:lnTo>
                    <a:pt x="220" y="177"/>
                  </a:lnTo>
                  <a:lnTo>
                    <a:pt x="237" y="166"/>
                  </a:lnTo>
                  <a:lnTo>
                    <a:pt x="255" y="154"/>
                  </a:lnTo>
                  <a:lnTo>
                    <a:pt x="275" y="144"/>
                  </a:lnTo>
                  <a:lnTo>
                    <a:pt x="294" y="133"/>
                  </a:lnTo>
                  <a:lnTo>
                    <a:pt x="315" y="125"/>
                  </a:lnTo>
                  <a:lnTo>
                    <a:pt x="336" y="116"/>
                  </a:lnTo>
                  <a:lnTo>
                    <a:pt x="358" y="107"/>
                  </a:lnTo>
                  <a:lnTo>
                    <a:pt x="380" y="100"/>
                  </a:lnTo>
                  <a:lnTo>
                    <a:pt x="403" y="93"/>
                  </a:lnTo>
                  <a:lnTo>
                    <a:pt x="426" y="88"/>
                  </a:lnTo>
                  <a:lnTo>
                    <a:pt x="450" y="84"/>
                  </a:lnTo>
                  <a:lnTo>
                    <a:pt x="475" y="79"/>
                  </a:lnTo>
                  <a:lnTo>
                    <a:pt x="499" y="76"/>
                  </a:lnTo>
                  <a:lnTo>
                    <a:pt x="524" y="74"/>
                  </a:lnTo>
                  <a:lnTo>
                    <a:pt x="550" y="73"/>
                  </a:lnTo>
                  <a:lnTo>
                    <a:pt x="576" y="72"/>
                  </a:lnTo>
                  <a:lnTo>
                    <a:pt x="602" y="73"/>
                  </a:lnTo>
                  <a:lnTo>
                    <a:pt x="628" y="74"/>
                  </a:lnTo>
                  <a:lnTo>
                    <a:pt x="653" y="76"/>
                  </a:lnTo>
                  <a:lnTo>
                    <a:pt x="678" y="79"/>
                  </a:lnTo>
                  <a:lnTo>
                    <a:pt x="701" y="84"/>
                  </a:lnTo>
                  <a:lnTo>
                    <a:pt x="725" y="88"/>
                  </a:lnTo>
                  <a:lnTo>
                    <a:pt x="749" y="93"/>
                  </a:lnTo>
                  <a:lnTo>
                    <a:pt x="772" y="100"/>
                  </a:lnTo>
                  <a:lnTo>
                    <a:pt x="794" y="107"/>
                  </a:lnTo>
                  <a:lnTo>
                    <a:pt x="816" y="116"/>
                  </a:lnTo>
                  <a:lnTo>
                    <a:pt x="838" y="125"/>
                  </a:lnTo>
                  <a:lnTo>
                    <a:pt x="858" y="133"/>
                  </a:lnTo>
                  <a:lnTo>
                    <a:pt x="877" y="144"/>
                  </a:lnTo>
                  <a:lnTo>
                    <a:pt x="897" y="154"/>
                  </a:lnTo>
                  <a:lnTo>
                    <a:pt x="914" y="166"/>
                  </a:lnTo>
                  <a:lnTo>
                    <a:pt x="933" y="177"/>
                  </a:lnTo>
                  <a:lnTo>
                    <a:pt x="949" y="190"/>
                  </a:lnTo>
                  <a:lnTo>
                    <a:pt x="965" y="203"/>
                  </a:lnTo>
                  <a:lnTo>
                    <a:pt x="980" y="216"/>
                  </a:lnTo>
                  <a:lnTo>
                    <a:pt x="994" y="230"/>
                  </a:lnTo>
                  <a:lnTo>
                    <a:pt x="1007" y="246"/>
                  </a:lnTo>
                  <a:lnTo>
                    <a:pt x="1019" y="261"/>
                  </a:lnTo>
                  <a:lnTo>
                    <a:pt x="1030" y="276"/>
                  </a:lnTo>
                  <a:lnTo>
                    <a:pt x="1041" y="292"/>
                  </a:lnTo>
                  <a:lnTo>
                    <a:pt x="1049" y="308"/>
                  </a:lnTo>
                  <a:lnTo>
                    <a:pt x="1057" y="325"/>
                  </a:lnTo>
                  <a:lnTo>
                    <a:pt x="1064" y="342"/>
                  </a:lnTo>
                  <a:lnTo>
                    <a:pt x="1070" y="359"/>
                  </a:lnTo>
                  <a:lnTo>
                    <a:pt x="1074" y="377"/>
                  </a:lnTo>
                  <a:lnTo>
                    <a:pt x="1077" y="396"/>
                  </a:lnTo>
                  <a:lnTo>
                    <a:pt x="1079" y="413"/>
                  </a:lnTo>
                  <a:lnTo>
                    <a:pt x="1081" y="432"/>
                  </a:lnTo>
                  <a:lnTo>
                    <a:pt x="1079" y="451"/>
                  </a:lnTo>
                  <a:lnTo>
                    <a:pt x="1077" y="469"/>
                  </a:lnTo>
                  <a:lnTo>
                    <a:pt x="1074" y="486"/>
                  </a:lnTo>
                  <a:lnTo>
                    <a:pt x="1070" y="505"/>
                  </a:lnTo>
                  <a:lnTo>
                    <a:pt x="1064" y="522"/>
                  </a:lnTo>
                  <a:lnTo>
                    <a:pt x="1057" y="539"/>
                  </a:lnTo>
                  <a:lnTo>
                    <a:pt x="1049" y="555"/>
                  </a:lnTo>
                  <a:lnTo>
                    <a:pt x="1041" y="572"/>
                  </a:lnTo>
                  <a:lnTo>
                    <a:pt x="1030" y="588"/>
                  </a:lnTo>
                  <a:lnTo>
                    <a:pt x="1019" y="603"/>
                  </a:lnTo>
                  <a:lnTo>
                    <a:pt x="1007" y="618"/>
                  </a:lnTo>
                  <a:lnTo>
                    <a:pt x="994" y="633"/>
                  </a:lnTo>
                  <a:lnTo>
                    <a:pt x="980" y="647"/>
                  </a:lnTo>
                  <a:lnTo>
                    <a:pt x="965" y="660"/>
                  </a:lnTo>
                  <a:lnTo>
                    <a:pt x="949" y="674"/>
                  </a:lnTo>
                  <a:lnTo>
                    <a:pt x="933" y="686"/>
                  </a:lnTo>
                  <a:lnTo>
                    <a:pt x="914" y="698"/>
                  </a:lnTo>
                  <a:lnTo>
                    <a:pt x="897" y="710"/>
                  </a:lnTo>
                  <a:lnTo>
                    <a:pt x="877" y="721"/>
                  </a:lnTo>
                  <a:lnTo>
                    <a:pt x="858" y="730"/>
                  </a:lnTo>
                  <a:lnTo>
                    <a:pt x="838" y="740"/>
                  </a:lnTo>
                  <a:lnTo>
                    <a:pt x="816" y="749"/>
                  </a:lnTo>
                  <a:lnTo>
                    <a:pt x="794" y="756"/>
                  </a:lnTo>
                  <a:lnTo>
                    <a:pt x="772" y="764"/>
                  </a:lnTo>
                  <a:lnTo>
                    <a:pt x="749" y="770"/>
                  </a:lnTo>
                  <a:lnTo>
                    <a:pt x="725" y="776"/>
                  </a:lnTo>
                  <a:lnTo>
                    <a:pt x="701" y="780"/>
                  </a:lnTo>
                  <a:lnTo>
                    <a:pt x="678" y="784"/>
                  </a:lnTo>
                  <a:lnTo>
                    <a:pt x="653" y="788"/>
                  </a:lnTo>
                  <a:lnTo>
                    <a:pt x="628" y="790"/>
                  </a:lnTo>
                  <a:lnTo>
                    <a:pt x="602" y="791"/>
                  </a:lnTo>
                  <a:lnTo>
                    <a:pt x="576" y="792"/>
                  </a:lnTo>
                  <a:close/>
                  <a:moveTo>
                    <a:pt x="576" y="0"/>
                  </a:moveTo>
                  <a:lnTo>
                    <a:pt x="546" y="0"/>
                  </a:lnTo>
                  <a:lnTo>
                    <a:pt x="517" y="3"/>
                  </a:lnTo>
                  <a:lnTo>
                    <a:pt x="489" y="5"/>
                  </a:lnTo>
                  <a:lnTo>
                    <a:pt x="460" y="9"/>
                  </a:lnTo>
                  <a:lnTo>
                    <a:pt x="433" y="13"/>
                  </a:lnTo>
                  <a:lnTo>
                    <a:pt x="404" y="20"/>
                  </a:lnTo>
                  <a:lnTo>
                    <a:pt x="377" y="26"/>
                  </a:lnTo>
                  <a:lnTo>
                    <a:pt x="352" y="34"/>
                  </a:lnTo>
                  <a:lnTo>
                    <a:pt x="327" y="42"/>
                  </a:lnTo>
                  <a:lnTo>
                    <a:pt x="302" y="52"/>
                  </a:lnTo>
                  <a:lnTo>
                    <a:pt x="277" y="62"/>
                  </a:lnTo>
                  <a:lnTo>
                    <a:pt x="254" y="74"/>
                  </a:lnTo>
                  <a:lnTo>
                    <a:pt x="232" y="86"/>
                  </a:lnTo>
                  <a:lnTo>
                    <a:pt x="210" y="99"/>
                  </a:lnTo>
                  <a:lnTo>
                    <a:pt x="188" y="112"/>
                  </a:lnTo>
                  <a:lnTo>
                    <a:pt x="169" y="127"/>
                  </a:lnTo>
                  <a:lnTo>
                    <a:pt x="150" y="142"/>
                  </a:lnTo>
                  <a:lnTo>
                    <a:pt x="131" y="157"/>
                  </a:lnTo>
                  <a:lnTo>
                    <a:pt x="114" y="173"/>
                  </a:lnTo>
                  <a:lnTo>
                    <a:pt x="99" y="190"/>
                  </a:lnTo>
                  <a:lnTo>
                    <a:pt x="84" y="208"/>
                  </a:lnTo>
                  <a:lnTo>
                    <a:pt x="70" y="226"/>
                  </a:lnTo>
                  <a:lnTo>
                    <a:pt x="57" y="244"/>
                  </a:lnTo>
                  <a:lnTo>
                    <a:pt x="45" y="264"/>
                  </a:lnTo>
                  <a:lnTo>
                    <a:pt x="35" y="283"/>
                  </a:lnTo>
                  <a:lnTo>
                    <a:pt x="26" y="304"/>
                  </a:lnTo>
                  <a:lnTo>
                    <a:pt x="18" y="324"/>
                  </a:lnTo>
                  <a:lnTo>
                    <a:pt x="11" y="345"/>
                  </a:lnTo>
                  <a:lnTo>
                    <a:pt x="7" y="366"/>
                  </a:lnTo>
                  <a:lnTo>
                    <a:pt x="3" y="388"/>
                  </a:lnTo>
                  <a:lnTo>
                    <a:pt x="0" y="410"/>
                  </a:lnTo>
                  <a:lnTo>
                    <a:pt x="0" y="432"/>
                  </a:lnTo>
                  <a:lnTo>
                    <a:pt x="0" y="445"/>
                  </a:lnTo>
                  <a:lnTo>
                    <a:pt x="2" y="459"/>
                  </a:lnTo>
                  <a:lnTo>
                    <a:pt x="3" y="473"/>
                  </a:lnTo>
                  <a:lnTo>
                    <a:pt x="5" y="486"/>
                  </a:lnTo>
                  <a:lnTo>
                    <a:pt x="7" y="500"/>
                  </a:lnTo>
                  <a:lnTo>
                    <a:pt x="10" y="513"/>
                  </a:lnTo>
                  <a:lnTo>
                    <a:pt x="13" y="526"/>
                  </a:lnTo>
                  <a:lnTo>
                    <a:pt x="18" y="539"/>
                  </a:lnTo>
                  <a:lnTo>
                    <a:pt x="27" y="565"/>
                  </a:lnTo>
                  <a:lnTo>
                    <a:pt x="39" y="590"/>
                  </a:lnTo>
                  <a:lnTo>
                    <a:pt x="53" y="614"/>
                  </a:lnTo>
                  <a:lnTo>
                    <a:pt x="69" y="638"/>
                  </a:lnTo>
                  <a:lnTo>
                    <a:pt x="87" y="659"/>
                  </a:lnTo>
                  <a:lnTo>
                    <a:pt x="105" y="681"/>
                  </a:lnTo>
                  <a:lnTo>
                    <a:pt x="126" y="701"/>
                  </a:lnTo>
                  <a:lnTo>
                    <a:pt x="148" y="722"/>
                  </a:lnTo>
                  <a:lnTo>
                    <a:pt x="172" y="740"/>
                  </a:lnTo>
                  <a:lnTo>
                    <a:pt x="198" y="757"/>
                  </a:lnTo>
                  <a:lnTo>
                    <a:pt x="224" y="774"/>
                  </a:lnTo>
                  <a:lnTo>
                    <a:pt x="252" y="789"/>
                  </a:lnTo>
                  <a:lnTo>
                    <a:pt x="252" y="791"/>
                  </a:lnTo>
                  <a:lnTo>
                    <a:pt x="252" y="792"/>
                  </a:lnTo>
                  <a:lnTo>
                    <a:pt x="251" y="804"/>
                  </a:lnTo>
                  <a:lnTo>
                    <a:pt x="250" y="816"/>
                  </a:lnTo>
                  <a:lnTo>
                    <a:pt x="248" y="829"/>
                  </a:lnTo>
                  <a:lnTo>
                    <a:pt x="245" y="841"/>
                  </a:lnTo>
                  <a:lnTo>
                    <a:pt x="236" y="864"/>
                  </a:lnTo>
                  <a:lnTo>
                    <a:pt x="225" y="888"/>
                  </a:lnTo>
                  <a:lnTo>
                    <a:pt x="214" y="910"/>
                  </a:lnTo>
                  <a:lnTo>
                    <a:pt x="202" y="929"/>
                  </a:lnTo>
                  <a:lnTo>
                    <a:pt x="192" y="948"/>
                  </a:lnTo>
                  <a:lnTo>
                    <a:pt x="183" y="963"/>
                  </a:lnTo>
                  <a:lnTo>
                    <a:pt x="183" y="963"/>
                  </a:lnTo>
                  <a:lnTo>
                    <a:pt x="181" y="968"/>
                  </a:lnTo>
                  <a:lnTo>
                    <a:pt x="180" y="976"/>
                  </a:lnTo>
                  <a:lnTo>
                    <a:pt x="181" y="982"/>
                  </a:lnTo>
                  <a:lnTo>
                    <a:pt x="183" y="987"/>
                  </a:lnTo>
                  <a:lnTo>
                    <a:pt x="185" y="994"/>
                  </a:lnTo>
                  <a:lnTo>
                    <a:pt x="189" y="998"/>
                  </a:lnTo>
                  <a:lnTo>
                    <a:pt x="195" y="1003"/>
                  </a:lnTo>
                  <a:lnTo>
                    <a:pt x="200" y="1005"/>
                  </a:lnTo>
                  <a:lnTo>
                    <a:pt x="206" y="1007"/>
                  </a:lnTo>
                  <a:lnTo>
                    <a:pt x="212" y="1008"/>
                  </a:lnTo>
                  <a:lnTo>
                    <a:pt x="219" y="1008"/>
                  </a:lnTo>
                  <a:lnTo>
                    <a:pt x="222" y="1007"/>
                  </a:lnTo>
                  <a:lnTo>
                    <a:pt x="242" y="1003"/>
                  </a:lnTo>
                  <a:lnTo>
                    <a:pt x="264" y="997"/>
                  </a:lnTo>
                  <a:lnTo>
                    <a:pt x="283" y="990"/>
                  </a:lnTo>
                  <a:lnTo>
                    <a:pt x="304" y="980"/>
                  </a:lnTo>
                  <a:lnTo>
                    <a:pt x="323" y="970"/>
                  </a:lnTo>
                  <a:lnTo>
                    <a:pt x="342" y="959"/>
                  </a:lnTo>
                  <a:lnTo>
                    <a:pt x="359" y="948"/>
                  </a:lnTo>
                  <a:lnTo>
                    <a:pt x="376" y="936"/>
                  </a:lnTo>
                  <a:lnTo>
                    <a:pt x="393" y="924"/>
                  </a:lnTo>
                  <a:lnTo>
                    <a:pt x="407" y="912"/>
                  </a:lnTo>
                  <a:lnTo>
                    <a:pt x="421" y="900"/>
                  </a:lnTo>
                  <a:lnTo>
                    <a:pt x="433" y="889"/>
                  </a:lnTo>
                  <a:lnTo>
                    <a:pt x="452" y="870"/>
                  </a:lnTo>
                  <a:lnTo>
                    <a:pt x="465" y="856"/>
                  </a:lnTo>
                  <a:lnTo>
                    <a:pt x="492" y="859"/>
                  </a:lnTo>
                  <a:lnTo>
                    <a:pt x="520" y="862"/>
                  </a:lnTo>
                  <a:lnTo>
                    <a:pt x="548" y="863"/>
                  </a:lnTo>
                  <a:lnTo>
                    <a:pt x="576" y="864"/>
                  </a:lnTo>
                  <a:lnTo>
                    <a:pt x="605" y="863"/>
                  </a:lnTo>
                  <a:lnTo>
                    <a:pt x="634" y="861"/>
                  </a:lnTo>
                  <a:lnTo>
                    <a:pt x="664" y="859"/>
                  </a:lnTo>
                  <a:lnTo>
                    <a:pt x="692" y="855"/>
                  </a:lnTo>
                  <a:lnTo>
                    <a:pt x="720" y="850"/>
                  </a:lnTo>
                  <a:lnTo>
                    <a:pt x="747" y="845"/>
                  </a:lnTo>
                  <a:lnTo>
                    <a:pt x="774" y="837"/>
                  </a:lnTo>
                  <a:lnTo>
                    <a:pt x="800" y="830"/>
                  </a:lnTo>
                  <a:lnTo>
                    <a:pt x="826" y="821"/>
                  </a:lnTo>
                  <a:lnTo>
                    <a:pt x="850" y="811"/>
                  </a:lnTo>
                  <a:lnTo>
                    <a:pt x="874" y="802"/>
                  </a:lnTo>
                  <a:lnTo>
                    <a:pt x="898" y="790"/>
                  </a:lnTo>
                  <a:lnTo>
                    <a:pt x="921" y="778"/>
                  </a:lnTo>
                  <a:lnTo>
                    <a:pt x="942" y="765"/>
                  </a:lnTo>
                  <a:lnTo>
                    <a:pt x="963" y="752"/>
                  </a:lnTo>
                  <a:lnTo>
                    <a:pt x="983" y="737"/>
                  </a:lnTo>
                  <a:lnTo>
                    <a:pt x="1003" y="722"/>
                  </a:lnTo>
                  <a:lnTo>
                    <a:pt x="1020" y="707"/>
                  </a:lnTo>
                  <a:lnTo>
                    <a:pt x="1037" y="690"/>
                  </a:lnTo>
                  <a:lnTo>
                    <a:pt x="1054" y="673"/>
                  </a:lnTo>
                  <a:lnTo>
                    <a:pt x="1069" y="656"/>
                  </a:lnTo>
                  <a:lnTo>
                    <a:pt x="1083" y="638"/>
                  </a:lnTo>
                  <a:lnTo>
                    <a:pt x="1096" y="619"/>
                  </a:lnTo>
                  <a:lnTo>
                    <a:pt x="1106" y="600"/>
                  </a:lnTo>
                  <a:lnTo>
                    <a:pt x="1117" y="580"/>
                  </a:lnTo>
                  <a:lnTo>
                    <a:pt x="1126" y="560"/>
                  </a:lnTo>
                  <a:lnTo>
                    <a:pt x="1133" y="540"/>
                  </a:lnTo>
                  <a:lnTo>
                    <a:pt x="1140" y="519"/>
                  </a:lnTo>
                  <a:lnTo>
                    <a:pt x="1145" y="497"/>
                  </a:lnTo>
                  <a:lnTo>
                    <a:pt x="1149" y="476"/>
                  </a:lnTo>
                  <a:lnTo>
                    <a:pt x="1151" y="454"/>
                  </a:lnTo>
                  <a:lnTo>
                    <a:pt x="1152" y="432"/>
                  </a:lnTo>
                  <a:lnTo>
                    <a:pt x="1151" y="410"/>
                  </a:lnTo>
                  <a:lnTo>
                    <a:pt x="1149" y="388"/>
                  </a:lnTo>
                  <a:lnTo>
                    <a:pt x="1145" y="366"/>
                  </a:lnTo>
                  <a:lnTo>
                    <a:pt x="1140" y="345"/>
                  </a:lnTo>
                  <a:lnTo>
                    <a:pt x="1133" y="324"/>
                  </a:lnTo>
                  <a:lnTo>
                    <a:pt x="1126" y="304"/>
                  </a:lnTo>
                  <a:lnTo>
                    <a:pt x="1117" y="283"/>
                  </a:lnTo>
                  <a:lnTo>
                    <a:pt x="1106" y="264"/>
                  </a:lnTo>
                  <a:lnTo>
                    <a:pt x="1096" y="244"/>
                  </a:lnTo>
                  <a:lnTo>
                    <a:pt x="1083" y="226"/>
                  </a:lnTo>
                  <a:lnTo>
                    <a:pt x="1069" y="208"/>
                  </a:lnTo>
                  <a:lnTo>
                    <a:pt x="1054" y="190"/>
                  </a:lnTo>
                  <a:lnTo>
                    <a:pt x="1037" y="173"/>
                  </a:lnTo>
                  <a:lnTo>
                    <a:pt x="1020" y="157"/>
                  </a:lnTo>
                  <a:lnTo>
                    <a:pt x="1003" y="142"/>
                  </a:lnTo>
                  <a:lnTo>
                    <a:pt x="983" y="127"/>
                  </a:lnTo>
                  <a:lnTo>
                    <a:pt x="963" y="112"/>
                  </a:lnTo>
                  <a:lnTo>
                    <a:pt x="942" y="99"/>
                  </a:lnTo>
                  <a:lnTo>
                    <a:pt x="921" y="86"/>
                  </a:lnTo>
                  <a:lnTo>
                    <a:pt x="898" y="74"/>
                  </a:lnTo>
                  <a:lnTo>
                    <a:pt x="874" y="62"/>
                  </a:lnTo>
                  <a:lnTo>
                    <a:pt x="850" y="52"/>
                  </a:lnTo>
                  <a:lnTo>
                    <a:pt x="826" y="42"/>
                  </a:lnTo>
                  <a:lnTo>
                    <a:pt x="800" y="34"/>
                  </a:lnTo>
                  <a:lnTo>
                    <a:pt x="774" y="26"/>
                  </a:lnTo>
                  <a:lnTo>
                    <a:pt x="747" y="20"/>
                  </a:lnTo>
                  <a:lnTo>
                    <a:pt x="720" y="13"/>
                  </a:lnTo>
                  <a:lnTo>
                    <a:pt x="692" y="9"/>
                  </a:lnTo>
                  <a:lnTo>
                    <a:pt x="664" y="5"/>
                  </a:lnTo>
                  <a:lnTo>
                    <a:pt x="634" y="3"/>
                  </a:lnTo>
                  <a:lnTo>
                    <a:pt x="605" y="0"/>
                  </a:lnTo>
                  <a:lnTo>
                    <a:pt x="5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latin typeface="+mn-lt"/>
              </a:endParaRPr>
            </a:p>
          </p:txBody>
        </p:sp>
      </p:grpSp>
      <p:grpSp>
        <p:nvGrpSpPr>
          <p:cNvPr id="45" name="Group 44"/>
          <p:cNvGrpSpPr/>
          <p:nvPr/>
        </p:nvGrpSpPr>
        <p:grpSpPr>
          <a:xfrm>
            <a:off x="1693495" y="4585898"/>
            <a:ext cx="320395" cy="320395"/>
            <a:chOff x="4563268" y="2753915"/>
            <a:chExt cx="457200" cy="457200"/>
          </a:xfrm>
          <a:solidFill>
            <a:schemeClr val="bg1">
              <a:lumMod val="65000"/>
            </a:schemeClr>
          </a:solidFill>
        </p:grpSpPr>
        <p:sp>
          <p:nvSpPr>
            <p:cNvPr id="46" name="Freeform 124"/>
            <p:cNvSpPr>
              <a:spLocks noEditPoints="1"/>
            </p:cNvSpPr>
            <p:nvPr/>
          </p:nvSpPr>
          <p:spPr bwMode="auto">
            <a:xfrm>
              <a:off x="4563268" y="2753915"/>
              <a:ext cx="457200" cy="457200"/>
            </a:xfrm>
            <a:custGeom>
              <a:avLst/>
              <a:gdLst>
                <a:gd name="T0" fmla="*/ 924 w 1152"/>
                <a:gd name="T1" fmla="*/ 677 h 1152"/>
                <a:gd name="T2" fmla="*/ 896 w 1152"/>
                <a:gd name="T3" fmla="*/ 742 h 1152"/>
                <a:gd name="T4" fmla="*/ 905 w 1152"/>
                <a:gd name="T5" fmla="*/ 804 h 1152"/>
                <a:gd name="T6" fmla="*/ 765 w 1152"/>
                <a:gd name="T7" fmla="*/ 893 h 1152"/>
                <a:gd name="T8" fmla="*/ 704 w 1152"/>
                <a:gd name="T9" fmla="*/ 912 h 1152"/>
                <a:gd name="T10" fmla="*/ 653 w 1152"/>
                <a:gd name="T11" fmla="*/ 952 h 1152"/>
                <a:gd name="T12" fmla="*/ 499 w 1152"/>
                <a:gd name="T13" fmla="*/ 952 h 1152"/>
                <a:gd name="T14" fmla="*/ 448 w 1152"/>
                <a:gd name="T15" fmla="*/ 912 h 1152"/>
                <a:gd name="T16" fmla="*/ 388 w 1152"/>
                <a:gd name="T17" fmla="*/ 893 h 1152"/>
                <a:gd name="T18" fmla="*/ 247 w 1152"/>
                <a:gd name="T19" fmla="*/ 804 h 1152"/>
                <a:gd name="T20" fmla="*/ 256 w 1152"/>
                <a:gd name="T21" fmla="*/ 742 h 1152"/>
                <a:gd name="T22" fmla="*/ 228 w 1152"/>
                <a:gd name="T23" fmla="*/ 677 h 1152"/>
                <a:gd name="T24" fmla="*/ 72 w 1152"/>
                <a:gd name="T25" fmla="*/ 625 h 1152"/>
                <a:gd name="T26" fmla="*/ 222 w 1152"/>
                <a:gd name="T27" fmla="*/ 482 h 1152"/>
                <a:gd name="T28" fmla="*/ 253 w 1152"/>
                <a:gd name="T29" fmla="*/ 420 h 1152"/>
                <a:gd name="T30" fmla="*/ 253 w 1152"/>
                <a:gd name="T31" fmla="*/ 356 h 1152"/>
                <a:gd name="T32" fmla="*/ 378 w 1152"/>
                <a:gd name="T33" fmla="*/ 259 h 1152"/>
                <a:gd name="T34" fmla="*/ 438 w 1152"/>
                <a:gd name="T35" fmla="*/ 244 h 1152"/>
                <a:gd name="T36" fmla="*/ 495 w 1152"/>
                <a:gd name="T37" fmla="*/ 208 h 1152"/>
                <a:gd name="T38" fmla="*/ 649 w 1152"/>
                <a:gd name="T39" fmla="*/ 192 h 1152"/>
                <a:gd name="T40" fmla="*/ 694 w 1152"/>
                <a:gd name="T41" fmla="*/ 236 h 1152"/>
                <a:gd name="T42" fmla="*/ 756 w 1152"/>
                <a:gd name="T43" fmla="*/ 259 h 1152"/>
                <a:gd name="T44" fmla="*/ 967 w 1152"/>
                <a:gd name="T45" fmla="*/ 255 h 1152"/>
                <a:gd name="T46" fmla="*/ 894 w 1152"/>
                <a:gd name="T47" fmla="*/ 401 h 1152"/>
                <a:gd name="T48" fmla="*/ 919 w 1152"/>
                <a:gd name="T49" fmla="*/ 466 h 1152"/>
                <a:gd name="T50" fmla="*/ 970 w 1152"/>
                <a:gd name="T51" fmla="*/ 505 h 1152"/>
                <a:gd name="T52" fmla="*/ 975 w 1152"/>
                <a:gd name="T53" fmla="*/ 411 h 1152"/>
                <a:gd name="T54" fmla="*/ 1037 w 1152"/>
                <a:gd name="T55" fmla="*/ 272 h 1152"/>
                <a:gd name="T56" fmla="*/ 1023 w 1152"/>
                <a:gd name="T57" fmla="*/ 208 h 1152"/>
                <a:gd name="T58" fmla="*/ 918 w 1152"/>
                <a:gd name="T59" fmla="*/ 116 h 1152"/>
                <a:gd name="T60" fmla="*/ 857 w 1152"/>
                <a:gd name="T61" fmla="*/ 125 h 1152"/>
                <a:gd name="T62" fmla="*/ 694 w 1152"/>
                <a:gd name="T63" fmla="*/ 51 h 1152"/>
                <a:gd name="T64" fmla="*/ 649 w 1152"/>
                <a:gd name="T65" fmla="*/ 4 h 1152"/>
                <a:gd name="T66" fmla="*/ 514 w 1152"/>
                <a:gd name="T67" fmla="*/ 1 h 1152"/>
                <a:gd name="T68" fmla="*/ 462 w 1152"/>
                <a:gd name="T69" fmla="*/ 40 h 1152"/>
                <a:gd name="T70" fmla="*/ 400 w 1152"/>
                <a:gd name="T71" fmla="*/ 182 h 1152"/>
                <a:gd name="T72" fmla="*/ 247 w 1152"/>
                <a:gd name="T73" fmla="*/ 113 h 1152"/>
                <a:gd name="T74" fmla="*/ 203 w 1152"/>
                <a:gd name="T75" fmla="*/ 134 h 1152"/>
                <a:gd name="T76" fmla="*/ 113 w 1152"/>
                <a:gd name="T77" fmla="*/ 247 h 1152"/>
                <a:gd name="T78" fmla="*/ 188 w 1152"/>
                <a:gd name="T79" fmla="*/ 387 h 1152"/>
                <a:gd name="T80" fmla="*/ 45 w 1152"/>
                <a:gd name="T81" fmla="*/ 460 h 1152"/>
                <a:gd name="T82" fmla="*/ 2 w 1152"/>
                <a:gd name="T83" fmla="*/ 508 h 1152"/>
                <a:gd name="T84" fmla="*/ 2 w 1152"/>
                <a:gd name="T85" fmla="*/ 643 h 1152"/>
                <a:gd name="T86" fmla="*/ 45 w 1152"/>
                <a:gd name="T87" fmla="*/ 692 h 1152"/>
                <a:gd name="T88" fmla="*/ 188 w 1152"/>
                <a:gd name="T89" fmla="*/ 764 h 1152"/>
                <a:gd name="T90" fmla="*/ 113 w 1152"/>
                <a:gd name="T91" fmla="*/ 905 h 1152"/>
                <a:gd name="T92" fmla="*/ 203 w 1152"/>
                <a:gd name="T93" fmla="*/ 1018 h 1152"/>
                <a:gd name="T94" fmla="*/ 247 w 1152"/>
                <a:gd name="T95" fmla="*/ 1039 h 1152"/>
                <a:gd name="T96" fmla="*/ 400 w 1152"/>
                <a:gd name="T97" fmla="*/ 969 h 1152"/>
                <a:gd name="T98" fmla="*/ 462 w 1152"/>
                <a:gd name="T99" fmla="*/ 1112 h 1152"/>
                <a:gd name="T100" fmla="*/ 514 w 1152"/>
                <a:gd name="T101" fmla="*/ 1151 h 1152"/>
                <a:gd name="T102" fmla="*/ 649 w 1152"/>
                <a:gd name="T103" fmla="*/ 1148 h 1152"/>
                <a:gd name="T104" fmla="*/ 694 w 1152"/>
                <a:gd name="T105" fmla="*/ 1100 h 1152"/>
                <a:gd name="T106" fmla="*/ 857 w 1152"/>
                <a:gd name="T107" fmla="*/ 1027 h 1152"/>
                <a:gd name="T108" fmla="*/ 918 w 1152"/>
                <a:gd name="T109" fmla="*/ 1036 h 1152"/>
                <a:gd name="T110" fmla="*/ 1023 w 1152"/>
                <a:gd name="T111" fmla="*/ 944 h 1152"/>
                <a:gd name="T112" fmla="*/ 1037 w 1152"/>
                <a:gd name="T113" fmla="*/ 881 h 1152"/>
                <a:gd name="T114" fmla="*/ 975 w 1152"/>
                <a:gd name="T115" fmla="*/ 742 h 1152"/>
                <a:gd name="T116" fmla="*/ 1118 w 1152"/>
                <a:gd name="T117" fmla="*/ 687 h 1152"/>
                <a:gd name="T118" fmla="*/ 1151 w 1152"/>
                <a:gd name="T119" fmla="*/ 631 h 1152"/>
                <a:gd name="T120" fmla="*/ 1143 w 1152"/>
                <a:gd name="T121" fmla="*/ 491 h 1152"/>
                <a:gd name="T122" fmla="*/ 1094 w 1152"/>
                <a:gd name="T123" fmla="*/ 456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52" h="1152">
                  <a:moveTo>
                    <a:pt x="970" y="647"/>
                  </a:moveTo>
                  <a:lnTo>
                    <a:pt x="960" y="650"/>
                  </a:lnTo>
                  <a:lnTo>
                    <a:pt x="951" y="653"/>
                  </a:lnTo>
                  <a:lnTo>
                    <a:pt x="944" y="657"/>
                  </a:lnTo>
                  <a:lnTo>
                    <a:pt x="936" y="664"/>
                  </a:lnTo>
                  <a:lnTo>
                    <a:pt x="930" y="670"/>
                  </a:lnTo>
                  <a:lnTo>
                    <a:pt x="924" y="677"/>
                  </a:lnTo>
                  <a:lnTo>
                    <a:pt x="919" y="685"/>
                  </a:lnTo>
                  <a:lnTo>
                    <a:pt x="916" y="694"/>
                  </a:lnTo>
                  <a:lnTo>
                    <a:pt x="913" y="704"/>
                  </a:lnTo>
                  <a:lnTo>
                    <a:pt x="908" y="714"/>
                  </a:lnTo>
                  <a:lnTo>
                    <a:pt x="904" y="723"/>
                  </a:lnTo>
                  <a:lnTo>
                    <a:pt x="900" y="733"/>
                  </a:lnTo>
                  <a:lnTo>
                    <a:pt x="896" y="742"/>
                  </a:lnTo>
                  <a:lnTo>
                    <a:pt x="894" y="750"/>
                  </a:lnTo>
                  <a:lnTo>
                    <a:pt x="893" y="760"/>
                  </a:lnTo>
                  <a:lnTo>
                    <a:pt x="893" y="769"/>
                  </a:lnTo>
                  <a:lnTo>
                    <a:pt x="894" y="778"/>
                  </a:lnTo>
                  <a:lnTo>
                    <a:pt x="896" y="787"/>
                  </a:lnTo>
                  <a:lnTo>
                    <a:pt x="900" y="796"/>
                  </a:lnTo>
                  <a:lnTo>
                    <a:pt x="905" y="804"/>
                  </a:lnTo>
                  <a:lnTo>
                    <a:pt x="967" y="898"/>
                  </a:lnTo>
                  <a:lnTo>
                    <a:pt x="897" y="967"/>
                  </a:lnTo>
                  <a:lnTo>
                    <a:pt x="805" y="905"/>
                  </a:lnTo>
                  <a:lnTo>
                    <a:pt x="795" y="899"/>
                  </a:lnTo>
                  <a:lnTo>
                    <a:pt x="785" y="895"/>
                  </a:lnTo>
                  <a:lnTo>
                    <a:pt x="774" y="893"/>
                  </a:lnTo>
                  <a:lnTo>
                    <a:pt x="765" y="893"/>
                  </a:lnTo>
                  <a:lnTo>
                    <a:pt x="756" y="893"/>
                  </a:lnTo>
                  <a:lnTo>
                    <a:pt x="748" y="894"/>
                  </a:lnTo>
                  <a:lnTo>
                    <a:pt x="741" y="896"/>
                  </a:lnTo>
                  <a:lnTo>
                    <a:pt x="733" y="899"/>
                  </a:lnTo>
                  <a:lnTo>
                    <a:pt x="724" y="904"/>
                  </a:lnTo>
                  <a:lnTo>
                    <a:pt x="714" y="908"/>
                  </a:lnTo>
                  <a:lnTo>
                    <a:pt x="704" y="912"/>
                  </a:lnTo>
                  <a:lnTo>
                    <a:pt x="694" y="915"/>
                  </a:lnTo>
                  <a:lnTo>
                    <a:pt x="686" y="920"/>
                  </a:lnTo>
                  <a:lnTo>
                    <a:pt x="677" y="924"/>
                  </a:lnTo>
                  <a:lnTo>
                    <a:pt x="670" y="930"/>
                  </a:lnTo>
                  <a:lnTo>
                    <a:pt x="663" y="936"/>
                  </a:lnTo>
                  <a:lnTo>
                    <a:pt x="658" y="944"/>
                  </a:lnTo>
                  <a:lnTo>
                    <a:pt x="653" y="952"/>
                  </a:lnTo>
                  <a:lnTo>
                    <a:pt x="650" y="961"/>
                  </a:lnTo>
                  <a:lnTo>
                    <a:pt x="647" y="969"/>
                  </a:lnTo>
                  <a:lnTo>
                    <a:pt x="625" y="1080"/>
                  </a:lnTo>
                  <a:lnTo>
                    <a:pt x="527" y="1080"/>
                  </a:lnTo>
                  <a:lnTo>
                    <a:pt x="505" y="969"/>
                  </a:lnTo>
                  <a:lnTo>
                    <a:pt x="502" y="961"/>
                  </a:lnTo>
                  <a:lnTo>
                    <a:pt x="499" y="952"/>
                  </a:lnTo>
                  <a:lnTo>
                    <a:pt x="495" y="944"/>
                  </a:lnTo>
                  <a:lnTo>
                    <a:pt x="489" y="936"/>
                  </a:lnTo>
                  <a:lnTo>
                    <a:pt x="483" y="930"/>
                  </a:lnTo>
                  <a:lnTo>
                    <a:pt x="475" y="924"/>
                  </a:lnTo>
                  <a:lnTo>
                    <a:pt x="466" y="920"/>
                  </a:lnTo>
                  <a:lnTo>
                    <a:pt x="458" y="915"/>
                  </a:lnTo>
                  <a:lnTo>
                    <a:pt x="448" y="912"/>
                  </a:lnTo>
                  <a:lnTo>
                    <a:pt x="438" y="908"/>
                  </a:lnTo>
                  <a:lnTo>
                    <a:pt x="429" y="904"/>
                  </a:lnTo>
                  <a:lnTo>
                    <a:pt x="419" y="899"/>
                  </a:lnTo>
                  <a:lnTo>
                    <a:pt x="411" y="896"/>
                  </a:lnTo>
                  <a:lnTo>
                    <a:pt x="404" y="894"/>
                  </a:lnTo>
                  <a:lnTo>
                    <a:pt x="396" y="893"/>
                  </a:lnTo>
                  <a:lnTo>
                    <a:pt x="388" y="893"/>
                  </a:lnTo>
                  <a:lnTo>
                    <a:pt x="378" y="893"/>
                  </a:lnTo>
                  <a:lnTo>
                    <a:pt x="367" y="895"/>
                  </a:lnTo>
                  <a:lnTo>
                    <a:pt x="357" y="899"/>
                  </a:lnTo>
                  <a:lnTo>
                    <a:pt x="348" y="905"/>
                  </a:lnTo>
                  <a:lnTo>
                    <a:pt x="255" y="967"/>
                  </a:lnTo>
                  <a:lnTo>
                    <a:pt x="185" y="898"/>
                  </a:lnTo>
                  <a:lnTo>
                    <a:pt x="247" y="804"/>
                  </a:lnTo>
                  <a:lnTo>
                    <a:pt x="253" y="796"/>
                  </a:lnTo>
                  <a:lnTo>
                    <a:pt x="256" y="787"/>
                  </a:lnTo>
                  <a:lnTo>
                    <a:pt x="258" y="778"/>
                  </a:lnTo>
                  <a:lnTo>
                    <a:pt x="259" y="769"/>
                  </a:lnTo>
                  <a:lnTo>
                    <a:pt x="259" y="760"/>
                  </a:lnTo>
                  <a:lnTo>
                    <a:pt x="258" y="750"/>
                  </a:lnTo>
                  <a:lnTo>
                    <a:pt x="256" y="742"/>
                  </a:lnTo>
                  <a:lnTo>
                    <a:pt x="253" y="733"/>
                  </a:lnTo>
                  <a:lnTo>
                    <a:pt x="248" y="723"/>
                  </a:lnTo>
                  <a:lnTo>
                    <a:pt x="244" y="714"/>
                  </a:lnTo>
                  <a:lnTo>
                    <a:pt x="240" y="704"/>
                  </a:lnTo>
                  <a:lnTo>
                    <a:pt x="236" y="694"/>
                  </a:lnTo>
                  <a:lnTo>
                    <a:pt x="232" y="685"/>
                  </a:lnTo>
                  <a:lnTo>
                    <a:pt x="228" y="677"/>
                  </a:lnTo>
                  <a:lnTo>
                    <a:pt x="222" y="670"/>
                  </a:lnTo>
                  <a:lnTo>
                    <a:pt x="216" y="664"/>
                  </a:lnTo>
                  <a:lnTo>
                    <a:pt x="208" y="657"/>
                  </a:lnTo>
                  <a:lnTo>
                    <a:pt x="200" y="653"/>
                  </a:lnTo>
                  <a:lnTo>
                    <a:pt x="191" y="650"/>
                  </a:lnTo>
                  <a:lnTo>
                    <a:pt x="182" y="647"/>
                  </a:lnTo>
                  <a:lnTo>
                    <a:pt x="72" y="625"/>
                  </a:lnTo>
                  <a:lnTo>
                    <a:pt x="72" y="527"/>
                  </a:lnTo>
                  <a:lnTo>
                    <a:pt x="182" y="505"/>
                  </a:lnTo>
                  <a:lnTo>
                    <a:pt x="191" y="503"/>
                  </a:lnTo>
                  <a:lnTo>
                    <a:pt x="200" y="499"/>
                  </a:lnTo>
                  <a:lnTo>
                    <a:pt x="208" y="494"/>
                  </a:lnTo>
                  <a:lnTo>
                    <a:pt x="216" y="489"/>
                  </a:lnTo>
                  <a:lnTo>
                    <a:pt x="222" y="482"/>
                  </a:lnTo>
                  <a:lnTo>
                    <a:pt x="228" y="475"/>
                  </a:lnTo>
                  <a:lnTo>
                    <a:pt x="232" y="466"/>
                  </a:lnTo>
                  <a:lnTo>
                    <a:pt x="236" y="458"/>
                  </a:lnTo>
                  <a:lnTo>
                    <a:pt x="240" y="448"/>
                  </a:lnTo>
                  <a:lnTo>
                    <a:pt x="244" y="438"/>
                  </a:lnTo>
                  <a:lnTo>
                    <a:pt x="248" y="428"/>
                  </a:lnTo>
                  <a:lnTo>
                    <a:pt x="253" y="420"/>
                  </a:lnTo>
                  <a:lnTo>
                    <a:pt x="256" y="410"/>
                  </a:lnTo>
                  <a:lnTo>
                    <a:pt x="258" y="401"/>
                  </a:lnTo>
                  <a:lnTo>
                    <a:pt x="259" y="392"/>
                  </a:lnTo>
                  <a:lnTo>
                    <a:pt x="259" y="383"/>
                  </a:lnTo>
                  <a:lnTo>
                    <a:pt x="258" y="373"/>
                  </a:lnTo>
                  <a:lnTo>
                    <a:pt x="256" y="365"/>
                  </a:lnTo>
                  <a:lnTo>
                    <a:pt x="253" y="356"/>
                  </a:lnTo>
                  <a:lnTo>
                    <a:pt x="247" y="347"/>
                  </a:lnTo>
                  <a:lnTo>
                    <a:pt x="185" y="255"/>
                  </a:lnTo>
                  <a:lnTo>
                    <a:pt x="255" y="185"/>
                  </a:lnTo>
                  <a:lnTo>
                    <a:pt x="348" y="247"/>
                  </a:lnTo>
                  <a:lnTo>
                    <a:pt x="357" y="252"/>
                  </a:lnTo>
                  <a:lnTo>
                    <a:pt x="367" y="257"/>
                  </a:lnTo>
                  <a:lnTo>
                    <a:pt x="378" y="259"/>
                  </a:lnTo>
                  <a:lnTo>
                    <a:pt x="388" y="260"/>
                  </a:lnTo>
                  <a:lnTo>
                    <a:pt x="396" y="259"/>
                  </a:lnTo>
                  <a:lnTo>
                    <a:pt x="404" y="258"/>
                  </a:lnTo>
                  <a:lnTo>
                    <a:pt x="411" y="256"/>
                  </a:lnTo>
                  <a:lnTo>
                    <a:pt x="419" y="252"/>
                  </a:lnTo>
                  <a:lnTo>
                    <a:pt x="429" y="248"/>
                  </a:lnTo>
                  <a:lnTo>
                    <a:pt x="438" y="244"/>
                  </a:lnTo>
                  <a:lnTo>
                    <a:pt x="448" y="239"/>
                  </a:lnTo>
                  <a:lnTo>
                    <a:pt x="458" y="236"/>
                  </a:lnTo>
                  <a:lnTo>
                    <a:pt x="466" y="233"/>
                  </a:lnTo>
                  <a:lnTo>
                    <a:pt x="475" y="228"/>
                  </a:lnTo>
                  <a:lnTo>
                    <a:pt x="482" y="222"/>
                  </a:lnTo>
                  <a:lnTo>
                    <a:pt x="489" y="216"/>
                  </a:lnTo>
                  <a:lnTo>
                    <a:pt x="495" y="208"/>
                  </a:lnTo>
                  <a:lnTo>
                    <a:pt x="499" y="201"/>
                  </a:lnTo>
                  <a:lnTo>
                    <a:pt x="502" y="192"/>
                  </a:lnTo>
                  <a:lnTo>
                    <a:pt x="505" y="182"/>
                  </a:lnTo>
                  <a:lnTo>
                    <a:pt x="527" y="72"/>
                  </a:lnTo>
                  <a:lnTo>
                    <a:pt x="625" y="72"/>
                  </a:lnTo>
                  <a:lnTo>
                    <a:pt x="647" y="182"/>
                  </a:lnTo>
                  <a:lnTo>
                    <a:pt x="649" y="192"/>
                  </a:lnTo>
                  <a:lnTo>
                    <a:pt x="653" y="201"/>
                  </a:lnTo>
                  <a:lnTo>
                    <a:pt x="658" y="208"/>
                  </a:lnTo>
                  <a:lnTo>
                    <a:pt x="663" y="216"/>
                  </a:lnTo>
                  <a:lnTo>
                    <a:pt x="670" y="222"/>
                  </a:lnTo>
                  <a:lnTo>
                    <a:pt x="677" y="228"/>
                  </a:lnTo>
                  <a:lnTo>
                    <a:pt x="686" y="233"/>
                  </a:lnTo>
                  <a:lnTo>
                    <a:pt x="694" y="236"/>
                  </a:lnTo>
                  <a:lnTo>
                    <a:pt x="704" y="239"/>
                  </a:lnTo>
                  <a:lnTo>
                    <a:pt x="714" y="244"/>
                  </a:lnTo>
                  <a:lnTo>
                    <a:pt x="724" y="248"/>
                  </a:lnTo>
                  <a:lnTo>
                    <a:pt x="732" y="252"/>
                  </a:lnTo>
                  <a:lnTo>
                    <a:pt x="741" y="256"/>
                  </a:lnTo>
                  <a:lnTo>
                    <a:pt x="748" y="258"/>
                  </a:lnTo>
                  <a:lnTo>
                    <a:pt x="756" y="259"/>
                  </a:lnTo>
                  <a:lnTo>
                    <a:pt x="765" y="260"/>
                  </a:lnTo>
                  <a:lnTo>
                    <a:pt x="774" y="259"/>
                  </a:lnTo>
                  <a:lnTo>
                    <a:pt x="785" y="257"/>
                  </a:lnTo>
                  <a:lnTo>
                    <a:pt x="795" y="252"/>
                  </a:lnTo>
                  <a:lnTo>
                    <a:pt x="805" y="247"/>
                  </a:lnTo>
                  <a:lnTo>
                    <a:pt x="897" y="185"/>
                  </a:lnTo>
                  <a:lnTo>
                    <a:pt x="967" y="255"/>
                  </a:lnTo>
                  <a:lnTo>
                    <a:pt x="905" y="347"/>
                  </a:lnTo>
                  <a:lnTo>
                    <a:pt x="900" y="356"/>
                  </a:lnTo>
                  <a:lnTo>
                    <a:pt x="896" y="365"/>
                  </a:lnTo>
                  <a:lnTo>
                    <a:pt x="894" y="373"/>
                  </a:lnTo>
                  <a:lnTo>
                    <a:pt x="893" y="383"/>
                  </a:lnTo>
                  <a:lnTo>
                    <a:pt x="893" y="392"/>
                  </a:lnTo>
                  <a:lnTo>
                    <a:pt x="894" y="401"/>
                  </a:lnTo>
                  <a:lnTo>
                    <a:pt x="896" y="410"/>
                  </a:lnTo>
                  <a:lnTo>
                    <a:pt x="900" y="419"/>
                  </a:lnTo>
                  <a:lnTo>
                    <a:pt x="904" y="428"/>
                  </a:lnTo>
                  <a:lnTo>
                    <a:pt x="908" y="438"/>
                  </a:lnTo>
                  <a:lnTo>
                    <a:pt x="913" y="448"/>
                  </a:lnTo>
                  <a:lnTo>
                    <a:pt x="916" y="458"/>
                  </a:lnTo>
                  <a:lnTo>
                    <a:pt x="919" y="466"/>
                  </a:lnTo>
                  <a:lnTo>
                    <a:pt x="924" y="475"/>
                  </a:lnTo>
                  <a:lnTo>
                    <a:pt x="930" y="482"/>
                  </a:lnTo>
                  <a:lnTo>
                    <a:pt x="936" y="489"/>
                  </a:lnTo>
                  <a:lnTo>
                    <a:pt x="944" y="494"/>
                  </a:lnTo>
                  <a:lnTo>
                    <a:pt x="951" y="499"/>
                  </a:lnTo>
                  <a:lnTo>
                    <a:pt x="960" y="503"/>
                  </a:lnTo>
                  <a:lnTo>
                    <a:pt x="970" y="505"/>
                  </a:lnTo>
                  <a:lnTo>
                    <a:pt x="1080" y="527"/>
                  </a:lnTo>
                  <a:lnTo>
                    <a:pt x="1080" y="625"/>
                  </a:lnTo>
                  <a:lnTo>
                    <a:pt x="970" y="647"/>
                  </a:lnTo>
                  <a:close/>
                  <a:moveTo>
                    <a:pt x="1094" y="456"/>
                  </a:moveTo>
                  <a:lnTo>
                    <a:pt x="984" y="434"/>
                  </a:lnTo>
                  <a:lnTo>
                    <a:pt x="979" y="422"/>
                  </a:lnTo>
                  <a:lnTo>
                    <a:pt x="975" y="411"/>
                  </a:lnTo>
                  <a:lnTo>
                    <a:pt x="970" y="399"/>
                  </a:lnTo>
                  <a:lnTo>
                    <a:pt x="964" y="387"/>
                  </a:lnTo>
                  <a:lnTo>
                    <a:pt x="1027" y="294"/>
                  </a:lnTo>
                  <a:lnTo>
                    <a:pt x="1030" y="289"/>
                  </a:lnTo>
                  <a:lnTo>
                    <a:pt x="1033" y="283"/>
                  </a:lnTo>
                  <a:lnTo>
                    <a:pt x="1036" y="277"/>
                  </a:lnTo>
                  <a:lnTo>
                    <a:pt x="1037" y="272"/>
                  </a:lnTo>
                  <a:lnTo>
                    <a:pt x="1039" y="259"/>
                  </a:lnTo>
                  <a:lnTo>
                    <a:pt x="1039" y="247"/>
                  </a:lnTo>
                  <a:lnTo>
                    <a:pt x="1037" y="235"/>
                  </a:lnTo>
                  <a:lnTo>
                    <a:pt x="1032" y="223"/>
                  </a:lnTo>
                  <a:lnTo>
                    <a:pt x="1029" y="218"/>
                  </a:lnTo>
                  <a:lnTo>
                    <a:pt x="1026" y="213"/>
                  </a:lnTo>
                  <a:lnTo>
                    <a:pt x="1023" y="208"/>
                  </a:lnTo>
                  <a:lnTo>
                    <a:pt x="1018" y="204"/>
                  </a:lnTo>
                  <a:lnTo>
                    <a:pt x="948" y="134"/>
                  </a:lnTo>
                  <a:lnTo>
                    <a:pt x="943" y="129"/>
                  </a:lnTo>
                  <a:lnTo>
                    <a:pt x="937" y="125"/>
                  </a:lnTo>
                  <a:lnTo>
                    <a:pt x="931" y="122"/>
                  </a:lnTo>
                  <a:lnTo>
                    <a:pt x="925" y="118"/>
                  </a:lnTo>
                  <a:lnTo>
                    <a:pt x="918" y="116"/>
                  </a:lnTo>
                  <a:lnTo>
                    <a:pt x="911" y="114"/>
                  </a:lnTo>
                  <a:lnTo>
                    <a:pt x="905" y="113"/>
                  </a:lnTo>
                  <a:lnTo>
                    <a:pt x="897" y="113"/>
                  </a:lnTo>
                  <a:lnTo>
                    <a:pt x="888" y="114"/>
                  </a:lnTo>
                  <a:lnTo>
                    <a:pt x="877" y="116"/>
                  </a:lnTo>
                  <a:lnTo>
                    <a:pt x="867" y="120"/>
                  </a:lnTo>
                  <a:lnTo>
                    <a:pt x="857" y="125"/>
                  </a:lnTo>
                  <a:lnTo>
                    <a:pt x="765" y="188"/>
                  </a:lnTo>
                  <a:lnTo>
                    <a:pt x="753" y="182"/>
                  </a:lnTo>
                  <a:lnTo>
                    <a:pt x="741" y="177"/>
                  </a:lnTo>
                  <a:lnTo>
                    <a:pt x="730" y="172"/>
                  </a:lnTo>
                  <a:lnTo>
                    <a:pt x="718" y="168"/>
                  </a:lnTo>
                  <a:lnTo>
                    <a:pt x="695" y="58"/>
                  </a:lnTo>
                  <a:lnTo>
                    <a:pt x="694" y="51"/>
                  </a:lnTo>
                  <a:lnTo>
                    <a:pt x="692" y="46"/>
                  </a:lnTo>
                  <a:lnTo>
                    <a:pt x="689" y="40"/>
                  </a:lnTo>
                  <a:lnTo>
                    <a:pt x="687" y="34"/>
                  </a:lnTo>
                  <a:lnTo>
                    <a:pt x="679" y="24"/>
                  </a:lnTo>
                  <a:lnTo>
                    <a:pt x="671" y="16"/>
                  </a:lnTo>
                  <a:lnTo>
                    <a:pt x="661" y="9"/>
                  </a:lnTo>
                  <a:lnTo>
                    <a:pt x="649" y="4"/>
                  </a:lnTo>
                  <a:lnTo>
                    <a:pt x="644" y="3"/>
                  </a:lnTo>
                  <a:lnTo>
                    <a:pt x="637" y="1"/>
                  </a:lnTo>
                  <a:lnTo>
                    <a:pt x="632" y="1"/>
                  </a:lnTo>
                  <a:lnTo>
                    <a:pt x="625" y="0"/>
                  </a:lnTo>
                  <a:lnTo>
                    <a:pt x="527" y="0"/>
                  </a:lnTo>
                  <a:lnTo>
                    <a:pt x="520" y="1"/>
                  </a:lnTo>
                  <a:lnTo>
                    <a:pt x="514" y="1"/>
                  </a:lnTo>
                  <a:lnTo>
                    <a:pt x="509" y="3"/>
                  </a:lnTo>
                  <a:lnTo>
                    <a:pt x="502" y="4"/>
                  </a:lnTo>
                  <a:lnTo>
                    <a:pt x="491" y="9"/>
                  </a:lnTo>
                  <a:lnTo>
                    <a:pt x="482" y="16"/>
                  </a:lnTo>
                  <a:lnTo>
                    <a:pt x="473" y="24"/>
                  </a:lnTo>
                  <a:lnTo>
                    <a:pt x="465" y="34"/>
                  </a:lnTo>
                  <a:lnTo>
                    <a:pt x="462" y="40"/>
                  </a:lnTo>
                  <a:lnTo>
                    <a:pt x="460" y="46"/>
                  </a:lnTo>
                  <a:lnTo>
                    <a:pt x="458" y="51"/>
                  </a:lnTo>
                  <a:lnTo>
                    <a:pt x="457" y="58"/>
                  </a:lnTo>
                  <a:lnTo>
                    <a:pt x="434" y="168"/>
                  </a:lnTo>
                  <a:lnTo>
                    <a:pt x="422" y="172"/>
                  </a:lnTo>
                  <a:lnTo>
                    <a:pt x="410" y="177"/>
                  </a:lnTo>
                  <a:lnTo>
                    <a:pt x="400" y="182"/>
                  </a:lnTo>
                  <a:lnTo>
                    <a:pt x="388" y="188"/>
                  </a:lnTo>
                  <a:lnTo>
                    <a:pt x="295" y="125"/>
                  </a:lnTo>
                  <a:lnTo>
                    <a:pt x="285" y="120"/>
                  </a:lnTo>
                  <a:lnTo>
                    <a:pt x="275" y="116"/>
                  </a:lnTo>
                  <a:lnTo>
                    <a:pt x="265" y="114"/>
                  </a:lnTo>
                  <a:lnTo>
                    <a:pt x="255" y="113"/>
                  </a:lnTo>
                  <a:lnTo>
                    <a:pt x="247" y="113"/>
                  </a:lnTo>
                  <a:lnTo>
                    <a:pt x="241" y="114"/>
                  </a:lnTo>
                  <a:lnTo>
                    <a:pt x="233" y="116"/>
                  </a:lnTo>
                  <a:lnTo>
                    <a:pt x="227" y="118"/>
                  </a:lnTo>
                  <a:lnTo>
                    <a:pt x="220" y="122"/>
                  </a:lnTo>
                  <a:lnTo>
                    <a:pt x="215" y="125"/>
                  </a:lnTo>
                  <a:lnTo>
                    <a:pt x="208" y="129"/>
                  </a:lnTo>
                  <a:lnTo>
                    <a:pt x="203" y="134"/>
                  </a:lnTo>
                  <a:lnTo>
                    <a:pt x="134" y="204"/>
                  </a:lnTo>
                  <a:lnTo>
                    <a:pt x="130" y="208"/>
                  </a:lnTo>
                  <a:lnTo>
                    <a:pt x="126" y="213"/>
                  </a:lnTo>
                  <a:lnTo>
                    <a:pt x="123" y="218"/>
                  </a:lnTo>
                  <a:lnTo>
                    <a:pt x="120" y="223"/>
                  </a:lnTo>
                  <a:lnTo>
                    <a:pt x="115" y="235"/>
                  </a:lnTo>
                  <a:lnTo>
                    <a:pt x="113" y="247"/>
                  </a:lnTo>
                  <a:lnTo>
                    <a:pt x="113" y="259"/>
                  </a:lnTo>
                  <a:lnTo>
                    <a:pt x="115" y="272"/>
                  </a:lnTo>
                  <a:lnTo>
                    <a:pt x="117" y="277"/>
                  </a:lnTo>
                  <a:lnTo>
                    <a:pt x="119" y="283"/>
                  </a:lnTo>
                  <a:lnTo>
                    <a:pt x="122" y="289"/>
                  </a:lnTo>
                  <a:lnTo>
                    <a:pt x="125" y="294"/>
                  </a:lnTo>
                  <a:lnTo>
                    <a:pt x="188" y="387"/>
                  </a:lnTo>
                  <a:lnTo>
                    <a:pt x="182" y="399"/>
                  </a:lnTo>
                  <a:lnTo>
                    <a:pt x="177" y="411"/>
                  </a:lnTo>
                  <a:lnTo>
                    <a:pt x="173" y="422"/>
                  </a:lnTo>
                  <a:lnTo>
                    <a:pt x="168" y="434"/>
                  </a:lnTo>
                  <a:lnTo>
                    <a:pt x="58" y="456"/>
                  </a:lnTo>
                  <a:lnTo>
                    <a:pt x="52" y="458"/>
                  </a:lnTo>
                  <a:lnTo>
                    <a:pt x="45" y="460"/>
                  </a:lnTo>
                  <a:lnTo>
                    <a:pt x="40" y="463"/>
                  </a:lnTo>
                  <a:lnTo>
                    <a:pt x="34" y="465"/>
                  </a:lnTo>
                  <a:lnTo>
                    <a:pt x="25" y="473"/>
                  </a:lnTo>
                  <a:lnTo>
                    <a:pt x="16" y="481"/>
                  </a:lnTo>
                  <a:lnTo>
                    <a:pt x="10" y="491"/>
                  </a:lnTo>
                  <a:lnTo>
                    <a:pt x="4" y="503"/>
                  </a:lnTo>
                  <a:lnTo>
                    <a:pt x="2" y="508"/>
                  </a:lnTo>
                  <a:lnTo>
                    <a:pt x="1" y="515"/>
                  </a:lnTo>
                  <a:lnTo>
                    <a:pt x="0" y="520"/>
                  </a:lnTo>
                  <a:lnTo>
                    <a:pt x="0" y="527"/>
                  </a:lnTo>
                  <a:lnTo>
                    <a:pt x="0" y="625"/>
                  </a:lnTo>
                  <a:lnTo>
                    <a:pt x="0" y="631"/>
                  </a:lnTo>
                  <a:lnTo>
                    <a:pt x="1" y="638"/>
                  </a:lnTo>
                  <a:lnTo>
                    <a:pt x="2" y="643"/>
                  </a:lnTo>
                  <a:lnTo>
                    <a:pt x="4" y="650"/>
                  </a:lnTo>
                  <a:lnTo>
                    <a:pt x="10" y="661"/>
                  </a:lnTo>
                  <a:lnTo>
                    <a:pt x="16" y="670"/>
                  </a:lnTo>
                  <a:lnTo>
                    <a:pt x="25" y="679"/>
                  </a:lnTo>
                  <a:lnTo>
                    <a:pt x="34" y="687"/>
                  </a:lnTo>
                  <a:lnTo>
                    <a:pt x="40" y="690"/>
                  </a:lnTo>
                  <a:lnTo>
                    <a:pt x="45" y="692"/>
                  </a:lnTo>
                  <a:lnTo>
                    <a:pt x="52" y="694"/>
                  </a:lnTo>
                  <a:lnTo>
                    <a:pt x="58" y="695"/>
                  </a:lnTo>
                  <a:lnTo>
                    <a:pt x="168" y="718"/>
                  </a:lnTo>
                  <a:lnTo>
                    <a:pt x="173" y="730"/>
                  </a:lnTo>
                  <a:lnTo>
                    <a:pt x="177" y="742"/>
                  </a:lnTo>
                  <a:lnTo>
                    <a:pt x="182" y="752"/>
                  </a:lnTo>
                  <a:lnTo>
                    <a:pt x="188" y="764"/>
                  </a:lnTo>
                  <a:lnTo>
                    <a:pt x="125" y="858"/>
                  </a:lnTo>
                  <a:lnTo>
                    <a:pt x="122" y="864"/>
                  </a:lnTo>
                  <a:lnTo>
                    <a:pt x="119" y="869"/>
                  </a:lnTo>
                  <a:lnTo>
                    <a:pt x="117" y="874"/>
                  </a:lnTo>
                  <a:lnTo>
                    <a:pt x="115" y="881"/>
                  </a:lnTo>
                  <a:lnTo>
                    <a:pt x="113" y="893"/>
                  </a:lnTo>
                  <a:lnTo>
                    <a:pt x="113" y="905"/>
                  </a:lnTo>
                  <a:lnTo>
                    <a:pt x="115" y="917"/>
                  </a:lnTo>
                  <a:lnTo>
                    <a:pt x="120" y="928"/>
                  </a:lnTo>
                  <a:lnTo>
                    <a:pt x="123" y="934"/>
                  </a:lnTo>
                  <a:lnTo>
                    <a:pt x="126" y="939"/>
                  </a:lnTo>
                  <a:lnTo>
                    <a:pt x="130" y="944"/>
                  </a:lnTo>
                  <a:lnTo>
                    <a:pt x="134" y="949"/>
                  </a:lnTo>
                  <a:lnTo>
                    <a:pt x="203" y="1018"/>
                  </a:lnTo>
                  <a:lnTo>
                    <a:pt x="208" y="1022"/>
                  </a:lnTo>
                  <a:lnTo>
                    <a:pt x="215" y="1027"/>
                  </a:lnTo>
                  <a:lnTo>
                    <a:pt x="220" y="1031"/>
                  </a:lnTo>
                  <a:lnTo>
                    <a:pt x="227" y="1033"/>
                  </a:lnTo>
                  <a:lnTo>
                    <a:pt x="233" y="1036"/>
                  </a:lnTo>
                  <a:lnTo>
                    <a:pt x="241" y="1038"/>
                  </a:lnTo>
                  <a:lnTo>
                    <a:pt x="247" y="1039"/>
                  </a:lnTo>
                  <a:lnTo>
                    <a:pt x="255" y="1039"/>
                  </a:lnTo>
                  <a:lnTo>
                    <a:pt x="265" y="1039"/>
                  </a:lnTo>
                  <a:lnTo>
                    <a:pt x="275" y="1036"/>
                  </a:lnTo>
                  <a:lnTo>
                    <a:pt x="285" y="1032"/>
                  </a:lnTo>
                  <a:lnTo>
                    <a:pt x="295" y="1027"/>
                  </a:lnTo>
                  <a:lnTo>
                    <a:pt x="388" y="964"/>
                  </a:lnTo>
                  <a:lnTo>
                    <a:pt x="400" y="969"/>
                  </a:lnTo>
                  <a:lnTo>
                    <a:pt x="410" y="975"/>
                  </a:lnTo>
                  <a:lnTo>
                    <a:pt x="422" y="979"/>
                  </a:lnTo>
                  <a:lnTo>
                    <a:pt x="434" y="984"/>
                  </a:lnTo>
                  <a:lnTo>
                    <a:pt x="457" y="1094"/>
                  </a:lnTo>
                  <a:lnTo>
                    <a:pt x="458" y="1100"/>
                  </a:lnTo>
                  <a:lnTo>
                    <a:pt x="460" y="1107"/>
                  </a:lnTo>
                  <a:lnTo>
                    <a:pt x="462" y="1112"/>
                  </a:lnTo>
                  <a:lnTo>
                    <a:pt x="465" y="1117"/>
                  </a:lnTo>
                  <a:lnTo>
                    <a:pt x="473" y="1127"/>
                  </a:lnTo>
                  <a:lnTo>
                    <a:pt x="482" y="1136"/>
                  </a:lnTo>
                  <a:lnTo>
                    <a:pt x="491" y="1142"/>
                  </a:lnTo>
                  <a:lnTo>
                    <a:pt x="502" y="1148"/>
                  </a:lnTo>
                  <a:lnTo>
                    <a:pt x="509" y="1150"/>
                  </a:lnTo>
                  <a:lnTo>
                    <a:pt x="514" y="1151"/>
                  </a:lnTo>
                  <a:lnTo>
                    <a:pt x="520" y="1152"/>
                  </a:lnTo>
                  <a:lnTo>
                    <a:pt x="527" y="1152"/>
                  </a:lnTo>
                  <a:lnTo>
                    <a:pt x="625" y="1152"/>
                  </a:lnTo>
                  <a:lnTo>
                    <a:pt x="632" y="1152"/>
                  </a:lnTo>
                  <a:lnTo>
                    <a:pt x="637" y="1151"/>
                  </a:lnTo>
                  <a:lnTo>
                    <a:pt x="644" y="1150"/>
                  </a:lnTo>
                  <a:lnTo>
                    <a:pt x="649" y="1148"/>
                  </a:lnTo>
                  <a:lnTo>
                    <a:pt x="661" y="1142"/>
                  </a:lnTo>
                  <a:lnTo>
                    <a:pt x="671" y="1136"/>
                  </a:lnTo>
                  <a:lnTo>
                    <a:pt x="679" y="1127"/>
                  </a:lnTo>
                  <a:lnTo>
                    <a:pt x="687" y="1117"/>
                  </a:lnTo>
                  <a:lnTo>
                    <a:pt x="689" y="1112"/>
                  </a:lnTo>
                  <a:lnTo>
                    <a:pt x="692" y="1107"/>
                  </a:lnTo>
                  <a:lnTo>
                    <a:pt x="694" y="1100"/>
                  </a:lnTo>
                  <a:lnTo>
                    <a:pt x="695" y="1094"/>
                  </a:lnTo>
                  <a:lnTo>
                    <a:pt x="718" y="984"/>
                  </a:lnTo>
                  <a:lnTo>
                    <a:pt x="730" y="979"/>
                  </a:lnTo>
                  <a:lnTo>
                    <a:pt x="741" y="975"/>
                  </a:lnTo>
                  <a:lnTo>
                    <a:pt x="753" y="969"/>
                  </a:lnTo>
                  <a:lnTo>
                    <a:pt x="765" y="964"/>
                  </a:lnTo>
                  <a:lnTo>
                    <a:pt x="857" y="1027"/>
                  </a:lnTo>
                  <a:lnTo>
                    <a:pt x="867" y="1032"/>
                  </a:lnTo>
                  <a:lnTo>
                    <a:pt x="877" y="1036"/>
                  </a:lnTo>
                  <a:lnTo>
                    <a:pt x="888" y="1039"/>
                  </a:lnTo>
                  <a:lnTo>
                    <a:pt x="897" y="1039"/>
                  </a:lnTo>
                  <a:lnTo>
                    <a:pt x="905" y="1039"/>
                  </a:lnTo>
                  <a:lnTo>
                    <a:pt x="911" y="1038"/>
                  </a:lnTo>
                  <a:lnTo>
                    <a:pt x="918" y="1036"/>
                  </a:lnTo>
                  <a:lnTo>
                    <a:pt x="925" y="1033"/>
                  </a:lnTo>
                  <a:lnTo>
                    <a:pt x="931" y="1031"/>
                  </a:lnTo>
                  <a:lnTo>
                    <a:pt x="937" y="1027"/>
                  </a:lnTo>
                  <a:lnTo>
                    <a:pt x="943" y="1022"/>
                  </a:lnTo>
                  <a:lnTo>
                    <a:pt x="948" y="1018"/>
                  </a:lnTo>
                  <a:lnTo>
                    <a:pt x="1018" y="949"/>
                  </a:lnTo>
                  <a:lnTo>
                    <a:pt x="1023" y="944"/>
                  </a:lnTo>
                  <a:lnTo>
                    <a:pt x="1026" y="939"/>
                  </a:lnTo>
                  <a:lnTo>
                    <a:pt x="1029" y="934"/>
                  </a:lnTo>
                  <a:lnTo>
                    <a:pt x="1032" y="928"/>
                  </a:lnTo>
                  <a:lnTo>
                    <a:pt x="1037" y="917"/>
                  </a:lnTo>
                  <a:lnTo>
                    <a:pt x="1039" y="905"/>
                  </a:lnTo>
                  <a:lnTo>
                    <a:pt x="1039" y="893"/>
                  </a:lnTo>
                  <a:lnTo>
                    <a:pt x="1037" y="881"/>
                  </a:lnTo>
                  <a:lnTo>
                    <a:pt x="1036" y="874"/>
                  </a:lnTo>
                  <a:lnTo>
                    <a:pt x="1033" y="869"/>
                  </a:lnTo>
                  <a:lnTo>
                    <a:pt x="1030" y="864"/>
                  </a:lnTo>
                  <a:lnTo>
                    <a:pt x="1027" y="858"/>
                  </a:lnTo>
                  <a:lnTo>
                    <a:pt x="964" y="764"/>
                  </a:lnTo>
                  <a:lnTo>
                    <a:pt x="970" y="752"/>
                  </a:lnTo>
                  <a:lnTo>
                    <a:pt x="975" y="742"/>
                  </a:lnTo>
                  <a:lnTo>
                    <a:pt x="979" y="730"/>
                  </a:lnTo>
                  <a:lnTo>
                    <a:pt x="984" y="718"/>
                  </a:lnTo>
                  <a:lnTo>
                    <a:pt x="1094" y="695"/>
                  </a:lnTo>
                  <a:lnTo>
                    <a:pt x="1100" y="694"/>
                  </a:lnTo>
                  <a:lnTo>
                    <a:pt x="1106" y="692"/>
                  </a:lnTo>
                  <a:lnTo>
                    <a:pt x="1112" y="690"/>
                  </a:lnTo>
                  <a:lnTo>
                    <a:pt x="1118" y="687"/>
                  </a:lnTo>
                  <a:lnTo>
                    <a:pt x="1127" y="679"/>
                  </a:lnTo>
                  <a:lnTo>
                    <a:pt x="1136" y="670"/>
                  </a:lnTo>
                  <a:lnTo>
                    <a:pt x="1143" y="661"/>
                  </a:lnTo>
                  <a:lnTo>
                    <a:pt x="1148" y="650"/>
                  </a:lnTo>
                  <a:lnTo>
                    <a:pt x="1149" y="643"/>
                  </a:lnTo>
                  <a:lnTo>
                    <a:pt x="1151" y="638"/>
                  </a:lnTo>
                  <a:lnTo>
                    <a:pt x="1151" y="631"/>
                  </a:lnTo>
                  <a:lnTo>
                    <a:pt x="1152" y="625"/>
                  </a:lnTo>
                  <a:lnTo>
                    <a:pt x="1152" y="527"/>
                  </a:lnTo>
                  <a:lnTo>
                    <a:pt x="1151" y="520"/>
                  </a:lnTo>
                  <a:lnTo>
                    <a:pt x="1151" y="515"/>
                  </a:lnTo>
                  <a:lnTo>
                    <a:pt x="1149" y="508"/>
                  </a:lnTo>
                  <a:lnTo>
                    <a:pt x="1148" y="503"/>
                  </a:lnTo>
                  <a:lnTo>
                    <a:pt x="1143" y="491"/>
                  </a:lnTo>
                  <a:lnTo>
                    <a:pt x="1136" y="481"/>
                  </a:lnTo>
                  <a:lnTo>
                    <a:pt x="1127" y="473"/>
                  </a:lnTo>
                  <a:lnTo>
                    <a:pt x="1118" y="465"/>
                  </a:lnTo>
                  <a:lnTo>
                    <a:pt x="1112" y="463"/>
                  </a:lnTo>
                  <a:lnTo>
                    <a:pt x="1106" y="460"/>
                  </a:lnTo>
                  <a:lnTo>
                    <a:pt x="1100" y="458"/>
                  </a:lnTo>
                  <a:lnTo>
                    <a:pt x="1094" y="4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latin typeface="+mn-lt"/>
              </a:endParaRPr>
            </a:p>
          </p:txBody>
        </p:sp>
        <p:sp>
          <p:nvSpPr>
            <p:cNvPr id="47" name="Freeform 125"/>
            <p:cNvSpPr>
              <a:spLocks noEditPoints="1"/>
            </p:cNvSpPr>
            <p:nvPr/>
          </p:nvSpPr>
          <p:spPr bwMode="auto">
            <a:xfrm>
              <a:off x="4691856" y="2882503"/>
              <a:ext cx="200025" cy="200025"/>
            </a:xfrm>
            <a:custGeom>
              <a:avLst/>
              <a:gdLst>
                <a:gd name="T0" fmla="*/ 218 w 504"/>
                <a:gd name="T1" fmla="*/ 469 h 504"/>
                <a:gd name="T2" fmla="*/ 147 w 504"/>
                <a:gd name="T3" fmla="*/ 446 h 504"/>
                <a:gd name="T4" fmla="*/ 82 w 504"/>
                <a:gd name="T5" fmla="*/ 392 h 504"/>
                <a:gd name="T6" fmla="*/ 41 w 504"/>
                <a:gd name="T7" fmla="*/ 317 h 504"/>
                <a:gd name="T8" fmla="*/ 32 w 504"/>
                <a:gd name="T9" fmla="*/ 263 h 504"/>
                <a:gd name="T10" fmla="*/ 34 w 504"/>
                <a:gd name="T11" fmla="*/ 219 h 504"/>
                <a:gd name="T12" fmla="*/ 58 w 504"/>
                <a:gd name="T13" fmla="*/ 147 h 504"/>
                <a:gd name="T14" fmla="*/ 112 w 504"/>
                <a:gd name="T15" fmla="*/ 82 h 504"/>
                <a:gd name="T16" fmla="*/ 187 w 504"/>
                <a:gd name="T17" fmla="*/ 42 h 504"/>
                <a:gd name="T18" fmla="*/ 241 w 504"/>
                <a:gd name="T19" fmla="*/ 32 h 504"/>
                <a:gd name="T20" fmla="*/ 286 w 504"/>
                <a:gd name="T21" fmla="*/ 34 h 504"/>
                <a:gd name="T22" fmla="*/ 357 w 504"/>
                <a:gd name="T23" fmla="*/ 58 h 504"/>
                <a:gd name="T24" fmla="*/ 422 w 504"/>
                <a:gd name="T25" fmla="*/ 112 h 504"/>
                <a:gd name="T26" fmla="*/ 462 w 504"/>
                <a:gd name="T27" fmla="*/ 186 h 504"/>
                <a:gd name="T28" fmla="*/ 472 w 504"/>
                <a:gd name="T29" fmla="*/ 240 h 504"/>
                <a:gd name="T30" fmla="*/ 470 w 504"/>
                <a:gd name="T31" fmla="*/ 286 h 504"/>
                <a:gd name="T32" fmla="*/ 446 w 504"/>
                <a:gd name="T33" fmla="*/ 357 h 504"/>
                <a:gd name="T34" fmla="*/ 392 w 504"/>
                <a:gd name="T35" fmla="*/ 422 h 504"/>
                <a:gd name="T36" fmla="*/ 317 w 504"/>
                <a:gd name="T37" fmla="*/ 463 h 504"/>
                <a:gd name="T38" fmla="*/ 263 w 504"/>
                <a:gd name="T39" fmla="*/ 473 h 504"/>
                <a:gd name="T40" fmla="*/ 239 w 504"/>
                <a:gd name="T41" fmla="*/ 1 h 504"/>
                <a:gd name="T42" fmla="*/ 189 w 504"/>
                <a:gd name="T43" fmla="*/ 8 h 504"/>
                <a:gd name="T44" fmla="*/ 142 w 504"/>
                <a:gd name="T45" fmla="*/ 24 h 504"/>
                <a:gd name="T46" fmla="*/ 101 w 504"/>
                <a:gd name="T47" fmla="*/ 50 h 504"/>
                <a:gd name="T48" fmla="*/ 66 w 504"/>
                <a:gd name="T49" fmla="*/ 83 h 504"/>
                <a:gd name="T50" fmla="*/ 37 w 504"/>
                <a:gd name="T51" fmla="*/ 122 h 504"/>
                <a:gd name="T52" fmla="*/ 15 w 504"/>
                <a:gd name="T53" fmla="*/ 165 h 504"/>
                <a:gd name="T54" fmla="*/ 3 w 504"/>
                <a:gd name="T55" fmla="*/ 213 h 504"/>
                <a:gd name="T56" fmla="*/ 0 w 504"/>
                <a:gd name="T57" fmla="*/ 265 h 504"/>
                <a:gd name="T58" fmla="*/ 7 w 504"/>
                <a:gd name="T59" fmla="*/ 315 h 504"/>
                <a:gd name="T60" fmla="*/ 25 w 504"/>
                <a:gd name="T61" fmla="*/ 361 h 504"/>
                <a:gd name="T62" fmla="*/ 50 w 504"/>
                <a:gd name="T63" fmla="*/ 402 h 504"/>
                <a:gd name="T64" fmla="*/ 83 w 504"/>
                <a:gd name="T65" fmla="*/ 438 h 504"/>
                <a:gd name="T66" fmla="*/ 121 w 504"/>
                <a:gd name="T67" fmla="*/ 467 h 504"/>
                <a:gd name="T68" fmla="*/ 165 w 504"/>
                <a:gd name="T69" fmla="*/ 489 h 504"/>
                <a:gd name="T70" fmla="*/ 214 w 504"/>
                <a:gd name="T71" fmla="*/ 501 h 504"/>
                <a:gd name="T72" fmla="*/ 265 w 504"/>
                <a:gd name="T73" fmla="*/ 504 h 504"/>
                <a:gd name="T74" fmla="*/ 315 w 504"/>
                <a:gd name="T75" fmla="*/ 496 h 504"/>
                <a:gd name="T76" fmla="*/ 362 w 504"/>
                <a:gd name="T77" fmla="*/ 479 h 504"/>
                <a:gd name="T78" fmla="*/ 403 w 504"/>
                <a:gd name="T79" fmla="*/ 454 h 504"/>
                <a:gd name="T80" fmla="*/ 438 w 504"/>
                <a:gd name="T81" fmla="*/ 421 h 504"/>
                <a:gd name="T82" fmla="*/ 468 w 504"/>
                <a:gd name="T83" fmla="*/ 383 h 504"/>
                <a:gd name="T84" fmla="*/ 489 w 504"/>
                <a:gd name="T85" fmla="*/ 339 h 504"/>
                <a:gd name="T86" fmla="*/ 501 w 504"/>
                <a:gd name="T87" fmla="*/ 290 h 504"/>
                <a:gd name="T88" fmla="*/ 503 w 504"/>
                <a:gd name="T89" fmla="*/ 239 h 504"/>
                <a:gd name="T90" fmla="*/ 496 w 504"/>
                <a:gd name="T91" fmla="*/ 189 h 504"/>
                <a:gd name="T92" fmla="*/ 479 w 504"/>
                <a:gd name="T93" fmla="*/ 142 h 504"/>
                <a:gd name="T94" fmla="*/ 454 w 504"/>
                <a:gd name="T95" fmla="*/ 101 h 504"/>
                <a:gd name="T96" fmla="*/ 421 w 504"/>
                <a:gd name="T97" fmla="*/ 66 h 504"/>
                <a:gd name="T98" fmla="*/ 382 w 504"/>
                <a:gd name="T99" fmla="*/ 36 h 504"/>
                <a:gd name="T100" fmla="*/ 339 w 504"/>
                <a:gd name="T101" fmla="*/ 15 h 504"/>
                <a:gd name="T102" fmla="*/ 290 w 504"/>
                <a:gd name="T103" fmla="*/ 3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4" h="504">
                  <a:moveTo>
                    <a:pt x="252" y="473"/>
                  </a:moveTo>
                  <a:lnTo>
                    <a:pt x="241" y="473"/>
                  </a:lnTo>
                  <a:lnTo>
                    <a:pt x="230" y="472"/>
                  </a:lnTo>
                  <a:lnTo>
                    <a:pt x="218" y="469"/>
                  </a:lnTo>
                  <a:lnTo>
                    <a:pt x="207" y="468"/>
                  </a:lnTo>
                  <a:lnTo>
                    <a:pt x="187" y="463"/>
                  </a:lnTo>
                  <a:lnTo>
                    <a:pt x="166" y="455"/>
                  </a:lnTo>
                  <a:lnTo>
                    <a:pt x="147" y="446"/>
                  </a:lnTo>
                  <a:lnTo>
                    <a:pt x="128" y="435"/>
                  </a:lnTo>
                  <a:lnTo>
                    <a:pt x="112" y="422"/>
                  </a:lnTo>
                  <a:lnTo>
                    <a:pt x="96" y="408"/>
                  </a:lnTo>
                  <a:lnTo>
                    <a:pt x="82" y="392"/>
                  </a:lnTo>
                  <a:lnTo>
                    <a:pt x="69" y="375"/>
                  </a:lnTo>
                  <a:lnTo>
                    <a:pt x="58" y="357"/>
                  </a:lnTo>
                  <a:lnTo>
                    <a:pt x="49" y="338"/>
                  </a:lnTo>
                  <a:lnTo>
                    <a:pt x="41" y="317"/>
                  </a:lnTo>
                  <a:lnTo>
                    <a:pt x="36" y="297"/>
                  </a:lnTo>
                  <a:lnTo>
                    <a:pt x="34" y="286"/>
                  </a:lnTo>
                  <a:lnTo>
                    <a:pt x="32" y="274"/>
                  </a:lnTo>
                  <a:lnTo>
                    <a:pt x="32" y="263"/>
                  </a:lnTo>
                  <a:lnTo>
                    <a:pt x="31" y="252"/>
                  </a:lnTo>
                  <a:lnTo>
                    <a:pt x="32" y="240"/>
                  </a:lnTo>
                  <a:lnTo>
                    <a:pt x="32" y="230"/>
                  </a:lnTo>
                  <a:lnTo>
                    <a:pt x="34" y="219"/>
                  </a:lnTo>
                  <a:lnTo>
                    <a:pt x="36" y="207"/>
                  </a:lnTo>
                  <a:lnTo>
                    <a:pt x="41" y="186"/>
                  </a:lnTo>
                  <a:lnTo>
                    <a:pt x="49" y="166"/>
                  </a:lnTo>
                  <a:lnTo>
                    <a:pt x="58" y="147"/>
                  </a:lnTo>
                  <a:lnTo>
                    <a:pt x="69" y="128"/>
                  </a:lnTo>
                  <a:lnTo>
                    <a:pt x="82" y="112"/>
                  </a:lnTo>
                  <a:lnTo>
                    <a:pt x="96" y="96"/>
                  </a:lnTo>
                  <a:lnTo>
                    <a:pt x="112" y="82"/>
                  </a:lnTo>
                  <a:lnTo>
                    <a:pt x="128" y="69"/>
                  </a:lnTo>
                  <a:lnTo>
                    <a:pt x="147" y="58"/>
                  </a:lnTo>
                  <a:lnTo>
                    <a:pt x="166" y="49"/>
                  </a:lnTo>
                  <a:lnTo>
                    <a:pt x="187" y="42"/>
                  </a:lnTo>
                  <a:lnTo>
                    <a:pt x="207" y="36"/>
                  </a:lnTo>
                  <a:lnTo>
                    <a:pt x="218" y="34"/>
                  </a:lnTo>
                  <a:lnTo>
                    <a:pt x="230" y="33"/>
                  </a:lnTo>
                  <a:lnTo>
                    <a:pt x="241" y="32"/>
                  </a:lnTo>
                  <a:lnTo>
                    <a:pt x="252" y="31"/>
                  </a:lnTo>
                  <a:lnTo>
                    <a:pt x="263" y="32"/>
                  </a:lnTo>
                  <a:lnTo>
                    <a:pt x="274" y="33"/>
                  </a:lnTo>
                  <a:lnTo>
                    <a:pt x="286" y="34"/>
                  </a:lnTo>
                  <a:lnTo>
                    <a:pt x="297" y="36"/>
                  </a:lnTo>
                  <a:lnTo>
                    <a:pt x="317" y="42"/>
                  </a:lnTo>
                  <a:lnTo>
                    <a:pt x="338" y="49"/>
                  </a:lnTo>
                  <a:lnTo>
                    <a:pt x="357" y="58"/>
                  </a:lnTo>
                  <a:lnTo>
                    <a:pt x="376" y="69"/>
                  </a:lnTo>
                  <a:lnTo>
                    <a:pt x="392" y="82"/>
                  </a:lnTo>
                  <a:lnTo>
                    <a:pt x="408" y="96"/>
                  </a:lnTo>
                  <a:lnTo>
                    <a:pt x="422" y="112"/>
                  </a:lnTo>
                  <a:lnTo>
                    <a:pt x="435" y="128"/>
                  </a:lnTo>
                  <a:lnTo>
                    <a:pt x="446" y="147"/>
                  </a:lnTo>
                  <a:lnTo>
                    <a:pt x="456" y="166"/>
                  </a:lnTo>
                  <a:lnTo>
                    <a:pt x="462" y="186"/>
                  </a:lnTo>
                  <a:lnTo>
                    <a:pt x="468" y="207"/>
                  </a:lnTo>
                  <a:lnTo>
                    <a:pt x="470" y="219"/>
                  </a:lnTo>
                  <a:lnTo>
                    <a:pt x="472" y="230"/>
                  </a:lnTo>
                  <a:lnTo>
                    <a:pt x="472" y="240"/>
                  </a:lnTo>
                  <a:lnTo>
                    <a:pt x="473" y="252"/>
                  </a:lnTo>
                  <a:lnTo>
                    <a:pt x="472" y="263"/>
                  </a:lnTo>
                  <a:lnTo>
                    <a:pt x="472" y="274"/>
                  </a:lnTo>
                  <a:lnTo>
                    <a:pt x="470" y="286"/>
                  </a:lnTo>
                  <a:lnTo>
                    <a:pt x="468" y="297"/>
                  </a:lnTo>
                  <a:lnTo>
                    <a:pt x="462" y="317"/>
                  </a:lnTo>
                  <a:lnTo>
                    <a:pt x="456" y="338"/>
                  </a:lnTo>
                  <a:lnTo>
                    <a:pt x="446" y="357"/>
                  </a:lnTo>
                  <a:lnTo>
                    <a:pt x="435" y="375"/>
                  </a:lnTo>
                  <a:lnTo>
                    <a:pt x="422" y="392"/>
                  </a:lnTo>
                  <a:lnTo>
                    <a:pt x="408" y="408"/>
                  </a:lnTo>
                  <a:lnTo>
                    <a:pt x="392" y="422"/>
                  </a:lnTo>
                  <a:lnTo>
                    <a:pt x="376" y="435"/>
                  </a:lnTo>
                  <a:lnTo>
                    <a:pt x="357" y="446"/>
                  </a:lnTo>
                  <a:lnTo>
                    <a:pt x="338" y="455"/>
                  </a:lnTo>
                  <a:lnTo>
                    <a:pt x="317" y="463"/>
                  </a:lnTo>
                  <a:lnTo>
                    <a:pt x="297" y="468"/>
                  </a:lnTo>
                  <a:lnTo>
                    <a:pt x="286" y="469"/>
                  </a:lnTo>
                  <a:lnTo>
                    <a:pt x="274" y="472"/>
                  </a:lnTo>
                  <a:lnTo>
                    <a:pt x="263" y="473"/>
                  </a:lnTo>
                  <a:lnTo>
                    <a:pt x="252" y="473"/>
                  </a:lnTo>
                  <a:lnTo>
                    <a:pt x="252" y="473"/>
                  </a:lnTo>
                  <a:close/>
                  <a:moveTo>
                    <a:pt x="252" y="0"/>
                  </a:moveTo>
                  <a:lnTo>
                    <a:pt x="239" y="1"/>
                  </a:lnTo>
                  <a:lnTo>
                    <a:pt x="227" y="1"/>
                  </a:lnTo>
                  <a:lnTo>
                    <a:pt x="214" y="3"/>
                  </a:lnTo>
                  <a:lnTo>
                    <a:pt x="201" y="5"/>
                  </a:lnTo>
                  <a:lnTo>
                    <a:pt x="189" y="8"/>
                  </a:lnTo>
                  <a:lnTo>
                    <a:pt x="177" y="12"/>
                  </a:lnTo>
                  <a:lnTo>
                    <a:pt x="165" y="15"/>
                  </a:lnTo>
                  <a:lnTo>
                    <a:pt x="154" y="20"/>
                  </a:lnTo>
                  <a:lnTo>
                    <a:pt x="142" y="24"/>
                  </a:lnTo>
                  <a:lnTo>
                    <a:pt x="132" y="30"/>
                  </a:lnTo>
                  <a:lnTo>
                    <a:pt x="121" y="36"/>
                  </a:lnTo>
                  <a:lnTo>
                    <a:pt x="111" y="43"/>
                  </a:lnTo>
                  <a:lnTo>
                    <a:pt x="101" y="50"/>
                  </a:lnTo>
                  <a:lnTo>
                    <a:pt x="92" y="58"/>
                  </a:lnTo>
                  <a:lnTo>
                    <a:pt x="83" y="66"/>
                  </a:lnTo>
                  <a:lnTo>
                    <a:pt x="73" y="74"/>
                  </a:lnTo>
                  <a:lnTo>
                    <a:pt x="66" y="83"/>
                  </a:lnTo>
                  <a:lnTo>
                    <a:pt x="57" y="91"/>
                  </a:lnTo>
                  <a:lnTo>
                    <a:pt x="50" y="101"/>
                  </a:lnTo>
                  <a:lnTo>
                    <a:pt x="43" y="111"/>
                  </a:lnTo>
                  <a:lnTo>
                    <a:pt x="37" y="122"/>
                  </a:lnTo>
                  <a:lnTo>
                    <a:pt x="30" y="131"/>
                  </a:lnTo>
                  <a:lnTo>
                    <a:pt x="25" y="142"/>
                  </a:lnTo>
                  <a:lnTo>
                    <a:pt x="19" y="154"/>
                  </a:lnTo>
                  <a:lnTo>
                    <a:pt x="15" y="165"/>
                  </a:lnTo>
                  <a:lnTo>
                    <a:pt x="12" y="177"/>
                  </a:lnTo>
                  <a:lnTo>
                    <a:pt x="7" y="189"/>
                  </a:lnTo>
                  <a:lnTo>
                    <a:pt x="5" y="202"/>
                  </a:lnTo>
                  <a:lnTo>
                    <a:pt x="3" y="213"/>
                  </a:lnTo>
                  <a:lnTo>
                    <a:pt x="1" y="226"/>
                  </a:lnTo>
                  <a:lnTo>
                    <a:pt x="0" y="239"/>
                  </a:lnTo>
                  <a:lnTo>
                    <a:pt x="0" y="252"/>
                  </a:lnTo>
                  <a:lnTo>
                    <a:pt x="0" y="265"/>
                  </a:lnTo>
                  <a:lnTo>
                    <a:pt x="1" y="277"/>
                  </a:lnTo>
                  <a:lnTo>
                    <a:pt x="3" y="290"/>
                  </a:lnTo>
                  <a:lnTo>
                    <a:pt x="5" y="303"/>
                  </a:lnTo>
                  <a:lnTo>
                    <a:pt x="7" y="315"/>
                  </a:lnTo>
                  <a:lnTo>
                    <a:pt x="12" y="327"/>
                  </a:lnTo>
                  <a:lnTo>
                    <a:pt x="15" y="339"/>
                  </a:lnTo>
                  <a:lnTo>
                    <a:pt x="19" y="350"/>
                  </a:lnTo>
                  <a:lnTo>
                    <a:pt x="25" y="361"/>
                  </a:lnTo>
                  <a:lnTo>
                    <a:pt x="30" y="372"/>
                  </a:lnTo>
                  <a:lnTo>
                    <a:pt x="37" y="383"/>
                  </a:lnTo>
                  <a:lnTo>
                    <a:pt x="43" y="393"/>
                  </a:lnTo>
                  <a:lnTo>
                    <a:pt x="50" y="402"/>
                  </a:lnTo>
                  <a:lnTo>
                    <a:pt x="57" y="412"/>
                  </a:lnTo>
                  <a:lnTo>
                    <a:pt x="66" y="421"/>
                  </a:lnTo>
                  <a:lnTo>
                    <a:pt x="73" y="431"/>
                  </a:lnTo>
                  <a:lnTo>
                    <a:pt x="83" y="438"/>
                  </a:lnTo>
                  <a:lnTo>
                    <a:pt x="92" y="447"/>
                  </a:lnTo>
                  <a:lnTo>
                    <a:pt x="101" y="454"/>
                  </a:lnTo>
                  <a:lnTo>
                    <a:pt x="111" y="461"/>
                  </a:lnTo>
                  <a:lnTo>
                    <a:pt x="121" y="467"/>
                  </a:lnTo>
                  <a:lnTo>
                    <a:pt x="132" y="474"/>
                  </a:lnTo>
                  <a:lnTo>
                    <a:pt x="142" y="479"/>
                  </a:lnTo>
                  <a:lnTo>
                    <a:pt x="154" y="485"/>
                  </a:lnTo>
                  <a:lnTo>
                    <a:pt x="165" y="489"/>
                  </a:lnTo>
                  <a:lnTo>
                    <a:pt x="177" y="492"/>
                  </a:lnTo>
                  <a:lnTo>
                    <a:pt x="189" y="496"/>
                  </a:lnTo>
                  <a:lnTo>
                    <a:pt x="201" y="499"/>
                  </a:lnTo>
                  <a:lnTo>
                    <a:pt x="214" y="501"/>
                  </a:lnTo>
                  <a:lnTo>
                    <a:pt x="227" y="503"/>
                  </a:lnTo>
                  <a:lnTo>
                    <a:pt x="239" y="504"/>
                  </a:lnTo>
                  <a:lnTo>
                    <a:pt x="252" y="504"/>
                  </a:lnTo>
                  <a:lnTo>
                    <a:pt x="265" y="504"/>
                  </a:lnTo>
                  <a:lnTo>
                    <a:pt x="277" y="503"/>
                  </a:lnTo>
                  <a:lnTo>
                    <a:pt x="290" y="501"/>
                  </a:lnTo>
                  <a:lnTo>
                    <a:pt x="302" y="499"/>
                  </a:lnTo>
                  <a:lnTo>
                    <a:pt x="315" y="496"/>
                  </a:lnTo>
                  <a:lnTo>
                    <a:pt x="327" y="492"/>
                  </a:lnTo>
                  <a:lnTo>
                    <a:pt x="339" y="489"/>
                  </a:lnTo>
                  <a:lnTo>
                    <a:pt x="350" y="485"/>
                  </a:lnTo>
                  <a:lnTo>
                    <a:pt x="362" y="479"/>
                  </a:lnTo>
                  <a:lnTo>
                    <a:pt x="373" y="474"/>
                  </a:lnTo>
                  <a:lnTo>
                    <a:pt x="382" y="467"/>
                  </a:lnTo>
                  <a:lnTo>
                    <a:pt x="393" y="461"/>
                  </a:lnTo>
                  <a:lnTo>
                    <a:pt x="403" y="454"/>
                  </a:lnTo>
                  <a:lnTo>
                    <a:pt x="412" y="447"/>
                  </a:lnTo>
                  <a:lnTo>
                    <a:pt x="421" y="438"/>
                  </a:lnTo>
                  <a:lnTo>
                    <a:pt x="430" y="431"/>
                  </a:lnTo>
                  <a:lnTo>
                    <a:pt x="438" y="421"/>
                  </a:lnTo>
                  <a:lnTo>
                    <a:pt x="446" y="412"/>
                  </a:lnTo>
                  <a:lnTo>
                    <a:pt x="454" y="402"/>
                  </a:lnTo>
                  <a:lnTo>
                    <a:pt x="461" y="393"/>
                  </a:lnTo>
                  <a:lnTo>
                    <a:pt x="468" y="383"/>
                  </a:lnTo>
                  <a:lnTo>
                    <a:pt x="474" y="372"/>
                  </a:lnTo>
                  <a:lnTo>
                    <a:pt x="479" y="361"/>
                  </a:lnTo>
                  <a:lnTo>
                    <a:pt x="484" y="350"/>
                  </a:lnTo>
                  <a:lnTo>
                    <a:pt x="489" y="339"/>
                  </a:lnTo>
                  <a:lnTo>
                    <a:pt x="492" y="327"/>
                  </a:lnTo>
                  <a:lnTo>
                    <a:pt x="496" y="315"/>
                  </a:lnTo>
                  <a:lnTo>
                    <a:pt x="499" y="303"/>
                  </a:lnTo>
                  <a:lnTo>
                    <a:pt x="501" y="290"/>
                  </a:lnTo>
                  <a:lnTo>
                    <a:pt x="503" y="277"/>
                  </a:lnTo>
                  <a:lnTo>
                    <a:pt x="503" y="265"/>
                  </a:lnTo>
                  <a:lnTo>
                    <a:pt x="504" y="252"/>
                  </a:lnTo>
                  <a:lnTo>
                    <a:pt x="503" y="239"/>
                  </a:lnTo>
                  <a:lnTo>
                    <a:pt x="503" y="226"/>
                  </a:lnTo>
                  <a:lnTo>
                    <a:pt x="501" y="213"/>
                  </a:lnTo>
                  <a:lnTo>
                    <a:pt x="499" y="202"/>
                  </a:lnTo>
                  <a:lnTo>
                    <a:pt x="496" y="189"/>
                  </a:lnTo>
                  <a:lnTo>
                    <a:pt x="492" y="177"/>
                  </a:lnTo>
                  <a:lnTo>
                    <a:pt x="489" y="165"/>
                  </a:lnTo>
                  <a:lnTo>
                    <a:pt x="484" y="154"/>
                  </a:lnTo>
                  <a:lnTo>
                    <a:pt x="479" y="142"/>
                  </a:lnTo>
                  <a:lnTo>
                    <a:pt x="474" y="131"/>
                  </a:lnTo>
                  <a:lnTo>
                    <a:pt x="468" y="122"/>
                  </a:lnTo>
                  <a:lnTo>
                    <a:pt x="461" y="111"/>
                  </a:lnTo>
                  <a:lnTo>
                    <a:pt x="454" y="101"/>
                  </a:lnTo>
                  <a:lnTo>
                    <a:pt x="446" y="91"/>
                  </a:lnTo>
                  <a:lnTo>
                    <a:pt x="438" y="83"/>
                  </a:lnTo>
                  <a:lnTo>
                    <a:pt x="430" y="74"/>
                  </a:lnTo>
                  <a:lnTo>
                    <a:pt x="421" y="66"/>
                  </a:lnTo>
                  <a:lnTo>
                    <a:pt x="412" y="58"/>
                  </a:lnTo>
                  <a:lnTo>
                    <a:pt x="403" y="50"/>
                  </a:lnTo>
                  <a:lnTo>
                    <a:pt x="393" y="43"/>
                  </a:lnTo>
                  <a:lnTo>
                    <a:pt x="382" y="36"/>
                  </a:lnTo>
                  <a:lnTo>
                    <a:pt x="373" y="30"/>
                  </a:lnTo>
                  <a:lnTo>
                    <a:pt x="362" y="24"/>
                  </a:lnTo>
                  <a:lnTo>
                    <a:pt x="350" y="20"/>
                  </a:lnTo>
                  <a:lnTo>
                    <a:pt x="339" y="15"/>
                  </a:lnTo>
                  <a:lnTo>
                    <a:pt x="327" y="12"/>
                  </a:lnTo>
                  <a:lnTo>
                    <a:pt x="315" y="8"/>
                  </a:lnTo>
                  <a:lnTo>
                    <a:pt x="302" y="5"/>
                  </a:lnTo>
                  <a:lnTo>
                    <a:pt x="290" y="3"/>
                  </a:lnTo>
                  <a:lnTo>
                    <a:pt x="277" y="1"/>
                  </a:lnTo>
                  <a:lnTo>
                    <a:pt x="265" y="1"/>
                  </a:lnTo>
                  <a:lnTo>
                    <a:pt x="2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latin typeface="+mn-lt"/>
              </a:endParaRPr>
            </a:p>
          </p:txBody>
        </p:sp>
        <p:sp>
          <p:nvSpPr>
            <p:cNvPr id="48" name="Freeform 126"/>
            <p:cNvSpPr>
              <a:spLocks noEditPoints="1"/>
            </p:cNvSpPr>
            <p:nvPr/>
          </p:nvSpPr>
          <p:spPr bwMode="auto">
            <a:xfrm>
              <a:off x="4734718" y="2925365"/>
              <a:ext cx="114300" cy="114300"/>
            </a:xfrm>
            <a:custGeom>
              <a:avLst/>
              <a:gdLst>
                <a:gd name="T0" fmla="*/ 122 w 288"/>
                <a:gd name="T1" fmla="*/ 250 h 288"/>
                <a:gd name="T2" fmla="*/ 93 w 288"/>
                <a:gd name="T3" fmla="*/ 239 h 288"/>
                <a:gd name="T4" fmla="*/ 68 w 288"/>
                <a:gd name="T5" fmla="*/ 220 h 288"/>
                <a:gd name="T6" fmla="*/ 50 w 288"/>
                <a:gd name="T7" fmla="*/ 195 h 288"/>
                <a:gd name="T8" fmla="*/ 38 w 288"/>
                <a:gd name="T9" fmla="*/ 166 h 288"/>
                <a:gd name="T10" fmla="*/ 37 w 288"/>
                <a:gd name="T11" fmla="*/ 132 h 288"/>
                <a:gd name="T12" fmla="*/ 44 w 288"/>
                <a:gd name="T13" fmla="*/ 102 h 288"/>
                <a:gd name="T14" fmla="*/ 60 w 288"/>
                <a:gd name="T15" fmla="*/ 75 h 288"/>
                <a:gd name="T16" fmla="*/ 84 w 288"/>
                <a:gd name="T17" fmla="*/ 55 h 288"/>
                <a:gd name="T18" fmla="*/ 112 w 288"/>
                <a:gd name="T19" fmla="*/ 41 h 288"/>
                <a:gd name="T20" fmla="*/ 144 w 288"/>
                <a:gd name="T21" fmla="*/ 36 h 288"/>
                <a:gd name="T22" fmla="*/ 176 w 288"/>
                <a:gd name="T23" fmla="*/ 41 h 288"/>
                <a:gd name="T24" fmla="*/ 204 w 288"/>
                <a:gd name="T25" fmla="*/ 55 h 288"/>
                <a:gd name="T26" fmla="*/ 228 w 288"/>
                <a:gd name="T27" fmla="*/ 75 h 288"/>
                <a:gd name="T28" fmla="*/ 244 w 288"/>
                <a:gd name="T29" fmla="*/ 102 h 288"/>
                <a:gd name="T30" fmla="*/ 252 w 288"/>
                <a:gd name="T31" fmla="*/ 132 h 288"/>
                <a:gd name="T32" fmla="*/ 249 w 288"/>
                <a:gd name="T33" fmla="*/ 166 h 288"/>
                <a:gd name="T34" fmla="*/ 239 w 288"/>
                <a:gd name="T35" fmla="*/ 195 h 288"/>
                <a:gd name="T36" fmla="*/ 220 w 288"/>
                <a:gd name="T37" fmla="*/ 220 h 288"/>
                <a:gd name="T38" fmla="*/ 195 w 288"/>
                <a:gd name="T39" fmla="*/ 239 h 288"/>
                <a:gd name="T40" fmla="*/ 166 w 288"/>
                <a:gd name="T41" fmla="*/ 250 h 288"/>
                <a:gd name="T42" fmla="*/ 144 w 288"/>
                <a:gd name="T43" fmla="*/ 252 h 288"/>
                <a:gd name="T44" fmla="*/ 115 w 288"/>
                <a:gd name="T45" fmla="*/ 3 h 288"/>
                <a:gd name="T46" fmla="*/ 76 w 288"/>
                <a:gd name="T47" fmla="*/ 17 h 288"/>
                <a:gd name="T48" fmla="*/ 42 w 288"/>
                <a:gd name="T49" fmla="*/ 42 h 288"/>
                <a:gd name="T50" fmla="*/ 17 w 288"/>
                <a:gd name="T51" fmla="*/ 75 h 288"/>
                <a:gd name="T52" fmla="*/ 3 w 288"/>
                <a:gd name="T53" fmla="*/ 115 h 288"/>
                <a:gd name="T54" fmla="*/ 1 w 288"/>
                <a:gd name="T55" fmla="*/ 158 h 288"/>
                <a:gd name="T56" fmla="*/ 12 w 288"/>
                <a:gd name="T57" fmla="*/ 201 h 288"/>
                <a:gd name="T58" fmla="*/ 33 w 288"/>
                <a:gd name="T59" fmla="*/ 235 h 288"/>
                <a:gd name="T60" fmla="*/ 64 w 288"/>
                <a:gd name="T61" fmla="*/ 263 h 288"/>
                <a:gd name="T62" fmla="*/ 101 w 288"/>
                <a:gd name="T63" fmla="*/ 282 h 288"/>
                <a:gd name="T64" fmla="*/ 144 w 288"/>
                <a:gd name="T65" fmla="*/ 288 h 288"/>
                <a:gd name="T66" fmla="*/ 187 w 288"/>
                <a:gd name="T67" fmla="*/ 282 h 288"/>
                <a:gd name="T68" fmla="*/ 225 w 288"/>
                <a:gd name="T69" fmla="*/ 263 h 288"/>
                <a:gd name="T70" fmla="*/ 255 w 288"/>
                <a:gd name="T71" fmla="*/ 235 h 288"/>
                <a:gd name="T72" fmla="*/ 276 w 288"/>
                <a:gd name="T73" fmla="*/ 201 h 288"/>
                <a:gd name="T74" fmla="*/ 287 w 288"/>
                <a:gd name="T75" fmla="*/ 158 h 288"/>
                <a:gd name="T76" fmla="*/ 285 w 288"/>
                <a:gd name="T77" fmla="*/ 115 h 288"/>
                <a:gd name="T78" fmla="*/ 271 w 288"/>
                <a:gd name="T79" fmla="*/ 75 h 288"/>
                <a:gd name="T80" fmla="*/ 246 w 288"/>
                <a:gd name="T81" fmla="*/ 42 h 288"/>
                <a:gd name="T82" fmla="*/ 213 w 288"/>
                <a:gd name="T83" fmla="*/ 17 h 288"/>
                <a:gd name="T84" fmla="*/ 173 w 288"/>
                <a:gd name="T85" fmla="*/ 3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88" h="288">
                  <a:moveTo>
                    <a:pt x="144" y="252"/>
                  </a:moveTo>
                  <a:lnTo>
                    <a:pt x="133" y="251"/>
                  </a:lnTo>
                  <a:lnTo>
                    <a:pt x="122" y="250"/>
                  </a:lnTo>
                  <a:lnTo>
                    <a:pt x="112" y="247"/>
                  </a:lnTo>
                  <a:lnTo>
                    <a:pt x="103" y="244"/>
                  </a:lnTo>
                  <a:lnTo>
                    <a:pt x="93" y="239"/>
                  </a:lnTo>
                  <a:lnTo>
                    <a:pt x="84" y="234"/>
                  </a:lnTo>
                  <a:lnTo>
                    <a:pt x="76" y="228"/>
                  </a:lnTo>
                  <a:lnTo>
                    <a:pt x="68" y="220"/>
                  </a:lnTo>
                  <a:lnTo>
                    <a:pt x="60" y="212"/>
                  </a:lnTo>
                  <a:lnTo>
                    <a:pt x="55" y="205"/>
                  </a:lnTo>
                  <a:lnTo>
                    <a:pt x="50" y="195"/>
                  </a:lnTo>
                  <a:lnTo>
                    <a:pt x="44" y="186"/>
                  </a:lnTo>
                  <a:lnTo>
                    <a:pt x="41" y="176"/>
                  </a:lnTo>
                  <a:lnTo>
                    <a:pt x="38" y="166"/>
                  </a:lnTo>
                  <a:lnTo>
                    <a:pt x="37" y="155"/>
                  </a:lnTo>
                  <a:lnTo>
                    <a:pt x="36" y="144"/>
                  </a:lnTo>
                  <a:lnTo>
                    <a:pt x="37" y="132"/>
                  </a:lnTo>
                  <a:lnTo>
                    <a:pt x="38" y="122"/>
                  </a:lnTo>
                  <a:lnTo>
                    <a:pt x="41" y="112"/>
                  </a:lnTo>
                  <a:lnTo>
                    <a:pt x="44" y="102"/>
                  </a:lnTo>
                  <a:lnTo>
                    <a:pt x="50" y="93"/>
                  </a:lnTo>
                  <a:lnTo>
                    <a:pt x="55" y="84"/>
                  </a:lnTo>
                  <a:lnTo>
                    <a:pt x="60" y="75"/>
                  </a:lnTo>
                  <a:lnTo>
                    <a:pt x="68" y="68"/>
                  </a:lnTo>
                  <a:lnTo>
                    <a:pt x="76" y="60"/>
                  </a:lnTo>
                  <a:lnTo>
                    <a:pt x="84" y="55"/>
                  </a:lnTo>
                  <a:lnTo>
                    <a:pt x="93" y="49"/>
                  </a:lnTo>
                  <a:lnTo>
                    <a:pt x="103" y="44"/>
                  </a:lnTo>
                  <a:lnTo>
                    <a:pt x="112" y="41"/>
                  </a:lnTo>
                  <a:lnTo>
                    <a:pt x="122" y="39"/>
                  </a:lnTo>
                  <a:lnTo>
                    <a:pt x="133" y="36"/>
                  </a:lnTo>
                  <a:lnTo>
                    <a:pt x="144" y="36"/>
                  </a:lnTo>
                  <a:lnTo>
                    <a:pt x="155" y="36"/>
                  </a:lnTo>
                  <a:lnTo>
                    <a:pt x="166" y="39"/>
                  </a:lnTo>
                  <a:lnTo>
                    <a:pt x="176" y="41"/>
                  </a:lnTo>
                  <a:lnTo>
                    <a:pt x="186" y="44"/>
                  </a:lnTo>
                  <a:lnTo>
                    <a:pt x="195" y="49"/>
                  </a:lnTo>
                  <a:lnTo>
                    <a:pt x="204" y="55"/>
                  </a:lnTo>
                  <a:lnTo>
                    <a:pt x="213" y="60"/>
                  </a:lnTo>
                  <a:lnTo>
                    <a:pt x="220" y="68"/>
                  </a:lnTo>
                  <a:lnTo>
                    <a:pt x="228" y="75"/>
                  </a:lnTo>
                  <a:lnTo>
                    <a:pt x="233" y="84"/>
                  </a:lnTo>
                  <a:lnTo>
                    <a:pt x="239" y="93"/>
                  </a:lnTo>
                  <a:lnTo>
                    <a:pt x="244" y="102"/>
                  </a:lnTo>
                  <a:lnTo>
                    <a:pt x="247" y="112"/>
                  </a:lnTo>
                  <a:lnTo>
                    <a:pt x="249" y="122"/>
                  </a:lnTo>
                  <a:lnTo>
                    <a:pt x="252" y="132"/>
                  </a:lnTo>
                  <a:lnTo>
                    <a:pt x="252" y="144"/>
                  </a:lnTo>
                  <a:lnTo>
                    <a:pt x="252" y="155"/>
                  </a:lnTo>
                  <a:lnTo>
                    <a:pt x="249" y="166"/>
                  </a:lnTo>
                  <a:lnTo>
                    <a:pt x="247" y="176"/>
                  </a:lnTo>
                  <a:lnTo>
                    <a:pt x="244" y="186"/>
                  </a:lnTo>
                  <a:lnTo>
                    <a:pt x="239" y="195"/>
                  </a:lnTo>
                  <a:lnTo>
                    <a:pt x="233" y="205"/>
                  </a:lnTo>
                  <a:lnTo>
                    <a:pt x="228" y="212"/>
                  </a:lnTo>
                  <a:lnTo>
                    <a:pt x="220" y="220"/>
                  </a:lnTo>
                  <a:lnTo>
                    <a:pt x="213" y="228"/>
                  </a:lnTo>
                  <a:lnTo>
                    <a:pt x="204" y="234"/>
                  </a:lnTo>
                  <a:lnTo>
                    <a:pt x="195" y="239"/>
                  </a:lnTo>
                  <a:lnTo>
                    <a:pt x="186" y="244"/>
                  </a:lnTo>
                  <a:lnTo>
                    <a:pt x="176" y="247"/>
                  </a:lnTo>
                  <a:lnTo>
                    <a:pt x="166" y="250"/>
                  </a:lnTo>
                  <a:lnTo>
                    <a:pt x="155" y="251"/>
                  </a:lnTo>
                  <a:lnTo>
                    <a:pt x="144" y="252"/>
                  </a:lnTo>
                  <a:lnTo>
                    <a:pt x="144" y="252"/>
                  </a:lnTo>
                  <a:close/>
                  <a:moveTo>
                    <a:pt x="144" y="0"/>
                  </a:moveTo>
                  <a:lnTo>
                    <a:pt x="130" y="1"/>
                  </a:lnTo>
                  <a:lnTo>
                    <a:pt x="115" y="3"/>
                  </a:lnTo>
                  <a:lnTo>
                    <a:pt x="101" y="6"/>
                  </a:lnTo>
                  <a:lnTo>
                    <a:pt x="88" y="12"/>
                  </a:lnTo>
                  <a:lnTo>
                    <a:pt x="76" y="17"/>
                  </a:lnTo>
                  <a:lnTo>
                    <a:pt x="64" y="24"/>
                  </a:lnTo>
                  <a:lnTo>
                    <a:pt x="53" y="33"/>
                  </a:lnTo>
                  <a:lnTo>
                    <a:pt x="42" y="42"/>
                  </a:lnTo>
                  <a:lnTo>
                    <a:pt x="33" y="53"/>
                  </a:lnTo>
                  <a:lnTo>
                    <a:pt x="25" y="63"/>
                  </a:lnTo>
                  <a:lnTo>
                    <a:pt x="17" y="75"/>
                  </a:lnTo>
                  <a:lnTo>
                    <a:pt x="12" y="88"/>
                  </a:lnTo>
                  <a:lnTo>
                    <a:pt x="6" y="101"/>
                  </a:lnTo>
                  <a:lnTo>
                    <a:pt x="3" y="115"/>
                  </a:lnTo>
                  <a:lnTo>
                    <a:pt x="1" y="129"/>
                  </a:lnTo>
                  <a:lnTo>
                    <a:pt x="0" y="144"/>
                  </a:lnTo>
                  <a:lnTo>
                    <a:pt x="1" y="158"/>
                  </a:lnTo>
                  <a:lnTo>
                    <a:pt x="3" y="174"/>
                  </a:lnTo>
                  <a:lnTo>
                    <a:pt x="6" y="186"/>
                  </a:lnTo>
                  <a:lnTo>
                    <a:pt x="12" y="201"/>
                  </a:lnTo>
                  <a:lnTo>
                    <a:pt x="17" y="212"/>
                  </a:lnTo>
                  <a:lnTo>
                    <a:pt x="25" y="224"/>
                  </a:lnTo>
                  <a:lnTo>
                    <a:pt x="33" y="235"/>
                  </a:lnTo>
                  <a:lnTo>
                    <a:pt x="42" y="246"/>
                  </a:lnTo>
                  <a:lnTo>
                    <a:pt x="53" y="256"/>
                  </a:lnTo>
                  <a:lnTo>
                    <a:pt x="64" y="263"/>
                  </a:lnTo>
                  <a:lnTo>
                    <a:pt x="76" y="271"/>
                  </a:lnTo>
                  <a:lnTo>
                    <a:pt x="88" y="276"/>
                  </a:lnTo>
                  <a:lnTo>
                    <a:pt x="101" y="282"/>
                  </a:lnTo>
                  <a:lnTo>
                    <a:pt x="115" y="285"/>
                  </a:lnTo>
                  <a:lnTo>
                    <a:pt x="130" y="287"/>
                  </a:lnTo>
                  <a:lnTo>
                    <a:pt x="144" y="288"/>
                  </a:lnTo>
                  <a:lnTo>
                    <a:pt x="159" y="287"/>
                  </a:lnTo>
                  <a:lnTo>
                    <a:pt x="173" y="285"/>
                  </a:lnTo>
                  <a:lnTo>
                    <a:pt x="187" y="282"/>
                  </a:lnTo>
                  <a:lnTo>
                    <a:pt x="200" y="276"/>
                  </a:lnTo>
                  <a:lnTo>
                    <a:pt x="213" y="271"/>
                  </a:lnTo>
                  <a:lnTo>
                    <a:pt x="225" y="263"/>
                  </a:lnTo>
                  <a:lnTo>
                    <a:pt x="235" y="256"/>
                  </a:lnTo>
                  <a:lnTo>
                    <a:pt x="246" y="246"/>
                  </a:lnTo>
                  <a:lnTo>
                    <a:pt x="255" y="235"/>
                  </a:lnTo>
                  <a:lnTo>
                    <a:pt x="263" y="224"/>
                  </a:lnTo>
                  <a:lnTo>
                    <a:pt x="271" y="212"/>
                  </a:lnTo>
                  <a:lnTo>
                    <a:pt x="276" y="201"/>
                  </a:lnTo>
                  <a:lnTo>
                    <a:pt x="282" y="186"/>
                  </a:lnTo>
                  <a:lnTo>
                    <a:pt x="285" y="174"/>
                  </a:lnTo>
                  <a:lnTo>
                    <a:pt x="287" y="158"/>
                  </a:lnTo>
                  <a:lnTo>
                    <a:pt x="288" y="144"/>
                  </a:lnTo>
                  <a:lnTo>
                    <a:pt x="287" y="129"/>
                  </a:lnTo>
                  <a:lnTo>
                    <a:pt x="285" y="115"/>
                  </a:lnTo>
                  <a:lnTo>
                    <a:pt x="282" y="101"/>
                  </a:lnTo>
                  <a:lnTo>
                    <a:pt x="276" y="88"/>
                  </a:lnTo>
                  <a:lnTo>
                    <a:pt x="271" y="75"/>
                  </a:lnTo>
                  <a:lnTo>
                    <a:pt x="263" y="63"/>
                  </a:lnTo>
                  <a:lnTo>
                    <a:pt x="255" y="53"/>
                  </a:lnTo>
                  <a:lnTo>
                    <a:pt x="246" y="42"/>
                  </a:lnTo>
                  <a:lnTo>
                    <a:pt x="235" y="33"/>
                  </a:lnTo>
                  <a:lnTo>
                    <a:pt x="225" y="24"/>
                  </a:lnTo>
                  <a:lnTo>
                    <a:pt x="213" y="17"/>
                  </a:lnTo>
                  <a:lnTo>
                    <a:pt x="200" y="12"/>
                  </a:lnTo>
                  <a:lnTo>
                    <a:pt x="187" y="6"/>
                  </a:lnTo>
                  <a:lnTo>
                    <a:pt x="173" y="3"/>
                  </a:lnTo>
                  <a:lnTo>
                    <a:pt x="159" y="1"/>
                  </a:lnTo>
                  <a:lnTo>
                    <a:pt x="1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latin typeface="+mn-lt"/>
              </a:endParaRPr>
            </a:p>
          </p:txBody>
        </p:sp>
      </p:gr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 presetClass="entr" presetSubtype="1"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0-#ppt_h/2"/>
                                          </p:val>
                                        </p:tav>
                                        <p:tav tm="100000">
                                          <p:val>
                                            <p:strVal val="#ppt_y"/>
                                          </p:val>
                                        </p:tav>
                                      </p:tavLst>
                                    </p:anim>
                                  </p:childTnLst>
                                </p:cTn>
                              </p:par>
                            </p:childTnLst>
                          </p:cTn>
                        </p:par>
                        <p:par>
                          <p:cTn id="9" fill="hold" nodeType="afterGroup">
                            <p:stCondLst>
                              <p:cond delay="500"/>
                            </p:stCondLst>
                            <p:childTnLst>
                              <p:par>
                                <p:cTn id="10" presetID="2" presetClass="entr" presetSubtype="1" fill="hold" grpId="0" nodeType="afterEffect">
                                  <p:stCondLst>
                                    <p:cond delay="0"/>
                                  </p:stCondLst>
                                  <p:childTnLst>
                                    <p:set>
                                      <p:cBhvr>
                                        <p:cTn id="11" dur="1" fill="hold">
                                          <p:stCondLst>
                                            <p:cond delay="0"/>
                                          </p:stCondLst>
                                        </p:cTn>
                                        <p:tgtEl>
                                          <p:spTgt spid="7"/>
                                        </p:tgtEl>
                                        <p:attrNameLst>
                                          <p:attrName>style.visibility</p:attrName>
                                        </p:attrNameLst>
                                      </p:cBhvr>
                                      <p:to>
                                        <p:strVal val="visible"/>
                                      </p:to>
                                    </p:set>
                                    <p:anim calcmode="lin" valueType="num">
                                      <p:cBhvr additive="base">
                                        <p:cTn id="12" dur="500" fill="hold"/>
                                        <p:tgtEl>
                                          <p:spTgt spid="7"/>
                                        </p:tgtEl>
                                        <p:attrNameLst>
                                          <p:attrName>ppt_x</p:attrName>
                                        </p:attrNameLst>
                                      </p:cBhvr>
                                      <p:tavLst>
                                        <p:tav tm="0">
                                          <p:val>
                                            <p:strVal val="#ppt_x"/>
                                          </p:val>
                                        </p:tav>
                                        <p:tav tm="100000">
                                          <p:val>
                                            <p:strVal val="#ppt_x"/>
                                          </p:val>
                                        </p:tav>
                                      </p:tavLst>
                                    </p:anim>
                                    <p:anim calcmode="lin" valueType="num">
                                      <p:cBhvr additive="base">
                                        <p:cTn id="13" dur="500" fill="hold"/>
                                        <p:tgtEl>
                                          <p:spTgt spid="7"/>
                                        </p:tgtEl>
                                        <p:attrNameLst>
                                          <p:attrName>ppt_y</p:attrName>
                                        </p:attrNameLst>
                                      </p:cBhvr>
                                      <p:tavLst>
                                        <p:tav tm="0">
                                          <p:val>
                                            <p:strVal val="0-#ppt_h/2"/>
                                          </p:val>
                                        </p:tav>
                                        <p:tav tm="100000">
                                          <p:val>
                                            <p:strVal val="#ppt_y"/>
                                          </p:val>
                                        </p:tav>
                                      </p:tavLst>
                                    </p:anim>
                                  </p:childTnLst>
                                </p:cTn>
                              </p:par>
                            </p:childTnLst>
                          </p:cTn>
                        </p:par>
                        <p:par>
                          <p:cTn id="14" fill="hold" nodeType="afterGroup">
                            <p:stCondLst>
                              <p:cond delay="1000"/>
                            </p:stCondLst>
                            <p:childTnLst>
                              <p:par>
                                <p:cTn id="15" presetID="2" presetClass="entr" presetSubtype="1" fill="hold" grpId="0" nodeType="afterEffect">
                                  <p:stCondLst>
                                    <p:cond delay="0"/>
                                  </p:stCondLst>
                                  <p:childTnLst>
                                    <p:set>
                                      <p:cBhvr>
                                        <p:cTn id="16" dur="1" fill="hold">
                                          <p:stCondLst>
                                            <p:cond delay="0"/>
                                          </p:stCondLst>
                                        </p:cTn>
                                        <p:tgtEl>
                                          <p:spTgt spid="10"/>
                                        </p:tgtEl>
                                        <p:attrNameLst>
                                          <p:attrName>style.visibility</p:attrName>
                                        </p:attrNameLst>
                                      </p:cBhvr>
                                      <p:to>
                                        <p:strVal val="visible"/>
                                      </p:to>
                                    </p:set>
                                    <p:anim calcmode="lin" valueType="num">
                                      <p:cBhvr additive="base">
                                        <p:cTn id="17" dur="500" fill="hold"/>
                                        <p:tgtEl>
                                          <p:spTgt spid="10"/>
                                        </p:tgtEl>
                                        <p:attrNameLst>
                                          <p:attrName>ppt_x</p:attrName>
                                        </p:attrNameLst>
                                      </p:cBhvr>
                                      <p:tavLst>
                                        <p:tav tm="0">
                                          <p:val>
                                            <p:strVal val="#ppt_x"/>
                                          </p:val>
                                        </p:tav>
                                        <p:tav tm="100000">
                                          <p:val>
                                            <p:strVal val="#ppt_x"/>
                                          </p:val>
                                        </p:tav>
                                      </p:tavLst>
                                    </p:anim>
                                    <p:anim calcmode="lin" valueType="num">
                                      <p:cBhvr additive="base">
                                        <p:cTn id="18" dur="500" fill="hold"/>
                                        <p:tgtEl>
                                          <p:spTgt spid="10"/>
                                        </p:tgtEl>
                                        <p:attrNameLst>
                                          <p:attrName>ppt_y</p:attrName>
                                        </p:attrNameLst>
                                      </p:cBhvr>
                                      <p:tavLst>
                                        <p:tav tm="0">
                                          <p:val>
                                            <p:strVal val="0-#ppt_h/2"/>
                                          </p:val>
                                        </p:tav>
                                        <p:tav tm="100000">
                                          <p:val>
                                            <p:strVal val="#ppt_y"/>
                                          </p:val>
                                        </p:tav>
                                      </p:tavLst>
                                    </p:anim>
                                  </p:childTnLst>
                                </p:cTn>
                              </p:par>
                            </p:childTnLst>
                          </p:cTn>
                        </p:par>
                        <p:par>
                          <p:cTn id="19" fill="hold" nodeType="afterGroup">
                            <p:stCondLst>
                              <p:cond delay="1500"/>
                            </p:stCondLst>
                            <p:childTnLst>
                              <p:par>
                                <p:cTn id="20" presetID="22" presetClass="entr" presetSubtype="8" fill="hold" nodeType="after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wipe(left)">
                                      <p:cBhvr>
                                        <p:cTn id="22" dur="500"/>
                                        <p:tgtEl>
                                          <p:spTgt spid="9"/>
                                        </p:tgtEl>
                                      </p:cBhvr>
                                    </p:animEffect>
                                  </p:childTnLst>
                                </p:cTn>
                              </p:par>
                            </p:childTnLst>
                          </p:cTn>
                        </p:par>
                        <p:par>
                          <p:cTn id="23" fill="hold" nodeType="afterGroup">
                            <p:stCondLst>
                              <p:cond delay="2000"/>
                            </p:stCondLst>
                            <p:childTnLst>
                              <p:par>
                                <p:cTn id="24" presetID="22" presetClass="entr" presetSubtype="8" fill="hold" nodeType="afterEffect">
                                  <p:stCondLst>
                                    <p:cond delay="0"/>
                                  </p:stCondLst>
                                  <p:childTnLst>
                                    <p:set>
                                      <p:cBhvr>
                                        <p:cTn id="25" dur="1" fill="hold">
                                          <p:stCondLst>
                                            <p:cond delay="0"/>
                                          </p:stCondLst>
                                        </p:cTn>
                                        <p:tgtEl>
                                          <p:spTgt spid="25"/>
                                        </p:tgtEl>
                                        <p:attrNameLst>
                                          <p:attrName>style.visibility</p:attrName>
                                        </p:attrNameLst>
                                      </p:cBhvr>
                                      <p:to>
                                        <p:strVal val="visible"/>
                                      </p:to>
                                    </p:set>
                                    <p:animEffect transition="in" filter="wipe(left)">
                                      <p:cBhvr>
                                        <p:cTn id="26" dur="750"/>
                                        <p:tgtEl>
                                          <p:spTgt spid="25"/>
                                        </p:tgtEl>
                                      </p:cBhvr>
                                    </p:animEffect>
                                  </p:childTnLst>
                                </p:cTn>
                              </p:par>
                              <p:par>
                                <p:cTn id="27" presetID="22" presetClass="entr" presetSubtype="8" fill="hold" nodeType="withEffect">
                                  <p:stCondLst>
                                    <p:cond delay="0"/>
                                  </p:stCondLst>
                                  <p:childTnLst>
                                    <p:set>
                                      <p:cBhvr>
                                        <p:cTn id="28" dur="1" fill="hold">
                                          <p:stCondLst>
                                            <p:cond delay="0"/>
                                          </p:stCondLst>
                                        </p:cTn>
                                        <p:tgtEl>
                                          <p:spTgt spid="26"/>
                                        </p:tgtEl>
                                        <p:attrNameLst>
                                          <p:attrName>style.visibility</p:attrName>
                                        </p:attrNameLst>
                                      </p:cBhvr>
                                      <p:to>
                                        <p:strVal val="visible"/>
                                      </p:to>
                                    </p:set>
                                    <p:animEffect transition="in" filter="wipe(left)">
                                      <p:cBhvr>
                                        <p:cTn id="29" dur="750"/>
                                        <p:tgtEl>
                                          <p:spTgt spid="26"/>
                                        </p:tgtEl>
                                      </p:cBhvr>
                                    </p:animEffect>
                                  </p:childTnLst>
                                </p:cTn>
                              </p:par>
                            </p:childTnLst>
                          </p:cTn>
                        </p:par>
                        <p:par>
                          <p:cTn id="30" fill="hold" nodeType="afterGroup">
                            <p:stCondLst>
                              <p:cond delay="2750"/>
                            </p:stCondLst>
                            <p:childTnLst>
                              <p:par>
                                <p:cTn id="31" presetID="22" presetClass="entr" presetSubtype="8" fill="hold" grpId="0" nodeType="afterEffect">
                                  <p:stCondLst>
                                    <p:cond delay="0"/>
                                  </p:stCondLst>
                                  <p:childTnLst>
                                    <p:set>
                                      <p:cBhvr>
                                        <p:cTn id="32" dur="1" fill="hold">
                                          <p:stCondLst>
                                            <p:cond delay="0"/>
                                          </p:stCondLst>
                                        </p:cTn>
                                        <p:tgtEl>
                                          <p:spTgt spid="17"/>
                                        </p:tgtEl>
                                        <p:attrNameLst>
                                          <p:attrName>style.visibility</p:attrName>
                                        </p:attrNameLst>
                                      </p:cBhvr>
                                      <p:to>
                                        <p:strVal val="visible"/>
                                      </p:to>
                                    </p:set>
                                    <p:animEffect transition="in" filter="wipe(left)">
                                      <p:cBhvr>
                                        <p:cTn id="33" dur="500"/>
                                        <p:tgtEl>
                                          <p:spTgt spid="17"/>
                                        </p:tgtEl>
                                      </p:cBhvr>
                                    </p:animEffect>
                                  </p:childTnLst>
                                </p:cTn>
                              </p:par>
                            </p:childTnLst>
                          </p:cTn>
                        </p:par>
                        <p:par>
                          <p:cTn id="34" fill="hold" nodeType="afterGroup">
                            <p:stCondLst>
                              <p:cond delay="3250"/>
                            </p:stCondLst>
                            <p:childTnLst>
                              <p:par>
                                <p:cTn id="35" presetID="22" presetClass="entr" presetSubtype="1" fill="hold" nodeType="afterEffect">
                                  <p:stCondLst>
                                    <p:cond delay="0"/>
                                  </p:stCondLst>
                                  <p:childTnLst>
                                    <p:set>
                                      <p:cBhvr>
                                        <p:cTn id="36" dur="1" fill="hold">
                                          <p:stCondLst>
                                            <p:cond delay="0"/>
                                          </p:stCondLst>
                                        </p:cTn>
                                        <p:tgtEl>
                                          <p:spTgt spid="14"/>
                                        </p:tgtEl>
                                        <p:attrNameLst>
                                          <p:attrName>style.visibility</p:attrName>
                                        </p:attrNameLst>
                                      </p:cBhvr>
                                      <p:to>
                                        <p:strVal val="visible"/>
                                      </p:to>
                                    </p:set>
                                    <p:animEffect transition="in" filter="wipe(up)">
                                      <p:cBhvr>
                                        <p:cTn id="37" dur="500"/>
                                        <p:tgtEl>
                                          <p:spTgt spid="14"/>
                                        </p:tgtEl>
                                      </p:cBhvr>
                                    </p:animEffect>
                                  </p:childTnLst>
                                </p:cTn>
                              </p:par>
                            </p:childTnLst>
                          </p:cTn>
                        </p:par>
                        <p:par>
                          <p:cTn id="38" fill="hold" nodeType="afterGroup">
                            <p:stCondLst>
                              <p:cond delay="3750"/>
                            </p:stCondLst>
                            <p:childTnLst>
                              <p:par>
                                <p:cTn id="39" presetID="22" presetClass="entr" presetSubtype="1" fill="hold" nodeType="afterEffect">
                                  <p:stCondLst>
                                    <p:cond delay="0"/>
                                  </p:stCondLst>
                                  <p:childTnLst>
                                    <p:set>
                                      <p:cBhvr>
                                        <p:cTn id="40" dur="1" fill="hold">
                                          <p:stCondLst>
                                            <p:cond delay="0"/>
                                          </p:stCondLst>
                                        </p:cTn>
                                        <p:tgtEl>
                                          <p:spTgt spid="27"/>
                                        </p:tgtEl>
                                        <p:attrNameLst>
                                          <p:attrName>style.visibility</p:attrName>
                                        </p:attrNameLst>
                                      </p:cBhvr>
                                      <p:to>
                                        <p:strVal val="visible"/>
                                      </p:to>
                                    </p:set>
                                    <p:animEffect transition="in" filter="wipe(up)">
                                      <p:cBhvr>
                                        <p:cTn id="41" dur="500"/>
                                        <p:tgtEl>
                                          <p:spTgt spid="27"/>
                                        </p:tgtEl>
                                      </p:cBhvr>
                                    </p:animEffect>
                                  </p:childTnLst>
                                </p:cTn>
                              </p:par>
                            </p:childTnLst>
                          </p:cTn>
                        </p:par>
                        <p:par>
                          <p:cTn id="42" fill="hold" nodeType="afterGroup">
                            <p:stCondLst>
                              <p:cond delay="4250"/>
                            </p:stCondLst>
                            <p:childTnLst>
                              <p:par>
                                <p:cTn id="43" presetID="22" presetClass="entr" presetSubtype="1" fill="hold" nodeType="afterEffect">
                                  <p:stCondLst>
                                    <p:cond delay="0"/>
                                  </p:stCondLst>
                                  <p:childTnLst>
                                    <p:set>
                                      <p:cBhvr>
                                        <p:cTn id="44" dur="1" fill="hold">
                                          <p:stCondLst>
                                            <p:cond delay="0"/>
                                          </p:stCondLst>
                                        </p:cTn>
                                        <p:tgtEl>
                                          <p:spTgt spid="41"/>
                                        </p:tgtEl>
                                        <p:attrNameLst>
                                          <p:attrName>style.visibility</p:attrName>
                                        </p:attrNameLst>
                                      </p:cBhvr>
                                      <p:to>
                                        <p:strVal val="visible"/>
                                      </p:to>
                                    </p:set>
                                    <p:animEffect transition="in" filter="wipe(up)">
                                      <p:cBhvr>
                                        <p:cTn id="45" dur="500"/>
                                        <p:tgtEl>
                                          <p:spTgt spid="41"/>
                                        </p:tgtEl>
                                      </p:cBhvr>
                                    </p:animEffect>
                                  </p:childTnLst>
                                </p:cTn>
                              </p:par>
                            </p:childTnLst>
                          </p:cTn>
                        </p:par>
                        <p:par>
                          <p:cTn id="46" fill="hold" nodeType="afterGroup">
                            <p:stCondLst>
                              <p:cond delay="4750"/>
                            </p:stCondLst>
                            <p:childTnLst>
                              <p:par>
                                <p:cTn id="47" presetID="22" presetClass="entr" presetSubtype="8" fill="hold" grpId="0" nodeType="afterEffect">
                                  <p:stCondLst>
                                    <p:cond delay="0"/>
                                  </p:stCondLst>
                                  <p:childTnLst>
                                    <p:set>
                                      <p:cBhvr>
                                        <p:cTn id="48" dur="1" fill="hold">
                                          <p:stCondLst>
                                            <p:cond delay="0"/>
                                          </p:stCondLst>
                                        </p:cTn>
                                        <p:tgtEl>
                                          <p:spTgt spid="39"/>
                                        </p:tgtEl>
                                        <p:attrNameLst>
                                          <p:attrName>style.visibility</p:attrName>
                                        </p:attrNameLst>
                                      </p:cBhvr>
                                      <p:to>
                                        <p:strVal val="visible"/>
                                      </p:to>
                                    </p:set>
                                    <p:animEffect transition="in" filter="wipe(left)">
                                      <p:cBhvr>
                                        <p:cTn id="49" dur="500"/>
                                        <p:tgtEl>
                                          <p:spTgt spid="39"/>
                                        </p:tgtEl>
                                      </p:cBhvr>
                                    </p:animEffect>
                                  </p:childTnLst>
                                </p:cTn>
                              </p:par>
                            </p:childTnLst>
                          </p:cTn>
                        </p:par>
                        <p:par>
                          <p:cTn id="50" fill="hold" nodeType="afterGroup">
                            <p:stCondLst>
                              <p:cond delay="5250"/>
                            </p:stCondLst>
                            <p:childTnLst>
                              <p:par>
                                <p:cTn id="51" presetID="22" presetClass="entr" presetSubtype="2" fill="hold" nodeType="afterEffect">
                                  <p:stCondLst>
                                    <p:cond delay="0"/>
                                  </p:stCondLst>
                                  <p:childTnLst>
                                    <p:set>
                                      <p:cBhvr>
                                        <p:cTn id="52" dur="1" fill="hold">
                                          <p:stCondLst>
                                            <p:cond delay="0"/>
                                          </p:stCondLst>
                                        </p:cTn>
                                        <p:tgtEl>
                                          <p:spTgt spid="30"/>
                                        </p:tgtEl>
                                        <p:attrNameLst>
                                          <p:attrName>style.visibility</p:attrName>
                                        </p:attrNameLst>
                                      </p:cBhvr>
                                      <p:to>
                                        <p:strVal val="visible"/>
                                      </p:to>
                                    </p:set>
                                    <p:animEffect transition="in" filter="wipe(right)">
                                      <p:cBhvr>
                                        <p:cTn id="53" dur="500"/>
                                        <p:tgtEl>
                                          <p:spTgt spid="30"/>
                                        </p:tgtEl>
                                      </p:cBhvr>
                                    </p:animEffect>
                                  </p:childTnLst>
                                </p:cTn>
                              </p:par>
                            </p:childTnLst>
                          </p:cTn>
                        </p:par>
                        <p:par>
                          <p:cTn id="54" fill="hold" nodeType="afterGroup">
                            <p:stCondLst>
                              <p:cond delay="5750"/>
                            </p:stCondLst>
                            <p:childTnLst>
                              <p:par>
                                <p:cTn id="55" presetID="22" presetClass="entr" presetSubtype="2" fill="hold" nodeType="afterEffect">
                                  <p:stCondLst>
                                    <p:cond delay="0"/>
                                  </p:stCondLst>
                                  <p:childTnLst>
                                    <p:set>
                                      <p:cBhvr>
                                        <p:cTn id="56" dur="1" fill="hold">
                                          <p:stCondLst>
                                            <p:cond delay="0"/>
                                          </p:stCondLst>
                                        </p:cTn>
                                        <p:tgtEl>
                                          <p:spTgt spid="32"/>
                                        </p:tgtEl>
                                        <p:attrNameLst>
                                          <p:attrName>style.visibility</p:attrName>
                                        </p:attrNameLst>
                                      </p:cBhvr>
                                      <p:to>
                                        <p:strVal val="visible"/>
                                      </p:to>
                                    </p:set>
                                    <p:animEffect transition="in" filter="wipe(right)">
                                      <p:cBhvr>
                                        <p:cTn id="57" dur="500"/>
                                        <p:tgtEl>
                                          <p:spTgt spid="32"/>
                                        </p:tgtEl>
                                      </p:cBhvr>
                                    </p:animEffect>
                                  </p:childTnLst>
                                </p:cTn>
                              </p:par>
                            </p:childTnLst>
                          </p:cTn>
                        </p:par>
                        <p:par>
                          <p:cTn id="58" fill="hold" nodeType="afterGroup">
                            <p:stCondLst>
                              <p:cond delay="6250"/>
                            </p:stCondLst>
                            <p:childTnLst>
                              <p:par>
                                <p:cTn id="59" presetID="22" presetClass="entr" presetSubtype="2" fill="hold" nodeType="afterEffect">
                                  <p:stCondLst>
                                    <p:cond delay="0"/>
                                  </p:stCondLst>
                                  <p:childTnLst>
                                    <p:set>
                                      <p:cBhvr>
                                        <p:cTn id="60" dur="1" fill="hold">
                                          <p:stCondLst>
                                            <p:cond delay="0"/>
                                          </p:stCondLst>
                                        </p:cTn>
                                        <p:tgtEl>
                                          <p:spTgt spid="45"/>
                                        </p:tgtEl>
                                        <p:attrNameLst>
                                          <p:attrName>style.visibility</p:attrName>
                                        </p:attrNameLst>
                                      </p:cBhvr>
                                      <p:to>
                                        <p:strVal val="visible"/>
                                      </p:to>
                                    </p:set>
                                    <p:animEffect transition="in" filter="wipe(right)">
                                      <p:cBhvr>
                                        <p:cTn id="61" dur="500"/>
                                        <p:tgtEl>
                                          <p:spTgt spid="45"/>
                                        </p:tgtEl>
                                      </p:cBhvr>
                                    </p:animEffect>
                                  </p:childTnLst>
                                </p:cTn>
                              </p:par>
                            </p:childTnLst>
                          </p:cTn>
                        </p:par>
                        <p:par>
                          <p:cTn id="62" fill="hold" nodeType="afterGroup">
                            <p:stCondLst>
                              <p:cond delay="6750"/>
                            </p:stCondLst>
                            <p:childTnLst>
                              <p:par>
                                <p:cTn id="63" presetID="22" presetClass="entr" presetSubtype="1" fill="hold" grpId="0" nodeType="afterEffect">
                                  <p:stCondLst>
                                    <p:cond delay="0"/>
                                  </p:stCondLst>
                                  <p:childTnLst>
                                    <p:set>
                                      <p:cBhvr>
                                        <p:cTn id="64" dur="1" fill="hold">
                                          <p:stCondLst>
                                            <p:cond delay="0"/>
                                          </p:stCondLst>
                                        </p:cTn>
                                        <p:tgtEl>
                                          <p:spTgt spid="18"/>
                                        </p:tgtEl>
                                        <p:attrNameLst>
                                          <p:attrName>style.visibility</p:attrName>
                                        </p:attrNameLst>
                                      </p:cBhvr>
                                      <p:to>
                                        <p:strVal val="visible"/>
                                      </p:to>
                                    </p:set>
                                    <p:animEffect transition="in" filter="wipe(up)">
                                      <p:cBhvr>
                                        <p:cTn id="65" dur="500"/>
                                        <p:tgtEl>
                                          <p:spTgt spid="18"/>
                                        </p:tgtEl>
                                      </p:cBhvr>
                                    </p:animEffect>
                                  </p:childTnLst>
                                </p:cTn>
                              </p:par>
                            </p:childTnLst>
                          </p:cTn>
                        </p:par>
                        <p:par>
                          <p:cTn id="66" fill="hold" nodeType="afterGroup">
                            <p:stCondLst>
                              <p:cond delay="7250"/>
                            </p:stCondLst>
                            <p:childTnLst>
                              <p:par>
                                <p:cTn id="67" presetID="22" presetClass="entr" presetSubtype="1" fill="hold" nodeType="afterEffect">
                                  <p:stCondLst>
                                    <p:cond delay="0"/>
                                  </p:stCondLst>
                                  <p:childTnLst>
                                    <p:set>
                                      <p:cBhvr>
                                        <p:cTn id="68" dur="1" fill="hold">
                                          <p:stCondLst>
                                            <p:cond delay="0"/>
                                          </p:stCondLst>
                                        </p:cTn>
                                        <p:tgtEl>
                                          <p:spTgt spid="35"/>
                                        </p:tgtEl>
                                        <p:attrNameLst>
                                          <p:attrName>style.visibility</p:attrName>
                                        </p:attrNameLst>
                                      </p:cBhvr>
                                      <p:to>
                                        <p:strVal val="visible"/>
                                      </p:to>
                                    </p:set>
                                    <p:animEffect transition="in" filter="wipe(up)">
                                      <p:cBhvr>
                                        <p:cTn id="69" dur="75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animBg="1"/>
      <p:bldP spid="10" grpId="0" animBg="1"/>
      <p:bldP spid="17" grpId="0"/>
      <p:bldP spid="18" grpId="0"/>
      <p:bldP spid="39"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3"/>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sp>
      <p:cxnSp>
        <p:nvCxnSpPr>
          <p:cNvPr id="28" name="Straight Connector 27"/>
          <p:cNvCxnSpPr/>
          <p:nvPr/>
        </p:nvCxnSpPr>
        <p:spPr>
          <a:xfrm>
            <a:off x="8542338" y="1943100"/>
            <a:ext cx="0" cy="1790700"/>
          </a:xfrm>
          <a:prstGeom prst="line">
            <a:avLst/>
          </a:prstGeom>
          <a:ln>
            <a:solidFill>
              <a:schemeClr val="bg1">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nvCxnSpPr>
        <p:spPr>
          <a:xfrm flipH="1">
            <a:off x="1862138" y="1943100"/>
            <a:ext cx="64690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7307369" y="4302900"/>
            <a:ext cx="3384002" cy="2050492"/>
          </a:xfrm>
          <a:prstGeom prst="rect">
            <a:avLst/>
          </a:prstGeom>
        </p:spPr>
        <p:txBody>
          <a:bodyPr anchor="ctr"/>
          <a:lstStyle/>
          <a:p>
            <a:pPr eaLnBrk="1" fontAlgn="auto" hangingPunct="1">
              <a:spcAft>
                <a:spcPts val="0"/>
              </a:spcAft>
            </a:pPr>
            <a:r>
              <a:rPr lang="en-US" sz="2800" b="1" spc="-150" noProof="1" smtClean="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rPr>
              <a:t>Mencari Pendanaan, Asuransi, dan Analisa Resiko</a:t>
            </a:r>
            <a:endParaRPr lang="en-US" sz="2800" b="1" spc="-150" noProof="1">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8" name="Straight Connector 17"/>
          <p:cNvCxnSpPr/>
          <p:nvPr/>
        </p:nvCxnSpPr>
        <p:spPr>
          <a:xfrm>
            <a:off x="1846263" y="0"/>
            <a:ext cx="0" cy="17907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20" name="Group 19"/>
          <p:cNvGrpSpPr>
            <a:grpSpLocks/>
          </p:cNvGrpSpPr>
          <p:nvPr/>
        </p:nvGrpSpPr>
        <p:grpSpPr bwMode="auto">
          <a:xfrm>
            <a:off x="1327150" y="1352550"/>
            <a:ext cx="1066800" cy="1176338"/>
            <a:chOff x="4188097" y="2970895"/>
            <a:chExt cx="971005" cy="1069509"/>
          </a:xfrm>
        </p:grpSpPr>
        <p:graphicFrame>
          <p:nvGraphicFramePr>
            <p:cNvPr id="39955" name="Chart 20"/>
            <p:cNvGraphicFramePr>
              <a:graphicFrameLocks/>
            </p:cNvGraphicFramePr>
            <p:nvPr/>
          </p:nvGraphicFramePr>
          <p:xfrm>
            <a:off x="4141915" y="2924713"/>
            <a:ext cx="1063369" cy="1161873"/>
          </p:xfrm>
          <a:graphic>
            <a:graphicData uri="http://schemas.openxmlformats.org/presentationml/2006/ole">
              <mc:AlternateContent xmlns:mc="http://schemas.openxmlformats.org/markup-compatibility/2006">
                <mc:Choice xmlns:v="urn:schemas-microsoft-com:vml" Requires="v">
                  <p:oleObj spid="_x0000_s39970" name="Chart" r:id="rId4" imgW="1176630" imgH="1286367" progId="Excel.Chart.8">
                    <p:embed/>
                  </p:oleObj>
                </mc:Choice>
                <mc:Fallback>
                  <p:oleObj name="Chart" r:id="rId4" imgW="1176630" imgH="1286367" progId="Excel.Chart.8">
                    <p:embed/>
                    <p:pic>
                      <p:nvPicPr>
                        <p:cNvPr id="0" name="Chart 20"/>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41915" y="2924713"/>
                          <a:ext cx="1063369" cy="116187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2" name="Oval 21"/>
            <p:cNvSpPr/>
            <p:nvPr/>
          </p:nvSpPr>
          <p:spPr>
            <a:xfrm flipH="1">
              <a:off x="4436628" y="3269665"/>
              <a:ext cx="475388" cy="47629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grpSp>
        <p:nvGrpSpPr>
          <p:cNvPr id="25" name="Group 24"/>
          <p:cNvGrpSpPr>
            <a:grpSpLocks/>
          </p:cNvGrpSpPr>
          <p:nvPr/>
        </p:nvGrpSpPr>
        <p:grpSpPr bwMode="auto">
          <a:xfrm>
            <a:off x="8007350" y="1352550"/>
            <a:ext cx="1066800" cy="1176338"/>
            <a:chOff x="4188097" y="2970895"/>
            <a:chExt cx="971005" cy="1069509"/>
          </a:xfrm>
        </p:grpSpPr>
        <p:graphicFrame>
          <p:nvGraphicFramePr>
            <p:cNvPr id="39953" name="Chart 25"/>
            <p:cNvGraphicFramePr>
              <a:graphicFrameLocks/>
            </p:cNvGraphicFramePr>
            <p:nvPr/>
          </p:nvGraphicFramePr>
          <p:xfrm>
            <a:off x="4141915" y="2924713"/>
            <a:ext cx="1063369" cy="1161873"/>
          </p:xfrm>
          <a:graphic>
            <a:graphicData uri="http://schemas.openxmlformats.org/presentationml/2006/ole">
              <mc:AlternateContent xmlns:mc="http://schemas.openxmlformats.org/markup-compatibility/2006">
                <mc:Choice xmlns:v="urn:schemas-microsoft-com:vml" Requires="v">
                  <p:oleObj spid="_x0000_s39971" name="Chart" r:id="rId7" imgW="1170533" imgH="1286367" progId="Excel.Chart.8">
                    <p:embed/>
                  </p:oleObj>
                </mc:Choice>
                <mc:Fallback>
                  <p:oleObj name="Chart" r:id="rId7" imgW="1170533" imgH="1286367" progId="Excel.Chart.8">
                    <p:embed/>
                    <p:pic>
                      <p:nvPicPr>
                        <p:cNvPr id="0" name="Chart 25"/>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141915" y="2924713"/>
                          <a:ext cx="1063369" cy="116187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7" name="Oval 26"/>
            <p:cNvSpPr/>
            <p:nvPr/>
          </p:nvSpPr>
          <p:spPr>
            <a:xfrm flipH="1">
              <a:off x="4436628" y="3269665"/>
              <a:ext cx="475388" cy="47629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sp>
        <p:nvSpPr>
          <p:cNvPr id="30" name="Rectangle 29"/>
          <p:cNvSpPr/>
          <p:nvPr/>
        </p:nvSpPr>
        <p:spPr>
          <a:xfrm>
            <a:off x="2209157" y="1960097"/>
            <a:ext cx="1511943" cy="1247125"/>
          </a:xfrm>
          <a:prstGeom prst="rect">
            <a:avLst/>
          </a:prstGeom>
        </p:spPr>
        <p:txBody>
          <a:bodyPr anchor="ctr"/>
          <a:lstStyle/>
          <a:p>
            <a:pPr eaLnBrk="1" fontAlgn="auto" hangingPunct="1">
              <a:spcAft>
                <a:spcPts val="0"/>
              </a:spcAft>
            </a:pPr>
            <a:r>
              <a:rPr lang="en-US" sz="2800" b="1" spc="-150" noProof="1">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rPr>
              <a:t>Inovasi Tiada Henti</a:t>
            </a:r>
          </a:p>
        </p:txBody>
      </p:sp>
      <p:sp>
        <p:nvSpPr>
          <p:cNvPr id="32" name="Rectangle 31"/>
          <p:cNvSpPr/>
          <p:nvPr/>
        </p:nvSpPr>
        <p:spPr>
          <a:xfrm>
            <a:off x="8999370" y="1515172"/>
            <a:ext cx="2014372" cy="755650"/>
          </a:xfrm>
          <a:prstGeom prst="rect">
            <a:avLst/>
          </a:prstGeom>
        </p:spPr>
        <p:txBody>
          <a:bodyPr anchor="ctr"/>
          <a:lstStyle/>
          <a:p>
            <a:pPr eaLnBrk="1" fontAlgn="auto" hangingPunct="1">
              <a:spcAft>
                <a:spcPts val="0"/>
              </a:spcAft>
            </a:pPr>
            <a:r>
              <a:rPr lang="en-US" sz="2800" b="1" spc="-150" noProof="1" smtClean="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rPr>
              <a:t>Siap Berkompetisi</a:t>
            </a:r>
            <a:endParaRPr lang="en-US" sz="2800" b="1" spc="-150" noProof="1">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33" name="Group 32"/>
          <p:cNvGrpSpPr/>
          <p:nvPr/>
        </p:nvGrpSpPr>
        <p:grpSpPr>
          <a:xfrm>
            <a:off x="8187554" y="3884072"/>
            <a:ext cx="733425" cy="733425"/>
            <a:chOff x="4319588" y="2492375"/>
            <a:chExt cx="287338" cy="287338"/>
          </a:xfrm>
          <a:solidFill>
            <a:srgbClr val="ED7D31"/>
          </a:solidFill>
        </p:grpSpPr>
        <p:sp>
          <p:nvSpPr>
            <p:cNvPr id="34" name="Freeform 372"/>
            <p:cNvSpPr>
              <a:spLocks/>
            </p:cNvSpPr>
            <p:nvPr/>
          </p:nvSpPr>
          <p:spPr bwMode="auto">
            <a:xfrm>
              <a:off x="4319588" y="2587625"/>
              <a:ext cx="287338" cy="192088"/>
            </a:xfrm>
            <a:custGeom>
              <a:avLst/>
              <a:gdLst>
                <a:gd name="T0" fmla="*/ 843 w 904"/>
                <a:gd name="T1" fmla="*/ 572 h 602"/>
                <a:gd name="T2" fmla="*/ 843 w 904"/>
                <a:gd name="T3" fmla="*/ 12 h 602"/>
                <a:gd name="T4" fmla="*/ 841 w 904"/>
                <a:gd name="T5" fmla="*/ 7 h 602"/>
                <a:gd name="T6" fmla="*/ 836 w 904"/>
                <a:gd name="T7" fmla="*/ 3 h 602"/>
                <a:gd name="T8" fmla="*/ 831 w 904"/>
                <a:gd name="T9" fmla="*/ 1 h 602"/>
                <a:gd name="T10" fmla="*/ 708 w 904"/>
                <a:gd name="T11" fmla="*/ 0 h 602"/>
                <a:gd name="T12" fmla="*/ 702 w 904"/>
                <a:gd name="T13" fmla="*/ 2 h 602"/>
                <a:gd name="T14" fmla="*/ 697 w 904"/>
                <a:gd name="T15" fmla="*/ 5 h 602"/>
                <a:gd name="T16" fmla="*/ 694 w 904"/>
                <a:gd name="T17" fmla="*/ 9 h 602"/>
                <a:gd name="T18" fmla="*/ 693 w 904"/>
                <a:gd name="T19" fmla="*/ 16 h 602"/>
                <a:gd name="T20" fmla="*/ 632 w 904"/>
                <a:gd name="T21" fmla="*/ 572 h 602"/>
                <a:gd name="T22" fmla="*/ 632 w 904"/>
                <a:gd name="T23" fmla="*/ 283 h 602"/>
                <a:gd name="T24" fmla="*/ 630 w 904"/>
                <a:gd name="T25" fmla="*/ 277 h 602"/>
                <a:gd name="T26" fmla="*/ 626 w 904"/>
                <a:gd name="T27" fmla="*/ 274 h 602"/>
                <a:gd name="T28" fmla="*/ 621 w 904"/>
                <a:gd name="T29" fmla="*/ 271 h 602"/>
                <a:gd name="T30" fmla="*/ 497 w 904"/>
                <a:gd name="T31" fmla="*/ 271 h 602"/>
                <a:gd name="T32" fmla="*/ 491 w 904"/>
                <a:gd name="T33" fmla="*/ 272 h 602"/>
                <a:gd name="T34" fmla="*/ 487 w 904"/>
                <a:gd name="T35" fmla="*/ 275 h 602"/>
                <a:gd name="T36" fmla="*/ 483 w 904"/>
                <a:gd name="T37" fmla="*/ 281 h 602"/>
                <a:gd name="T38" fmla="*/ 482 w 904"/>
                <a:gd name="T39" fmla="*/ 286 h 602"/>
                <a:gd name="T40" fmla="*/ 421 w 904"/>
                <a:gd name="T41" fmla="*/ 572 h 602"/>
                <a:gd name="T42" fmla="*/ 421 w 904"/>
                <a:gd name="T43" fmla="*/ 193 h 602"/>
                <a:gd name="T44" fmla="*/ 419 w 904"/>
                <a:gd name="T45" fmla="*/ 187 h 602"/>
                <a:gd name="T46" fmla="*/ 415 w 904"/>
                <a:gd name="T47" fmla="*/ 183 h 602"/>
                <a:gd name="T48" fmla="*/ 409 w 904"/>
                <a:gd name="T49" fmla="*/ 181 h 602"/>
                <a:gd name="T50" fmla="*/ 286 w 904"/>
                <a:gd name="T51" fmla="*/ 181 h 602"/>
                <a:gd name="T52" fmla="*/ 281 w 904"/>
                <a:gd name="T53" fmla="*/ 182 h 602"/>
                <a:gd name="T54" fmla="*/ 275 w 904"/>
                <a:gd name="T55" fmla="*/ 185 h 602"/>
                <a:gd name="T56" fmla="*/ 272 w 904"/>
                <a:gd name="T57" fmla="*/ 190 h 602"/>
                <a:gd name="T58" fmla="*/ 271 w 904"/>
                <a:gd name="T59" fmla="*/ 196 h 602"/>
                <a:gd name="T60" fmla="*/ 211 w 904"/>
                <a:gd name="T61" fmla="*/ 572 h 602"/>
                <a:gd name="T62" fmla="*/ 211 w 904"/>
                <a:gd name="T63" fmla="*/ 404 h 602"/>
                <a:gd name="T64" fmla="*/ 209 w 904"/>
                <a:gd name="T65" fmla="*/ 399 h 602"/>
                <a:gd name="T66" fmla="*/ 205 w 904"/>
                <a:gd name="T67" fmla="*/ 394 h 602"/>
                <a:gd name="T68" fmla="*/ 199 w 904"/>
                <a:gd name="T69" fmla="*/ 392 h 602"/>
                <a:gd name="T70" fmla="*/ 76 w 904"/>
                <a:gd name="T71" fmla="*/ 391 h 602"/>
                <a:gd name="T72" fmla="*/ 69 w 904"/>
                <a:gd name="T73" fmla="*/ 392 h 602"/>
                <a:gd name="T74" fmla="*/ 65 w 904"/>
                <a:gd name="T75" fmla="*/ 396 h 602"/>
                <a:gd name="T76" fmla="*/ 62 w 904"/>
                <a:gd name="T77" fmla="*/ 401 h 602"/>
                <a:gd name="T78" fmla="*/ 61 w 904"/>
                <a:gd name="T79" fmla="*/ 406 h 602"/>
                <a:gd name="T80" fmla="*/ 15 w 904"/>
                <a:gd name="T81" fmla="*/ 572 h 602"/>
                <a:gd name="T82" fmla="*/ 9 w 904"/>
                <a:gd name="T83" fmla="*/ 573 h 602"/>
                <a:gd name="T84" fmla="*/ 5 w 904"/>
                <a:gd name="T85" fmla="*/ 577 h 602"/>
                <a:gd name="T86" fmla="*/ 2 w 904"/>
                <a:gd name="T87" fmla="*/ 581 h 602"/>
                <a:gd name="T88" fmla="*/ 0 w 904"/>
                <a:gd name="T89" fmla="*/ 587 h 602"/>
                <a:gd name="T90" fmla="*/ 2 w 904"/>
                <a:gd name="T91" fmla="*/ 593 h 602"/>
                <a:gd name="T92" fmla="*/ 5 w 904"/>
                <a:gd name="T93" fmla="*/ 598 h 602"/>
                <a:gd name="T94" fmla="*/ 9 w 904"/>
                <a:gd name="T95" fmla="*/ 601 h 602"/>
                <a:gd name="T96" fmla="*/ 15 w 904"/>
                <a:gd name="T97" fmla="*/ 602 h 602"/>
                <a:gd name="T98" fmla="*/ 196 w 904"/>
                <a:gd name="T99" fmla="*/ 602 h 602"/>
                <a:gd name="T100" fmla="*/ 406 w 904"/>
                <a:gd name="T101" fmla="*/ 602 h 602"/>
                <a:gd name="T102" fmla="*/ 617 w 904"/>
                <a:gd name="T103" fmla="*/ 602 h 602"/>
                <a:gd name="T104" fmla="*/ 828 w 904"/>
                <a:gd name="T105" fmla="*/ 602 h 602"/>
                <a:gd name="T106" fmla="*/ 891 w 904"/>
                <a:gd name="T107" fmla="*/ 602 h 602"/>
                <a:gd name="T108" fmla="*/ 896 w 904"/>
                <a:gd name="T109" fmla="*/ 600 h 602"/>
                <a:gd name="T110" fmla="*/ 901 w 904"/>
                <a:gd name="T111" fmla="*/ 596 h 602"/>
                <a:gd name="T112" fmla="*/ 903 w 904"/>
                <a:gd name="T113" fmla="*/ 591 h 602"/>
                <a:gd name="T114" fmla="*/ 903 w 904"/>
                <a:gd name="T115" fmla="*/ 584 h 602"/>
                <a:gd name="T116" fmla="*/ 901 w 904"/>
                <a:gd name="T117" fmla="*/ 579 h 602"/>
                <a:gd name="T118" fmla="*/ 896 w 904"/>
                <a:gd name="T119" fmla="*/ 575 h 602"/>
                <a:gd name="T120" fmla="*/ 891 w 904"/>
                <a:gd name="T121" fmla="*/ 572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4" h="602">
                  <a:moveTo>
                    <a:pt x="889" y="572"/>
                  </a:moveTo>
                  <a:lnTo>
                    <a:pt x="843" y="572"/>
                  </a:lnTo>
                  <a:lnTo>
                    <a:pt x="843" y="16"/>
                  </a:lnTo>
                  <a:lnTo>
                    <a:pt x="843" y="12"/>
                  </a:lnTo>
                  <a:lnTo>
                    <a:pt x="842" y="9"/>
                  </a:lnTo>
                  <a:lnTo>
                    <a:pt x="841" y="7"/>
                  </a:lnTo>
                  <a:lnTo>
                    <a:pt x="838" y="5"/>
                  </a:lnTo>
                  <a:lnTo>
                    <a:pt x="836" y="3"/>
                  </a:lnTo>
                  <a:lnTo>
                    <a:pt x="834" y="2"/>
                  </a:lnTo>
                  <a:lnTo>
                    <a:pt x="831" y="1"/>
                  </a:lnTo>
                  <a:lnTo>
                    <a:pt x="828" y="1"/>
                  </a:lnTo>
                  <a:lnTo>
                    <a:pt x="708" y="0"/>
                  </a:lnTo>
                  <a:lnTo>
                    <a:pt x="704" y="1"/>
                  </a:lnTo>
                  <a:lnTo>
                    <a:pt x="702" y="2"/>
                  </a:lnTo>
                  <a:lnTo>
                    <a:pt x="699" y="3"/>
                  </a:lnTo>
                  <a:lnTo>
                    <a:pt x="697" y="5"/>
                  </a:lnTo>
                  <a:lnTo>
                    <a:pt x="695" y="7"/>
                  </a:lnTo>
                  <a:lnTo>
                    <a:pt x="694" y="9"/>
                  </a:lnTo>
                  <a:lnTo>
                    <a:pt x="693" y="12"/>
                  </a:lnTo>
                  <a:lnTo>
                    <a:pt x="693" y="16"/>
                  </a:lnTo>
                  <a:lnTo>
                    <a:pt x="693" y="572"/>
                  </a:lnTo>
                  <a:lnTo>
                    <a:pt x="632" y="572"/>
                  </a:lnTo>
                  <a:lnTo>
                    <a:pt x="632" y="286"/>
                  </a:lnTo>
                  <a:lnTo>
                    <a:pt x="632" y="283"/>
                  </a:lnTo>
                  <a:lnTo>
                    <a:pt x="631" y="281"/>
                  </a:lnTo>
                  <a:lnTo>
                    <a:pt x="630" y="277"/>
                  </a:lnTo>
                  <a:lnTo>
                    <a:pt x="628" y="275"/>
                  </a:lnTo>
                  <a:lnTo>
                    <a:pt x="626" y="274"/>
                  </a:lnTo>
                  <a:lnTo>
                    <a:pt x="623" y="272"/>
                  </a:lnTo>
                  <a:lnTo>
                    <a:pt x="621" y="271"/>
                  </a:lnTo>
                  <a:lnTo>
                    <a:pt x="617" y="271"/>
                  </a:lnTo>
                  <a:lnTo>
                    <a:pt x="497" y="271"/>
                  </a:lnTo>
                  <a:lnTo>
                    <a:pt x="494" y="271"/>
                  </a:lnTo>
                  <a:lnTo>
                    <a:pt x="491" y="272"/>
                  </a:lnTo>
                  <a:lnTo>
                    <a:pt x="489" y="274"/>
                  </a:lnTo>
                  <a:lnTo>
                    <a:pt x="487" y="275"/>
                  </a:lnTo>
                  <a:lnTo>
                    <a:pt x="484" y="277"/>
                  </a:lnTo>
                  <a:lnTo>
                    <a:pt x="483" y="281"/>
                  </a:lnTo>
                  <a:lnTo>
                    <a:pt x="482" y="283"/>
                  </a:lnTo>
                  <a:lnTo>
                    <a:pt x="482" y="286"/>
                  </a:lnTo>
                  <a:lnTo>
                    <a:pt x="482" y="572"/>
                  </a:lnTo>
                  <a:lnTo>
                    <a:pt x="421" y="572"/>
                  </a:lnTo>
                  <a:lnTo>
                    <a:pt x="421" y="196"/>
                  </a:lnTo>
                  <a:lnTo>
                    <a:pt x="421" y="193"/>
                  </a:lnTo>
                  <a:lnTo>
                    <a:pt x="420" y="190"/>
                  </a:lnTo>
                  <a:lnTo>
                    <a:pt x="419" y="187"/>
                  </a:lnTo>
                  <a:lnTo>
                    <a:pt x="417" y="185"/>
                  </a:lnTo>
                  <a:lnTo>
                    <a:pt x="415" y="183"/>
                  </a:lnTo>
                  <a:lnTo>
                    <a:pt x="413" y="182"/>
                  </a:lnTo>
                  <a:lnTo>
                    <a:pt x="409" y="181"/>
                  </a:lnTo>
                  <a:lnTo>
                    <a:pt x="406" y="181"/>
                  </a:lnTo>
                  <a:lnTo>
                    <a:pt x="286" y="181"/>
                  </a:lnTo>
                  <a:lnTo>
                    <a:pt x="283" y="181"/>
                  </a:lnTo>
                  <a:lnTo>
                    <a:pt x="281" y="182"/>
                  </a:lnTo>
                  <a:lnTo>
                    <a:pt x="277" y="183"/>
                  </a:lnTo>
                  <a:lnTo>
                    <a:pt x="275" y="185"/>
                  </a:lnTo>
                  <a:lnTo>
                    <a:pt x="273" y="187"/>
                  </a:lnTo>
                  <a:lnTo>
                    <a:pt x="272" y="190"/>
                  </a:lnTo>
                  <a:lnTo>
                    <a:pt x="271" y="193"/>
                  </a:lnTo>
                  <a:lnTo>
                    <a:pt x="271" y="196"/>
                  </a:lnTo>
                  <a:lnTo>
                    <a:pt x="271" y="572"/>
                  </a:lnTo>
                  <a:lnTo>
                    <a:pt x="211" y="572"/>
                  </a:lnTo>
                  <a:lnTo>
                    <a:pt x="211" y="406"/>
                  </a:lnTo>
                  <a:lnTo>
                    <a:pt x="211" y="404"/>
                  </a:lnTo>
                  <a:lnTo>
                    <a:pt x="210" y="401"/>
                  </a:lnTo>
                  <a:lnTo>
                    <a:pt x="209" y="399"/>
                  </a:lnTo>
                  <a:lnTo>
                    <a:pt x="207" y="396"/>
                  </a:lnTo>
                  <a:lnTo>
                    <a:pt x="205" y="394"/>
                  </a:lnTo>
                  <a:lnTo>
                    <a:pt x="201" y="393"/>
                  </a:lnTo>
                  <a:lnTo>
                    <a:pt x="199" y="392"/>
                  </a:lnTo>
                  <a:lnTo>
                    <a:pt x="196" y="391"/>
                  </a:lnTo>
                  <a:lnTo>
                    <a:pt x="76" y="391"/>
                  </a:lnTo>
                  <a:lnTo>
                    <a:pt x="73" y="392"/>
                  </a:lnTo>
                  <a:lnTo>
                    <a:pt x="69" y="392"/>
                  </a:lnTo>
                  <a:lnTo>
                    <a:pt x="67" y="394"/>
                  </a:lnTo>
                  <a:lnTo>
                    <a:pt x="65" y="396"/>
                  </a:lnTo>
                  <a:lnTo>
                    <a:pt x="63" y="399"/>
                  </a:lnTo>
                  <a:lnTo>
                    <a:pt x="62" y="401"/>
                  </a:lnTo>
                  <a:lnTo>
                    <a:pt x="61" y="404"/>
                  </a:lnTo>
                  <a:lnTo>
                    <a:pt x="61" y="406"/>
                  </a:lnTo>
                  <a:lnTo>
                    <a:pt x="61" y="572"/>
                  </a:lnTo>
                  <a:lnTo>
                    <a:pt x="15" y="572"/>
                  </a:lnTo>
                  <a:lnTo>
                    <a:pt x="13" y="572"/>
                  </a:lnTo>
                  <a:lnTo>
                    <a:pt x="9" y="573"/>
                  </a:lnTo>
                  <a:lnTo>
                    <a:pt x="7" y="575"/>
                  </a:lnTo>
                  <a:lnTo>
                    <a:pt x="5" y="577"/>
                  </a:lnTo>
                  <a:lnTo>
                    <a:pt x="3" y="579"/>
                  </a:lnTo>
                  <a:lnTo>
                    <a:pt x="2" y="581"/>
                  </a:lnTo>
                  <a:lnTo>
                    <a:pt x="1" y="584"/>
                  </a:lnTo>
                  <a:lnTo>
                    <a:pt x="0" y="587"/>
                  </a:lnTo>
                  <a:lnTo>
                    <a:pt x="1" y="591"/>
                  </a:lnTo>
                  <a:lnTo>
                    <a:pt x="2" y="593"/>
                  </a:lnTo>
                  <a:lnTo>
                    <a:pt x="3" y="596"/>
                  </a:lnTo>
                  <a:lnTo>
                    <a:pt x="5" y="598"/>
                  </a:lnTo>
                  <a:lnTo>
                    <a:pt x="7" y="600"/>
                  </a:lnTo>
                  <a:lnTo>
                    <a:pt x="9" y="601"/>
                  </a:lnTo>
                  <a:lnTo>
                    <a:pt x="13" y="602"/>
                  </a:lnTo>
                  <a:lnTo>
                    <a:pt x="15" y="602"/>
                  </a:lnTo>
                  <a:lnTo>
                    <a:pt x="76" y="602"/>
                  </a:lnTo>
                  <a:lnTo>
                    <a:pt x="196" y="602"/>
                  </a:lnTo>
                  <a:lnTo>
                    <a:pt x="286" y="602"/>
                  </a:lnTo>
                  <a:lnTo>
                    <a:pt x="406" y="602"/>
                  </a:lnTo>
                  <a:lnTo>
                    <a:pt x="497" y="602"/>
                  </a:lnTo>
                  <a:lnTo>
                    <a:pt x="617" y="602"/>
                  </a:lnTo>
                  <a:lnTo>
                    <a:pt x="708" y="602"/>
                  </a:lnTo>
                  <a:lnTo>
                    <a:pt x="828" y="602"/>
                  </a:lnTo>
                  <a:lnTo>
                    <a:pt x="889" y="602"/>
                  </a:lnTo>
                  <a:lnTo>
                    <a:pt x="891" y="602"/>
                  </a:lnTo>
                  <a:lnTo>
                    <a:pt x="894" y="601"/>
                  </a:lnTo>
                  <a:lnTo>
                    <a:pt x="896" y="600"/>
                  </a:lnTo>
                  <a:lnTo>
                    <a:pt x="898" y="598"/>
                  </a:lnTo>
                  <a:lnTo>
                    <a:pt x="901" y="596"/>
                  </a:lnTo>
                  <a:lnTo>
                    <a:pt x="902" y="593"/>
                  </a:lnTo>
                  <a:lnTo>
                    <a:pt x="903" y="591"/>
                  </a:lnTo>
                  <a:lnTo>
                    <a:pt x="904" y="587"/>
                  </a:lnTo>
                  <a:lnTo>
                    <a:pt x="903" y="584"/>
                  </a:lnTo>
                  <a:lnTo>
                    <a:pt x="902" y="581"/>
                  </a:lnTo>
                  <a:lnTo>
                    <a:pt x="901" y="579"/>
                  </a:lnTo>
                  <a:lnTo>
                    <a:pt x="898" y="577"/>
                  </a:lnTo>
                  <a:lnTo>
                    <a:pt x="896" y="575"/>
                  </a:lnTo>
                  <a:lnTo>
                    <a:pt x="894" y="573"/>
                  </a:lnTo>
                  <a:lnTo>
                    <a:pt x="891" y="572"/>
                  </a:lnTo>
                  <a:lnTo>
                    <a:pt x="889" y="5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latin typeface="+mn-lt"/>
              </a:endParaRPr>
            </a:p>
          </p:txBody>
        </p:sp>
        <p:sp>
          <p:nvSpPr>
            <p:cNvPr id="35" name="Freeform 373"/>
            <p:cNvSpPr>
              <a:spLocks/>
            </p:cNvSpPr>
            <p:nvPr/>
          </p:nvSpPr>
          <p:spPr bwMode="auto">
            <a:xfrm>
              <a:off x="4338638" y="2492375"/>
              <a:ext cx="252413" cy="157163"/>
            </a:xfrm>
            <a:custGeom>
              <a:avLst/>
              <a:gdLst>
                <a:gd name="T0" fmla="*/ 77 w 797"/>
                <a:gd name="T1" fmla="*/ 494 h 497"/>
                <a:gd name="T2" fmla="*/ 97 w 797"/>
                <a:gd name="T3" fmla="*/ 483 h 497"/>
                <a:gd name="T4" fmla="*/ 112 w 797"/>
                <a:gd name="T5" fmla="*/ 466 h 497"/>
                <a:gd name="T6" fmla="*/ 120 w 797"/>
                <a:gd name="T7" fmla="*/ 443 h 497"/>
                <a:gd name="T8" fmla="*/ 116 w 797"/>
                <a:gd name="T9" fmla="*/ 416 h 497"/>
                <a:gd name="T10" fmla="*/ 267 w 797"/>
                <a:gd name="T11" fmla="*/ 298 h 497"/>
                <a:gd name="T12" fmla="*/ 300 w 797"/>
                <a:gd name="T13" fmla="*/ 299 h 497"/>
                <a:gd name="T14" fmla="*/ 325 w 797"/>
                <a:gd name="T15" fmla="*/ 287 h 497"/>
                <a:gd name="T16" fmla="*/ 451 w 797"/>
                <a:gd name="T17" fmla="*/ 327 h 497"/>
                <a:gd name="T18" fmla="*/ 454 w 797"/>
                <a:gd name="T19" fmla="*/ 349 h 497"/>
                <a:gd name="T20" fmla="*/ 464 w 797"/>
                <a:gd name="T21" fmla="*/ 369 h 497"/>
                <a:gd name="T22" fmla="*/ 482 w 797"/>
                <a:gd name="T23" fmla="*/ 384 h 497"/>
                <a:gd name="T24" fmla="*/ 505 w 797"/>
                <a:gd name="T25" fmla="*/ 391 h 497"/>
                <a:gd name="T26" fmla="*/ 529 w 797"/>
                <a:gd name="T27" fmla="*/ 389 h 497"/>
                <a:gd name="T28" fmla="*/ 550 w 797"/>
                <a:gd name="T29" fmla="*/ 378 h 497"/>
                <a:gd name="T30" fmla="*/ 564 w 797"/>
                <a:gd name="T31" fmla="*/ 360 h 497"/>
                <a:gd name="T32" fmla="*/ 571 w 797"/>
                <a:gd name="T33" fmla="*/ 337 h 497"/>
                <a:gd name="T34" fmla="*/ 565 w 797"/>
                <a:gd name="T35" fmla="*/ 304 h 497"/>
                <a:gd name="T36" fmla="*/ 724 w 797"/>
                <a:gd name="T37" fmla="*/ 119 h 497"/>
                <a:gd name="T38" fmla="*/ 750 w 797"/>
                <a:gd name="T39" fmla="*/ 119 h 497"/>
                <a:gd name="T40" fmla="*/ 771 w 797"/>
                <a:gd name="T41" fmla="*/ 110 h 497"/>
                <a:gd name="T42" fmla="*/ 787 w 797"/>
                <a:gd name="T43" fmla="*/ 94 h 497"/>
                <a:gd name="T44" fmla="*/ 796 w 797"/>
                <a:gd name="T45" fmla="*/ 72 h 497"/>
                <a:gd name="T46" fmla="*/ 796 w 797"/>
                <a:gd name="T47" fmla="*/ 48 h 497"/>
                <a:gd name="T48" fmla="*/ 787 w 797"/>
                <a:gd name="T49" fmla="*/ 27 h 497"/>
                <a:gd name="T50" fmla="*/ 771 w 797"/>
                <a:gd name="T51" fmla="*/ 10 h 497"/>
                <a:gd name="T52" fmla="*/ 750 w 797"/>
                <a:gd name="T53" fmla="*/ 1 h 497"/>
                <a:gd name="T54" fmla="*/ 725 w 797"/>
                <a:gd name="T55" fmla="*/ 1 h 497"/>
                <a:gd name="T56" fmla="*/ 703 w 797"/>
                <a:gd name="T57" fmla="*/ 10 h 497"/>
                <a:gd name="T58" fmla="*/ 687 w 797"/>
                <a:gd name="T59" fmla="*/ 27 h 497"/>
                <a:gd name="T60" fmla="*/ 678 w 797"/>
                <a:gd name="T61" fmla="*/ 48 h 497"/>
                <a:gd name="T62" fmla="*/ 680 w 797"/>
                <a:gd name="T63" fmla="*/ 79 h 497"/>
                <a:gd name="T64" fmla="*/ 531 w 797"/>
                <a:gd name="T65" fmla="*/ 275 h 497"/>
                <a:gd name="T66" fmla="*/ 504 w 797"/>
                <a:gd name="T67" fmla="*/ 272 h 497"/>
                <a:gd name="T68" fmla="*/ 478 w 797"/>
                <a:gd name="T69" fmla="*/ 281 h 497"/>
                <a:gd name="T70" fmla="*/ 345 w 797"/>
                <a:gd name="T71" fmla="*/ 248 h 497"/>
                <a:gd name="T72" fmla="*/ 344 w 797"/>
                <a:gd name="T73" fmla="*/ 229 h 497"/>
                <a:gd name="T74" fmla="*/ 336 w 797"/>
                <a:gd name="T75" fmla="*/ 207 h 497"/>
                <a:gd name="T76" fmla="*/ 319 w 797"/>
                <a:gd name="T77" fmla="*/ 191 h 497"/>
                <a:gd name="T78" fmla="*/ 298 w 797"/>
                <a:gd name="T79" fmla="*/ 181 h 497"/>
                <a:gd name="T80" fmla="*/ 273 w 797"/>
                <a:gd name="T81" fmla="*/ 181 h 497"/>
                <a:gd name="T82" fmla="*/ 252 w 797"/>
                <a:gd name="T83" fmla="*/ 191 h 497"/>
                <a:gd name="T84" fmla="*/ 236 w 797"/>
                <a:gd name="T85" fmla="*/ 207 h 497"/>
                <a:gd name="T86" fmla="*/ 226 w 797"/>
                <a:gd name="T87" fmla="*/ 229 h 497"/>
                <a:gd name="T88" fmla="*/ 227 w 797"/>
                <a:gd name="T89" fmla="*/ 254 h 497"/>
                <a:gd name="T90" fmla="*/ 86 w 797"/>
                <a:gd name="T91" fmla="*/ 382 h 497"/>
                <a:gd name="T92" fmla="*/ 53 w 797"/>
                <a:gd name="T93" fmla="*/ 377 h 497"/>
                <a:gd name="T94" fmla="*/ 31 w 797"/>
                <a:gd name="T95" fmla="*/ 383 h 497"/>
                <a:gd name="T96" fmla="*/ 13 w 797"/>
                <a:gd name="T97" fmla="*/ 398 h 497"/>
                <a:gd name="T98" fmla="*/ 2 w 797"/>
                <a:gd name="T99" fmla="*/ 419 h 497"/>
                <a:gd name="T100" fmla="*/ 0 w 797"/>
                <a:gd name="T101" fmla="*/ 443 h 497"/>
                <a:gd name="T102" fmla="*/ 6 w 797"/>
                <a:gd name="T103" fmla="*/ 466 h 497"/>
                <a:gd name="T104" fmla="*/ 21 w 797"/>
                <a:gd name="T105" fmla="*/ 483 h 497"/>
                <a:gd name="T106" fmla="*/ 42 w 797"/>
                <a:gd name="T107" fmla="*/ 494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97" h="497">
                  <a:moveTo>
                    <a:pt x="60" y="497"/>
                  </a:moveTo>
                  <a:lnTo>
                    <a:pt x="65" y="497"/>
                  </a:lnTo>
                  <a:lnTo>
                    <a:pt x="72" y="496"/>
                  </a:lnTo>
                  <a:lnTo>
                    <a:pt x="77" y="494"/>
                  </a:lnTo>
                  <a:lnTo>
                    <a:pt x="83" y="493"/>
                  </a:lnTo>
                  <a:lnTo>
                    <a:pt x="89" y="489"/>
                  </a:lnTo>
                  <a:lnTo>
                    <a:pt x="93" y="486"/>
                  </a:lnTo>
                  <a:lnTo>
                    <a:pt x="97" y="483"/>
                  </a:lnTo>
                  <a:lnTo>
                    <a:pt x="102" y="480"/>
                  </a:lnTo>
                  <a:lnTo>
                    <a:pt x="106" y="475"/>
                  </a:lnTo>
                  <a:lnTo>
                    <a:pt x="109" y="470"/>
                  </a:lnTo>
                  <a:lnTo>
                    <a:pt x="112" y="466"/>
                  </a:lnTo>
                  <a:lnTo>
                    <a:pt x="115" y="460"/>
                  </a:lnTo>
                  <a:lnTo>
                    <a:pt x="117" y="455"/>
                  </a:lnTo>
                  <a:lnTo>
                    <a:pt x="119" y="449"/>
                  </a:lnTo>
                  <a:lnTo>
                    <a:pt x="120" y="443"/>
                  </a:lnTo>
                  <a:lnTo>
                    <a:pt x="120" y="437"/>
                  </a:lnTo>
                  <a:lnTo>
                    <a:pt x="119" y="429"/>
                  </a:lnTo>
                  <a:lnTo>
                    <a:pt x="118" y="423"/>
                  </a:lnTo>
                  <a:lnTo>
                    <a:pt x="116" y="416"/>
                  </a:lnTo>
                  <a:lnTo>
                    <a:pt x="114" y="410"/>
                  </a:lnTo>
                  <a:lnTo>
                    <a:pt x="251" y="290"/>
                  </a:lnTo>
                  <a:lnTo>
                    <a:pt x="259" y="295"/>
                  </a:lnTo>
                  <a:lnTo>
                    <a:pt x="267" y="298"/>
                  </a:lnTo>
                  <a:lnTo>
                    <a:pt x="277" y="301"/>
                  </a:lnTo>
                  <a:lnTo>
                    <a:pt x="285" y="302"/>
                  </a:lnTo>
                  <a:lnTo>
                    <a:pt x="293" y="301"/>
                  </a:lnTo>
                  <a:lnTo>
                    <a:pt x="300" y="299"/>
                  </a:lnTo>
                  <a:lnTo>
                    <a:pt x="307" y="297"/>
                  </a:lnTo>
                  <a:lnTo>
                    <a:pt x="313" y="294"/>
                  </a:lnTo>
                  <a:lnTo>
                    <a:pt x="318" y="291"/>
                  </a:lnTo>
                  <a:lnTo>
                    <a:pt x="325" y="287"/>
                  </a:lnTo>
                  <a:lnTo>
                    <a:pt x="329" y="282"/>
                  </a:lnTo>
                  <a:lnTo>
                    <a:pt x="333" y="277"/>
                  </a:lnTo>
                  <a:lnTo>
                    <a:pt x="451" y="324"/>
                  </a:lnTo>
                  <a:lnTo>
                    <a:pt x="451" y="327"/>
                  </a:lnTo>
                  <a:lnTo>
                    <a:pt x="451" y="332"/>
                  </a:lnTo>
                  <a:lnTo>
                    <a:pt x="451" y="337"/>
                  </a:lnTo>
                  <a:lnTo>
                    <a:pt x="452" y="343"/>
                  </a:lnTo>
                  <a:lnTo>
                    <a:pt x="454" y="349"/>
                  </a:lnTo>
                  <a:lnTo>
                    <a:pt x="456" y="354"/>
                  </a:lnTo>
                  <a:lnTo>
                    <a:pt x="458" y="360"/>
                  </a:lnTo>
                  <a:lnTo>
                    <a:pt x="461" y="365"/>
                  </a:lnTo>
                  <a:lnTo>
                    <a:pt x="464" y="369"/>
                  </a:lnTo>
                  <a:lnTo>
                    <a:pt x="469" y="374"/>
                  </a:lnTo>
                  <a:lnTo>
                    <a:pt x="473" y="378"/>
                  </a:lnTo>
                  <a:lnTo>
                    <a:pt x="477" y="381"/>
                  </a:lnTo>
                  <a:lnTo>
                    <a:pt x="482" y="384"/>
                  </a:lnTo>
                  <a:lnTo>
                    <a:pt x="488" y="386"/>
                  </a:lnTo>
                  <a:lnTo>
                    <a:pt x="493" y="389"/>
                  </a:lnTo>
                  <a:lnTo>
                    <a:pt x="499" y="391"/>
                  </a:lnTo>
                  <a:lnTo>
                    <a:pt x="505" y="391"/>
                  </a:lnTo>
                  <a:lnTo>
                    <a:pt x="511" y="392"/>
                  </a:lnTo>
                  <a:lnTo>
                    <a:pt x="518" y="391"/>
                  </a:lnTo>
                  <a:lnTo>
                    <a:pt x="523" y="391"/>
                  </a:lnTo>
                  <a:lnTo>
                    <a:pt x="529" y="389"/>
                  </a:lnTo>
                  <a:lnTo>
                    <a:pt x="535" y="386"/>
                  </a:lnTo>
                  <a:lnTo>
                    <a:pt x="540" y="384"/>
                  </a:lnTo>
                  <a:lnTo>
                    <a:pt x="545" y="381"/>
                  </a:lnTo>
                  <a:lnTo>
                    <a:pt x="550" y="378"/>
                  </a:lnTo>
                  <a:lnTo>
                    <a:pt x="553" y="374"/>
                  </a:lnTo>
                  <a:lnTo>
                    <a:pt x="558" y="369"/>
                  </a:lnTo>
                  <a:lnTo>
                    <a:pt x="561" y="365"/>
                  </a:lnTo>
                  <a:lnTo>
                    <a:pt x="564" y="360"/>
                  </a:lnTo>
                  <a:lnTo>
                    <a:pt x="567" y="354"/>
                  </a:lnTo>
                  <a:lnTo>
                    <a:pt x="568" y="349"/>
                  </a:lnTo>
                  <a:lnTo>
                    <a:pt x="570" y="343"/>
                  </a:lnTo>
                  <a:lnTo>
                    <a:pt x="571" y="337"/>
                  </a:lnTo>
                  <a:lnTo>
                    <a:pt x="571" y="332"/>
                  </a:lnTo>
                  <a:lnTo>
                    <a:pt x="570" y="322"/>
                  </a:lnTo>
                  <a:lnTo>
                    <a:pt x="568" y="312"/>
                  </a:lnTo>
                  <a:lnTo>
                    <a:pt x="565" y="304"/>
                  </a:lnTo>
                  <a:lnTo>
                    <a:pt x="560" y="296"/>
                  </a:lnTo>
                  <a:lnTo>
                    <a:pt x="711" y="114"/>
                  </a:lnTo>
                  <a:lnTo>
                    <a:pt x="717" y="117"/>
                  </a:lnTo>
                  <a:lnTo>
                    <a:pt x="724" y="119"/>
                  </a:lnTo>
                  <a:lnTo>
                    <a:pt x="730" y="120"/>
                  </a:lnTo>
                  <a:lnTo>
                    <a:pt x="737" y="120"/>
                  </a:lnTo>
                  <a:lnTo>
                    <a:pt x="743" y="120"/>
                  </a:lnTo>
                  <a:lnTo>
                    <a:pt x="750" y="119"/>
                  </a:lnTo>
                  <a:lnTo>
                    <a:pt x="755" y="118"/>
                  </a:lnTo>
                  <a:lnTo>
                    <a:pt x="760" y="116"/>
                  </a:lnTo>
                  <a:lnTo>
                    <a:pt x="766" y="113"/>
                  </a:lnTo>
                  <a:lnTo>
                    <a:pt x="771" y="110"/>
                  </a:lnTo>
                  <a:lnTo>
                    <a:pt x="775" y="106"/>
                  </a:lnTo>
                  <a:lnTo>
                    <a:pt x="780" y="103"/>
                  </a:lnTo>
                  <a:lnTo>
                    <a:pt x="784" y="99"/>
                  </a:lnTo>
                  <a:lnTo>
                    <a:pt x="787" y="94"/>
                  </a:lnTo>
                  <a:lnTo>
                    <a:pt x="790" y="89"/>
                  </a:lnTo>
                  <a:lnTo>
                    <a:pt x="792" y="84"/>
                  </a:lnTo>
                  <a:lnTo>
                    <a:pt x="795" y="79"/>
                  </a:lnTo>
                  <a:lnTo>
                    <a:pt x="796" y="72"/>
                  </a:lnTo>
                  <a:lnTo>
                    <a:pt x="797" y="67"/>
                  </a:lnTo>
                  <a:lnTo>
                    <a:pt x="797" y="60"/>
                  </a:lnTo>
                  <a:lnTo>
                    <a:pt x="797" y="54"/>
                  </a:lnTo>
                  <a:lnTo>
                    <a:pt x="796" y="48"/>
                  </a:lnTo>
                  <a:lnTo>
                    <a:pt x="795" y="42"/>
                  </a:lnTo>
                  <a:lnTo>
                    <a:pt x="792" y="37"/>
                  </a:lnTo>
                  <a:lnTo>
                    <a:pt x="790" y="31"/>
                  </a:lnTo>
                  <a:lnTo>
                    <a:pt x="787" y="27"/>
                  </a:lnTo>
                  <a:lnTo>
                    <a:pt x="784" y="22"/>
                  </a:lnTo>
                  <a:lnTo>
                    <a:pt x="780" y="17"/>
                  </a:lnTo>
                  <a:lnTo>
                    <a:pt x="775" y="14"/>
                  </a:lnTo>
                  <a:lnTo>
                    <a:pt x="771" y="10"/>
                  </a:lnTo>
                  <a:lnTo>
                    <a:pt x="766" y="8"/>
                  </a:lnTo>
                  <a:lnTo>
                    <a:pt x="760" y="5"/>
                  </a:lnTo>
                  <a:lnTo>
                    <a:pt x="755" y="2"/>
                  </a:lnTo>
                  <a:lnTo>
                    <a:pt x="750" y="1"/>
                  </a:lnTo>
                  <a:lnTo>
                    <a:pt x="743" y="0"/>
                  </a:lnTo>
                  <a:lnTo>
                    <a:pt x="737" y="0"/>
                  </a:lnTo>
                  <a:lnTo>
                    <a:pt x="731" y="0"/>
                  </a:lnTo>
                  <a:lnTo>
                    <a:pt x="725" y="1"/>
                  </a:lnTo>
                  <a:lnTo>
                    <a:pt x="719" y="2"/>
                  </a:lnTo>
                  <a:lnTo>
                    <a:pt x="713" y="5"/>
                  </a:lnTo>
                  <a:lnTo>
                    <a:pt x="709" y="8"/>
                  </a:lnTo>
                  <a:lnTo>
                    <a:pt x="703" y="10"/>
                  </a:lnTo>
                  <a:lnTo>
                    <a:pt x="699" y="14"/>
                  </a:lnTo>
                  <a:lnTo>
                    <a:pt x="695" y="17"/>
                  </a:lnTo>
                  <a:lnTo>
                    <a:pt x="691" y="22"/>
                  </a:lnTo>
                  <a:lnTo>
                    <a:pt x="687" y="27"/>
                  </a:lnTo>
                  <a:lnTo>
                    <a:pt x="684" y="31"/>
                  </a:lnTo>
                  <a:lnTo>
                    <a:pt x="682" y="37"/>
                  </a:lnTo>
                  <a:lnTo>
                    <a:pt x="680" y="42"/>
                  </a:lnTo>
                  <a:lnTo>
                    <a:pt x="678" y="48"/>
                  </a:lnTo>
                  <a:lnTo>
                    <a:pt x="677" y="54"/>
                  </a:lnTo>
                  <a:lnTo>
                    <a:pt x="677" y="60"/>
                  </a:lnTo>
                  <a:lnTo>
                    <a:pt x="678" y="70"/>
                  </a:lnTo>
                  <a:lnTo>
                    <a:pt x="680" y="79"/>
                  </a:lnTo>
                  <a:lnTo>
                    <a:pt x="683" y="87"/>
                  </a:lnTo>
                  <a:lnTo>
                    <a:pt x="688" y="96"/>
                  </a:lnTo>
                  <a:lnTo>
                    <a:pt x="537" y="277"/>
                  </a:lnTo>
                  <a:lnTo>
                    <a:pt x="531" y="275"/>
                  </a:lnTo>
                  <a:lnTo>
                    <a:pt x="524" y="273"/>
                  </a:lnTo>
                  <a:lnTo>
                    <a:pt x="518" y="272"/>
                  </a:lnTo>
                  <a:lnTo>
                    <a:pt x="511" y="271"/>
                  </a:lnTo>
                  <a:lnTo>
                    <a:pt x="504" y="272"/>
                  </a:lnTo>
                  <a:lnTo>
                    <a:pt x="496" y="273"/>
                  </a:lnTo>
                  <a:lnTo>
                    <a:pt x="490" y="275"/>
                  </a:lnTo>
                  <a:lnTo>
                    <a:pt x="484" y="278"/>
                  </a:lnTo>
                  <a:lnTo>
                    <a:pt x="478" y="281"/>
                  </a:lnTo>
                  <a:lnTo>
                    <a:pt x="472" y="286"/>
                  </a:lnTo>
                  <a:lnTo>
                    <a:pt x="467" y="291"/>
                  </a:lnTo>
                  <a:lnTo>
                    <a:pt x="463" y="295"/>
                  </a:lnTo>
                  <a:lnTo>
                    <a:pt x="345" y="248"/>
                  </a:lnTo>
                  <a:lnTo>
                    <a:pt x="345" y="245"/>
                  </a:lnTo>
                  <a:lnTo>
                    <a:pt x="345" y="240"/>
                  </a:lnTo>
                  <a:lnTo>
                    <a:pt x="345" y="235"/>
                  </a:lnTo>
                  <a:lnTo>
                    <a:pt x="344" y="229"/>
                  </a:lnTo>
                  <a:lnTo>
                    <a:pt x="343" y="223"/>
                  </a:lnTo>
                  <a:lnTo>
                    <a:pt x="341" y="218"/>
                  </a:lnTo>
                  <a:lnTo>
                    <a:pt x="339" y="213"/>
                  </a:lnTo>
                  <a:lnTo>
                    <a:pt x="336" y="207"/>
                  </a:lnTo>
                  <a:lnTo>
                    <a:pt x="332" y="203"/>
                  </a:lnTo>
                  <a:lnTo>
                    <a:pt x="328" y="199"/>
                  </a:lnTo>
                  <a:lnTo>
                    <a:pt x="324" y="194"/>
                  </a:lnTo>
                  <a:lnTo>
                    <a:pt x="319" y="191"/>
                  </a:lnTo>
                  <a:lnTo>
                    <a:pt x="314" y="188"/>
                  </a:lnTo>
                  <a:lnTo>
                    <a:pt x="309" y="186"/>
                  </a:lnTo>
                  <a:lnTo>
                    <a:pt x="303" y="184"/>
                  </a:lnTo>
                  <a:lnTo>
                    <a:pt x="298" y="181"/>
                  </a:lnTo>
                  <a:lnTo>
                    <a:pt x="292" y="181"/>
                  </a:lnTo>
                  <a:lnTo>
                    <a:pt x="285" y="180"/>
                  </a:lnTo>
                  <a:lnTo>
                    <a:pt x="280" y="181"/>
                  </a:lnTo>
                  <a:lnTo>
                    <a:pt x="273" y="181"/>
                  </a:lnTo>
                  <a:lnTo>
                    <a:pt x="268" y="184"/>
                  </a:lnTo>
                  <a:lnTo>
                    <a:pt x="262" y="186"/>
                  </a:lnTo>
                  <a:lnTo>
                    <a:pt x="257" y="188"/>
                  </a:lnTo>
                  <a:lnTo>
                    <a:pt x="252" y="191"/>
                  </a:lnTo>
                  <a:lnTo>
                    <a:pt x="248" y="194"/>
                  </a:lnTo>
                  <a:lnTo>
                    <a:pt x="243" y="199"/>
                  </a:lnTo>
                  <a:lnTo>
                    <a:pt x="239" y="203"/>
                  </a:lnTo>
                  <a:lnTo>
                    <a:pt x="236" y="207"/>
                  </a:lnTo>
                  <a:lnTo>
                    <a:pt x="233" y="213"/>
                  </a:lnTo>
                  <a:lnTo>
                    <a:pt x="230" y="218"/>
                  </a:lnTo>
                  <a:lnTo>
                    <a:pt x="228" y="223"/>
                  </a:lnTo>
                  <a:lnTo>
                    <a:pt x="226" y="229"/>
                  </a:lnTo>
                  <a:lnTo>
                    <a:pt x="225" y="235"/>
                  </a:lnTo>
                  <a:lnTo>
                    <a:pt x="225" y="240"/>
                  </a:lnTo>
                  <a:lnTo>
                    <a:pt x="226" y="248"/>
                  </a:lnTo>
                  <a:lnTo>
                    <a:pt x="227" y="254"/>
                  </a:lnTo>
                  <a:lnTo>
                    <a:pt x="229" y="261"/>
                  </a:lnTo>
                  <a:lnTo>
                    <a:pt x="231" y="267"/>
                  </a:lnTo>
                  <a:lnTo>
                    <a:pt x="94" y="387"/>
                  </a:lnTo>
                  <a:lnTo>
                    <a:pt x="86" y="382"/>
                  </a:lnTo>
                  <a:lnTo>
                    <a:pt x="78" y="379"/>
                  </a:lnTo>
                  <a:lnTo>
                    <a:pt x="68" y="377"/>
                  </a:lnTo>
                  <a:lnTo>
                    <a:pt x="60" y="377"/>
                  </a:lnTo>
                  <a:lnTo>
                    <a:pt x="53" y="377"/>
                  </a:lnTo>
                  <a:lnTo>
                    <a:pt x="47" y="378"/>
                  </a:lnTo>
                  <a:lnTo>
                    <a:pt x="42" y="379"/>
                  </a:lnTo>
                  <a:lnTo>
                    <a:pt x="36" y="381"/>
                  </a:lnTo>
                  <a:lnTo>
                    <a:pt x="31" y="383"/>
                  </a:lnTo>
                  <a:lnTo>
                    <a:pt x="26" y="386"/>
                  </a:lnTo>
                  <a:lnTo>
                    <a:pt x="21" y="391"/>
                  </a:lnTo>
                  <a:lnTo>
                    <a:pt x="17" y="394"/>
                  </a:lnTo>
                  <a:lnTo>
                    <a:pt x="13" y="398"/>
                  </a:lnTo>
                  <a:lnTo>
                    <a:pt x="9" y="402"/>
                  </a:lnTo>
                  <a:lnTo>
                    <a:pt x="6" y="408"/>
                  </a:lnTo>
                  <a:lnTo>
                    <a:pt x="4" y="413"/>
                  </a:lnTo>
                  <a:lnTo>
                    <a:pt x="2" y="419"/>
                  </a:lnTo>
                  <a:lnTo>
                    <a:pt x="1" y="425"/>
                  </a:lnTo>
                  <a:lnTo>
                    <a:pt x="0" y="430"/>
                  </a:lnTo>
                  <a:lnTo>
                    <a:pt x="0" y="437"/>
                  </a:lnTo>
                  <a:lnTo>
                    <a:pt x="0" y="443"/>
                  </a:lnTo>
                  <a:lnTo>
                    <a:pt x="1" y="449"/>
                  </a:lnTo>
                  <a:lnTo>
                    <a:pt x="2" y="455"/>
                  </a:lnTo>
                  <a:lnTo>
                    <a:pt x="4" y="460"/>
                  </a:lnTo>
                  <a:lnTo>
                    <a:pt x="6" y="466"/>
                  </a:lnTo>
                  <a:lnTo>
                    <a:pt x="9" y="470"/>
                  </a:lnTo>
                  <a:lnTo>
                    <a:pt x="13" y="475"/>
                  </a:lnTo>
                  <a:lnTo>
                    <a:pt x="17" y="480"/>
                  </a:lnTo>
                  <a:lnTo>
                    <a:pt x="21" y="483"/>
                  </a:lnTo>
                  <a:lnTo>
                    <a:pt x="26" y="486"/>
                  </a:lnTo>
                  <a:lnTo>
                    <a:pt x="31" y="489"/>
                  </a:lnTo>
                  <a:lnTo>
                    <a:pt x="36" y="493"/>
                  </a:lnTo>
                  <a:lnTo>
                    <a:pt x="42" y="494"/>
                  </a:lnTo>
                  <a:lnTo>
                    <a:pt x="47" y="496"/>
                  </a:lnTo>
                  <a:lnTo>
                    <a:pt x="53" y="497"/>
                  </a:lnTo>
                  <a:lnTo>
                    <a:pt x="60" y="497"/>
                  </a:lnTo>
                  <a:close/>
                </a:path>
              </a:pathLst>
            </a:custGeom>
            <a:solidFill>
              <a:srgbClr val="37B3A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latin typeface="+mn-lt"/>
              </a:endParaRPr>
            </a:p>
          </p:txBody>
        </p:sp>
      </p:grpSp>
      <p:sp>
        <p:nvSpPr>
          <p:cNvPr id="23" name="Freeform 60"/>
          <p:cNvSpPr>
            <a:spLocks noEditPoints="1"/>
          </p:cNvSpPr>
          <p:nvPr/>
        </p:nvSpPr>
        <p:spPr bwMode="auto">
          <a:xfrm>
            <a:off x="1709738" y="1806575"/>
            <a:ext cx="273050" cy="273050"/>
          </a:xfrm>
          <a:custGeom>
            <a:avLst/>
            <a:gdLst>
              <a:gd name="T0" fmla="*/ 600 w 1152"/>
              <a:gd name="T1" fmla="*/ 944 h 1153"/>
              <a:gd name="T2" fmla="*/ 578 w 1152"/>
              <a:gd name="T3" fmla="*/ 940 h 1153"/>
              <a:gd name="T4" fmla="*/ 908 w 1152"/>
              <a:gd name="T5" fmla="*/ 1066 h 1153"/>
              <a:gd name="T6" fmla="*/ 367 w 1152"/>
              <a:gd name="T7" fmla="*/ 868 h 1153"/>
              <a:gd name="T8" fmla="*/ 1049 w 1152"/>
              <a:gd name="T9" fmla="*/ 137 h 1153"/>
              <a:gd name="T10" fmla="*/ 367 w 1152"/>
              <a:gd name="T11" fmla="*/ 868 h 1153"/>
              <a:gd name="T12" fmla="*/ 947 w 1152"/>
              <a:gd name="T13" fmla="*/ 193 h 1153"/>
              <a:gd name="T14" fmla="*/ 336 w 1152"/>
              <a:gd name="T15" fmla="*/ 838 h 1153"/>
              <a:gd name="T16" fmla="*/ 113 w 1152"/>
              <a:gd name="T17" fmla="*/ 749 h 1153"/>
              <a:gd name="T18" fmla="*/ 1131 w 1152"/>
              <a:gd name="T19" fmla="*/ 4 h 1153"/>
              <a:gd name="T20" fmla="*/ 1121 w 1152"/>
              <a:gd name="T21" fmla="*/ 1 h 1153"/>
              <a:gd name="T22" fmla="*/ 1110 w 1152"/>
              <a:gd name="T23" fmla="*/ 1 h 1153"/>
              <a:gd name="T24" fmla="*/ 1101 w 1152"/>
              <a:gd name="T25" fmla="*/ 5 h 1153"/>
              <a:gd name="T26" fmla="*/ 16 w 1152"/>
              <a:gd name="T27" fmla="*/ 727 h 1153"/>
              <a:gd name="T28" fmla="*/ 9 w 1152"/>
              <a:gd name="T29" fmla="*/ 734 h 1153"/>
              <a:gd name="T30" fmla="*/ 3 w 1152"/>
              <a:gd name="T31" fmla="*/ 741 h 1153"/>
              <a:gd name="T32" fmla="*/ 0 w 1152"/>
              <a:gd name="T33" fmla="*/ 751 h 1153"/>
              <a:gd name="T34" fmla="*/ 0 w 1152"/>
              <a:gd name="T35" fmla="*/ 761 h 1153"/>
              <a:gd name="T36" fmla="*/ 2 w 1152"/>
              <a:gd name="T37" fmla="*/ 770 h 1153"/>
              <a:gd name="T38" fmla="*/ 8 w 1152"/>
              <a:gd name="T39" fmla="*/ 779 h 1153"/>
              <a:gd name="T40" fmla="*/ 14 w 1152"/>
              <a:gd name="T41" fmla="*/ 785 h 1153"/>
              <a:gd name="T42" fmla="*/ 23 w 1152"/>
              <a:gd name="T43" fmla="*/ 790 h 1153"/>
              <a:gd name="T44" fmla="*/ 436 w 1152"/>
              <a:gd name="T45" fmla="*/ 1134 h 1153"/>
              <a:gd name="T46" fmla="*/ 443 w 1152"/>
              <a:gd name="T47" fmla="*/ 1142 h 1153"/>
              <a:gd name="T48" fmla="*/ 449 w 1152"/>
              <a:gd name="T49" fmla="*/ 1148 h 1153"/>
              <a:gd name="T50" fmla="*/ 458 w 1152"/>
              <a:gd name="T51" fmla="*/ 1152 h 1153"/>
              <a:gd name="T52" fmla="*/ 468 w 1152"/>
              <a:gd name="T53" fmla="*/ 1153 h 1153"/>
              <a:gd name="T54" fmla="*/ 473 w 1152"/>
              <a:gd name="T55" fmla="*/ 1153 h 1153"/>
              <a:gd name="T56" fmla="*/ 482 w 1152"/>
              <a:gd name="T57" fmla="*/ 1150 h 1153"/>
              <a:gd name="T58" fmla="*/ 489 w 1152"/>
              <a:gd name="T59" fmla="*/ 1145 h 1153"/>
              <a:gd name="T60" fmla="*/ 496 w 1152"/>
              <a:gd name="T61" fmla="*/ 1139 h 1153"/>
              <a:gd name="T62" fmla="*/ 573 w 1152"/>
              <a:gd name="T63" fmla="*/ 1010 h 1153"/>
              <a:gd name="T64" fmla="*/ 929 w 1152"/>
              <a:gd name="T65" fmla="*/ 1153 h 1153"/>
              <a:gd name="T66" fmla="*/ 941 w 1152"/>
              <a:gd name="T67" fmla="*/ 1153 h 1153"/>
              <a:gd name="T68" fmla="*/ 949 w 1152"/>
              <a:gd name="T69" fmla="*/ 1150 h 1153"/>
              <a:gd name="T70" fmla="*/ 960 w 1152"/>
              <a:gd name="T71" fmla="*/ 1143 h 1153"/>
              <a:gd name="T72" fmla="*/ 969 w 1152"/>
              <a:gd name="T73" fmla="*/ 1130 h 1153"/>
              <a:gd name="T74" fmla="*/ 1151 w 1152"/>
              <a:gd name="T75" fmla="*/ 42 h 1153"/>
              <a:gd name="T76" fmla="*/ 1151 w 1152"/>
              <a:gd name="T77" fmla="*/ 33 h 1153"/>
              <a:gd name="T78" fmla="*/ 1149 w 1152"/>
              <a:gd name="T79" fmla="*/ 22 h 1153"/>
              <a:gd name="T80" fmla="*/ 1144 w 1152"/>
              <a:gd name="T81" fmla="*/ 13 h 1153"/>
              <a:gd name="T82" fmla="*/ 1135 w 1152"/>
              <a:gd name="T83" fmla="*/ 7 h 1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52" h="1153">
                <a:moveTo>
                  <a:pt x="908" y="1066"/>
                </a:moveTo>
                <a:lnTo>
                  <a:pt x="600" y="944"/>
                </a:lnTo>
                <a:lnTo>
                  <a:pt x="590" y="941"/>
                </a:lnTo>
                <a:lnTo>
                  <a:pt x="578" y="940"/>
                </a:lnTo>
                <a:lnTo>
                  <a:pt x="1051" y="205"/>
                </a:lnTo>
                <a:lnTo>
                  <a:pt x="908" y="1066"/>
                </a:lnTo>
                <a:close/>
                <a:moveTo>
                  <a:pt x="367" y="868"/>
                </a:moveTo>
                <a:lnTo>
                  <a:pt x="367" y="868"/>
                </a:lnTo>
                <a:lnTo>
                  <a:pt x="366" y="866"/>
                </a:lnTo>
                <a:lnTo>
                  <a:pt x="1049" y="137"/>
                </a:lnTo>
                <a:lnTo>
                  <a:pt x="468" y="1042"/>
                </a:lnTo>
                <a:lnTo>
                  <a:pt x="367" y="868"/>
                </a:lnTo>
                <a:close/>
                <a:moveTo>
                  <a:pt x="113" y="749"/>
                </a:moveTo>
                <a:lnTo>
                  <a:pt x="947" y="193"/>
                </a:lnTo>
                <a:lnTo>
                  <a:pt x="340" y="842"/>
                </a:lnTo>
                <a:lnTo>
                  <a:pt x="336" y="838"/>
                </a:lnTo>
                <a:lnTo>
                  <a:pt x="332" y="836"/>
                </a:lnTo>
                <a:lnTo>
                  <a:pt x="113" y="749"/>
                </a:lnTo>
                <a:close/>
                <a:moveTo>
                  <a:pt x="1135" y="7"/>
                </a:moveTo>
                <a:lnTo>
                  <a:pt x="1131" y="4"/>
                </a:lnTo>
                <a:lnTo>
                  <a:pt x="1126" y="2"/>
                </a:lnTo>
                <a:lnTo>
                  <a:pt x="1121" y="1"/>
                </a:lnTo>
                <a:lnTo>
                  <a:pt x="1116" y="0"/>
                </a:lnTo>
                <a:lnTo>
                  <a:pt x="1110" y="1"/>
                </a:lnTo>
                <a:lnTo>
                  <a:pt x="1106" y="2"/>
                </a:lnTo>
                <a:lnTo>
                  <a:pt x="1101" y="5"/>
                </a:lnTo>
                <a:lnTo>
                  <a:pt x="1096" y="7"/>
                </a:lnTo>
                <a:lnTo>
                  <a:pt x="16" y="727"/>
                </a:lnTo>
                <a:lnTo>
                  <a:pt x="12" y="730"/>
                </a:lnTo>
                <a:lnTo>
                  <a:pt x="9" y="734"/>
                </a:lnTo>
                <a:lnTo>
                  <a:pt x="5" y="737"/>
                </a:lnTo>
                <a:lnTo>
                  <a:pt x="3" y="741"/>
                </a:lnTo>
                <a:lnTo>
                  <a:pt x="2" y="745"/>
                </a:lnTo>
                <a:lnTo>
                  <a:pt x="0" y="751"/>
                </a:lnTo>
                <a:lnTo>
                  <a:pt x="0" y="755"/>
                </a:lnTo>
                <a:lnTo>
                  <a:pt x="0" y="761"/>
                </a:lnTo>
                <a:lnTo>
                  <a:pt x="1" y="765"/>
                </a:lnTo>
                <a:lnTo>
                  <a:pt x="2" y="770"/>
                </a:lnTo>
                <a:lnTo>
                  <a:pt x="4" y="775"/>
                </a:lnTo>
                <a:lnTo>
                  <a:pt x="8" y="779"/>
                </a:lnTo>
                <a:lnTo>
                  <a:pt x="11" y="782"/>
                </a:lnTo>
                <a:lnTo>
                  <a:pt x="14" y="785"/>
                </a:lnTo>
                <a:lnTo>
                  <a:pt x="18" y="788"/>
                </a:lnTo>
                <a:lnTo>
                  <a:pt x="23" y="790"/>
                </a:lnTo>
                <a:lnTo>
                  <a:pt x="305" y="903"/>
                </a:lnTo>
                <a:lnTo>
                  <a:pt x="436" y="1134"/>
                </a:lnTo>
                <a:lnTo>
                  <a:pt x="440" y="1139"/>
                </a:lnTo>
                <a:lnTo>
                  <a:pt x="443" y="1142"/>
                </a:lnTo>
                <a:lnTo>
                  <a:pt x="446" y="1145"/>
                </a:lnTo>
                <a:lnTo>
                  <a:pt x="449" y="1148"/>
                </a:lnTo>
                <a:lnTo>
                  <a:pt x="454" y="1149"/>
                </a:lnTo>
                <a:lnTo>
                  <a:pt x="458" y="1152"/>
                </a:lnTo>
                <a:lnTo>
                  <a:pt x="463" y="1153"/>
                </a:lnTo>
                <a:lnTo>
                  <a:pt x="468" y="1153"/>
                </a:lnTo>
                <a:lnTo>
                  <a:pt x="468" y="1153"/>
                </a:lnTo>
                <a:lnTo>
                  <a:pt x="473" y="1153"/>
                </a:lnTo>
                <a:lnTo>
                  <a:pt x="477" y="1152"/>
                </a:lnTo>
                <a:lnTo>
                  <a:pt x="482" y="1150"/>
                </a:lnTo>
                <a:lnTo>
                  <a:pt x="486" y="1148"/>
                </a:lnTo>
                <a:lnTo>
                  <a:pt x="489" y="1145"/>
                </a:lnTo>
                <a:lnTo>
                  <a:pt x="494" y="1143"/>
                </a:lnTo>
                <a:lnTo>
                  <a:pt x="496" y="1139"/>
                </a:lnTo>
                <a:lnTo>
                  <a:pt x="499" y="1135"/>
                </a:lnTo>
                <a:lnTo>
                  <a:pt x="573" y="1010"/>
                </a:lnTo>
                <a:lnTo>
                  <a:pt x="922" y="1150"/>
                </a:lnTo>
                <a:lnTo>
                  <a:pt x="929" y="1153"/>
                </a:lnTo>
                <a:lnTo>
                  <a:pt x="936" y="1153"/>
                </a:lnTo>
                <a:lnTo>
                  <a:pt x="941" y="1153"/>
                </a:lnTo>
                <a:lnTo>
                  <a:pt x="945" y="1152"/>
                </a:lnTo>
                <a:lnTo>
                  <a:pt x="949" y="1150"/>
                </a:lnTo>
                <a:lnTo>
                  <a:pt x="954" y="1148"/>
                </a:lnTo>
                <a:lnTo>
                  <a:pt x="960" y="1143"/>
                </a:lnTo>
                <a:lnTo>
                  <a:pt x="966" y="1138"/>
                </a:lnTo>
                <a:lnTo>
                  <a:pt x="969" y="1130"/>
                </a:lnTo>
                <a:lnTo>
                  <a:pt x="972" y="1122"/>
                </a:lnTo>
                <a:lnTo>
                  <a:pt x="1151" y="42"/>
                </a:lnTo>
                <a:lnTo>
                  <a:pt x="1152" y="37"/>
                </a:lnTo>
                <a:lnTo>
                  <a:pt x="1151" y="33"/>
                </a:lnTo>
                <a:lnTo>
                  <a:pt x="1150" y="27"/>
                </a:lnTo>
                <a:lnTo>
                  <a:pt x="1149" y="22"/>
                </a:lnTo>
                <a:lnTo>
                  <a:pt x="1147" y="18"/>
                </a:lnTo>
                <a:lnTo>
                  <a:pt x="1144" y="13"/>
                </a:lnTo>
                <a:lnTo>
                  <a:pt x="1139" y="10"/>
                </a:lnTo>
                <a:lnTo>
                  <a:pt x="1135" y="7"/>
                </a:lnTo>
                <a:close/>
              </a:path>
            </a:pathLst>
          </a:custGeom>
          <a:solidFill>
            <a:schemeClr val="bg1">
              <a:lumMod val="65000"/>
            </a:schemeClr>
          </a:solidFill>
          <a:ln>
            <a:noFill/>
          </a:ln>
        </p:spPr>
        <p:txBody>
          <a:bodyPr/>
          <a:lstStyle/>
          <a:p>
            <a:pPr eaLnBrk="1" fontAlgn="auto" hangingPunct="1">
              <a:spcBef>
                <a:spcPts val="0"/>
              </a:spcBef>
              <a:spcAft>
                <a:spcPts val="0"/>
              </a:spcAft>
              <a:defRPr/>
            </a:pPr>
            <a:endParaRPr lang="en-US">
              <a:latin typeface="+mn-lt"/>
            </a:endParaRPr>
          </a:p>
        </p:txBody>
      </p:sp>
      <p:grpSp>
        <p:nvGrpSpPr>
          <p:cNvPr id="24" name="Group 23"/>
          <p:cNvGrpSpPr/>
          <p:nvPr/>
        </p:nvGrpSpPr>
        <p:grpSpPr>
          <a:xfrm>
            <a:off x="8417869" y="1765073"/>
            <a:ext cx="243547" cy="354248"/>
            <a:chOff x="3720306" y="3668315"/>
            <a:chExt cx="314325" cy="457200"/>
          </a:xfrm>
          <a:solidFill>
            <a:schemeClr val="bg1">
              <a:lumMod val="65000"/>
            </a:schemeClr>
          </a:solidFill>
        </p:grpSpPr>
        <p:sp>
          <p:nvSpPr>
            <p:cNvPr id="36" name="Freeform 114"/>
            <p:cNvSpPr>
              <a:spLocks noEditPoints="1"/>
            </p:cNvSpPr>
            <p:nvPr/>
          </p:nvSpPr>
          <p:spPr bwMode="auto">
            <a:xfrm>
              <a:off x="3720306" y="3668315"/>
              <a:ext cx="314325" cy="457200"/>
            </a:xfrm>
            <a:custGeom>
              <a:avLst/>
              <a:gdLst>
                <a:gd name="T0" fmla="*/ 184 w 793"/>
                <a:gd name="T1" fmla="*/ 669 h 1152"/>
                <a:gd name="T2" fmla="*/ 103 w 793"/>
                <a:gd name="T3" fmla="*/ 514 h 1152"/>
                <a:gd name="T4" fmla="*/ 78 w 793"/>
                <a:gd name="T5" fmla="*/ 439 h 1152"/>
                <a:gd name="T6" fmla="*/ 75 w 793"/>
                <a:gd name="T7" fmla="*/ 363 h 1152"/>
                <a:gd name="T8" fmla="*/ 92 w 793"/>
                <a:gd name="T9" fmla="*/ 284 h 1152"/>
                <a:gd name="T10" fmla="*/ 128 w 793"/>
                <a:gd name="T11" fmla="*/ 215 h 1152"/>
                <a:gd name="T12" fmla="*/ 180 w 793"/>
                <a:gd name="T13" fmla="*/ 156 h 1152"/>
                <a:gd name="T14" fmla="*/ 242 w 793"/>
                <a:gd name="T15" fmla="*/ 112 h 1152"/>
                <a:gd name="T16" fmla="*/ 316 w 793"/>
                <a:gd name="T17" fmla="*/ 82 h 1152"/>
                <a:gd name="T18" fmla="*/ 397 w 793"/>
                <a:gd name="T19" fmla="*/ 72 h 1152"/>
                <a:gd name="T20" fmla="*/ 478 w 793"/>
                <a:gd name="T21" fmla="*/ 82 h 1152"/>
                <a:gd name="T22" fmla="*/ 551 w 793"/>
                <a:gd name="T23" fmla="*/ 112 h 1152"/>
                <a:gd name="T24" fmla="*/ 615 w 793"/>
                <a:gd name="T25" fmla="*/ 156 h 1152"/>
                <a:gd name="T26" fmla="*/ 666 w 793"/>
                <a:gd name="T27" fmla="*/ 215 h 1152"/>
                <a:gd name="T28" fmla="*/ 701 w 793"/>
                <a:gd name="T29" fmla="*/ 284 h 1152"/>
                <a:gd name="T30" fmla="*/ 720 w 793"/>
                <a:gd name="T31" fmla="*/ 363 h 1152"/>
                <a:gd name="T32" fmla="*/ 717 w 793"/>
                <a:gd name="T33" fmla="*/ 438 h 1152"/>
                <a:gd name="T34" fmla="*/ 691 w 793"/>
                <a:gd name="T35" fmla="*/ 513 h 1152"/>
                <a:gd name="T36" fmla="*/ 610 w 793"/>
                <a:gd name="T37" fmla="*/ 669 h 1152"/>
                <a:gd name="T38" fmla="*/ 397 w 793"/>
                <a:gd name="T39" fmla="*/ 1080 h 1152"/>
                <a:gd name="T40" fmla="*/ 346 w 793"/>
                <a:gd name="T41" fmla="*/ 1067 h 1152"/>
                <a:gd name="T42" fmla="*/ 469 w 793"/>
                <a:gd name="T43" fmla="*/ 1036 h 1152"/>
                <a:gd name="T44" fmla="*/ 445 w 793"/>
                <a:gd name="T45" fmla="*/ 1071 h 1152"/>
                <a:gd name="T46" fmla="*/ 412 w 793"/>
                <a:gd name="T47" fmla="*/ 1079 h 1152"/>
                <a:gd name="T48" fmla="*/ 263 w 793"/>
                <a:gd name="T49" fmla="*/ 846 h 1152"/>
                <a:gd name="T50" fmla="*/ 528 w 793"/>
                <a:gd name="T51" fmla="*/ 857 h 1152"/>
                <a:gd name="T52" fmla="*/ 307 w 793"/>
                <a:gd name="T53" fmla="*/ 986 h 1152"/>
                <a:gd name="T54" fmla="*/ 290 w 793"/>
                <a:gd name="T55" fmla="*/ 931 h 1152"/>
                <a:gd name="T56" fmla="*/ 496 w 793"/>
                <a:gd name="T57" fmla="*/ 958 h 1152"/>
                <a:gd name="T58" fmla="*/ 376 w 793"/>
                <a:gd name="T59" fmla="*/ 0 h 1152"/>
                <a:gd name="T60" fmla="*/ 279 w 793"/>
                <a:gd name="T61" fmla="*/ 18 h 1152"/>
                <a:gd name="T62" fmla="*/ 192 w 793"/>
                <a:gd name="T63" fmla="*/ 58 h 1152"/>
                <a:gd name="T64" fmla="*/ 117 w 793"/>
                <a:gd name="T65" fmla="*/ 116 h 1152"/>
                <a:gd name="T66" fmla="*/ 59 w 793"/>
                <a:gd name="T67" fmla="*/ 190 h 1152"/>
                <a:gd name="T68" fmla="*/ 19 w 793"/>
                <a:gd name="T69" fmla="*/ 278 h 1152"/>
                <a:gd name="T70" fmla="*/ 2 w 793"/>
                <a:gd name="T71" fmla="*/ 375 h 1152"/>
                <a:gd name="T72" fmla="*/ 7 w 793"/>
                <a:gd name="T73" fmla="*/ 451 h 1152"/>
                <a:gd name="T74" fmla="*/ 59 w 793"/>
                <a:gd name="T75" fmla="*/ 589 h 1152"/>
                <a:gd name="T76" fmla="*/ 160 w 793"/>
                <a:gd name="T77" fmla="*/ 778 h 1152"/>
                <a:gd name="T78" fmla="*/ 234 w 793"/>
                <a:gd name="T79" fmla="*/ 994 h 1152"/>
                <a:gd name="T80" fmla="*/ 270 w 793"/>
                <a:gd name="T81" fmla="*/ 1086 h 1152"/>
                <a:gd name="T82" fmla="*/ 302 w 793"/>
                <a:gd name="T83" fmla="*/ 1125 h 1152"/>
                <a:gd name="T84" fmla="*/ 347 w 793"/>
                <a:gd name="T85" fmla="*/ 1146 h 1152"/>
                <a:gd name="T86" fmla="*/ 411 w 793"/>
                <a:gd name="T87" fmla="*/ 1152 h 1152"/>
                <a:gd name="T88" fmla="*/ 467 w 793"/>
                <a:gd name="T89" fmla="*/ 1140 h 1152"/>
                <a:gd name="T90" fmla="*/ 507 w 793"/>
                <a:gd name="T91" fmla="*/ 1111 h 1152"/>
                <a:gd name="T92" fmla="*/ 535 w 793"/>
                <a:gd name="T93" fmla="*/ 1066 h 1152"/>
                <a:gd name="T94" fmla="*/ 578 w 793"/>
                <a:gd name="T95" fmla="*/ 935 h 1152"/>
                <a:gd name="T96" fmla="*/ 633 w 793"/>
                <a:gd name="T97" fmla="*/ 779 h 1152"/>
                <a:gd name="T98" fmla="*/ 735 w 793"/>
                <a:gd name="T99" fmla="*/ 589 h 1152"/>
                <a:gd name="T100" fmla="*/ 787 w 793"/>
                <a:gd name="T101" fmla="*/ 451 h 1152"/>
                <a:gd name="T102" fmla="*/ 792 w 793"/>
                <a:gd name="T103" fmla="*/ 375 h 1152"/>
                <a:gd name="T104" fmla="*/ 775 w 793"/>
                <a:gd name="T105" fmla="*/ 278 h 1152"/>
                <a:gd name="T106" fmla="*/ 736 w 793"/>
                <a:gd name="T107" fmla="*/ 190 h 1152"/>
                <a:gd name="T108" fmla="*/ 677 w 793"/>
                <a:gd name="T109" fmla="*/ 116 h 1152"/>
                <a:gd name="T110" fmla="*/ 602 w 793"/>
                <a:gd name="T111" fmla="*/ 58 h 1152"/>
                <a:gd name="T112" fmla="*/ 515 w 793"/>
                <a:gd name="T113" fmla="*/ 18 h 1152"/>
                <a:gd name="T114" fmla="*/ 417 w 793"/>
                <a:gd name="T115"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93" h="1152">
                  <a:moveTo>
                    <a:pt x="565" y="756"/>
                  </a:moveTo>
                  <a:lnTo>
                    <a:pt x="229" y="756"/>
                  </a:lnTo>
                  <a:lnTo>
                    <a:pt x="215" y="727"/>
                  </a:lnTo>
                  <a:lnTo>
                    <a:pt x="200" y="698"/>
                  </a:lnTo>
                  <a:lnTo>
                    <a:pt x="184" y="669"/>
                  </a:lnTo>
                  <a:lnTo>
                    <a:pt x="169" y="640"/>
                  </a:lnTo>
                  <a:lnTo>
                    <a:pt x="151" y="608"/>
                  </a:lnTo>
                  <a:lnTo>
                    <a:pt x="133" y="577"/>
                  </a:lnTo>
                  <a:lnTo>
                    <a:pt x="117" y="545"/>
                  </a:lnTo>
                  <a:lnTo>
                    <a:pt x="103" y="514"/>
                  </a:lnTo>
                  <a:lnTo>
                    <a:pt x="97" y="498"/>
                  </a:lnTo>
                  <a:lnTo>
                    <a:pt x="91" y="483"/>
                  </a:lnTo>
                  <a:lnTo>
                    <a:pt x="86" y="468"/>
                  </a:lnTo>
                  <a:lnTo>
                    <a:pt x="81" y="453"/>
                  </a:lnTo>
                  <a:lnTo>
                    <a:pt x="78" y="439"/>
                  </a:lnTo>
                  <a:lnTo>
                    <a:pt x="75" y="424"/>
                  </a:lnTo>
                  <a:lnTo>
                    <a:pt x="74" y="410"/>
                  </a:lnTo>
                  <a:lnTo>
                    <a:pt x="73" y="396"/>
                  </a:lnTo>
                  <a:lnTo>
                    <a:pt x="74" y="379"/>
                  </a:lnTo>
                  <a:lnTo>
                    <a:pt x="75" y="363"/>
                  </a:lnTo>
                  <a:lnTo>
                    <a:pt x="77" y="347"/>
                  </a:lnTo>
                  <a:lnTo>
                    <a:pt x="79" y="331"/>
                  </a:lnTo>
                  <a:lnTo>
                    <a:pt x="84" y="315"/>
                  </a:lnTo>
                  <a:lnTo>
                    <a:pt x="88" y="300"/>
                  </a:lnTo>
                  <a:lnTo>
                    <a:pt x="92" y="284"/>
                  </a:lnTo>
                  <a:lnTo>
                    <a:pt x="99" y="270"/>
                  </a:lnTo>
                  <a:lnTo>
                    <a:pt x="105" y="255"/>
                  </a:lnTo>
                  <a:lnTo>
                    <a:pt x="112" y="241"/>
                  </a:lnTo>
                  <a:lnTo>
                    <a:pt x="120" y="228"/>
                  </a:lnTo>
                  <a:lnTo>
                    <a:pt x="128" y="215"/>
                  </a:lnTo>
                  <a:lnTo>
                    <a:pt x="138" y="202"/>
                  </a:lnTo>
                  <a:lnTo>
                    <a:pt x="147" y="190"/>
                  </a:lnTo>
                  <a:lnTo>
                    <a:pt x="157" y="179"/>
                  </a:lnTo>
                  <a:lnTo>
                    <a:pt x="168" y="167"/>
                  </a:lnTo>
                  <a:lnTo>
                    <a:pt x="180" y="156"/>
                  </a:lnTo>
                  <a:lnTo>
                    <a:pt x="191" y="146"/>
                  </a:lnTo>
                  <a:lnTo>
                    <a:pt x="204" y="136"/>
                  </a:lnTo>
                  <a:lnTo>
                    <a:pt x="216" y="128"/>
                  </a:lnTo>
                  <a:lnTo>
                    <a:pt x="229" y="119"/>
                  </a:lnTo>
                  <a:lnTo>
                    <a:pt x="242" y="112"/>
                  </a:lnTo>
                  <a:lnTo>
                    <a:pt x="256" y="104"/>
                  </a:lnTo>
                  <a:lnTo>
                    <a:pt x="270" y="98"/>
                  </a:lnTo>
                  <a:lnTo>
                    <a:pt x="286" y="91"/>
                  </a:lnTo>
                  <a:lnTo>
                    <a:pt x="301" y="87"/>
                  </a:lnTo>
                  <a:lnTo>
                    <a:pt x="316" y="82"/>
                  </a:lnTo>
                  <a:lnTo>
                    <a:pt x="332" y="78"/>
                  </a:lnTo>
                  <a:lnTo>
                    <a:pt x="348" y="76"/>
                  </a:lnTo>
                  <a:lnTo>
                    <a:pt x="364" y="74"/>
                  </a:lnTo>
                  <a:lnTo>
                    <a:pt x="381" y="73"/>
                  </a:lnTo>
                  <a:lnTo>
                    <a:pt x="397" y="72"/>
                  </a:lnTo>
                  <a:lnTo>
                    <a:pt x="414" y="73"/>
                  </a:lnTo>
                  <a:lnTo>
                    <a:pt x="430" y="74"/>
                  </a:lnTo>
                  <a:lnTo>
                    <a:pt x="447" y="76"/>
                  </a:lnTo>
                  <a:lnTo>
                    <a:pt x="463" y="78"/>
                  </a:lnTo>
                  <a:lnTo>
                    <a:pt x="478" y="82"/>
                  </a:lnTo>
                  <a:lnTo>
                    <a:pt x="493" y="87"/>
                  </a:lnTo>
                  <a:lnTo>
                    <a:pt x="508" y="91"/>
                  </a:lnTo>
                  <a:lnTo>
                    <a:pt x="523" y="98"/>
                  </a:lnTo>
                  <a:lnTo>
                    <a:pt x="537" y="104"/>
                  </a:lnTo>
                  <a:lnTo>
                    <a:pt x="551" y="112"/>
                  </a:lnTo>
                  <a:lnTo>
                    <a:pt x="565" y="119"/>
                  </a:lnTo>
                  <a:lnTo>
                    <a:pt x="578" y="128"/>
                  </a:lnTo>
                  <a:lnTo>
                    <a:pt x="591" y="136"/>
                  </a:lnTo>
                  <a:lnTo>
                    <a:pt x="603" y="146"/>
                  </a:lnTo>
                  <a:lnTo>
                    <a:pt x="615" y="156"/>
                  </a:lnTo>
                  <a:lnTo>
                    <a:pt x="626" y="167"/>
                  </a:lnTo>
                  <a:lnTo>
                    <a:pt x="637" y="179"/>
                  </a:lnTo>
                  <a:lnTo>
                    <a:pt x="647" y="190"/>
                  </a:lnTo>
                  <a:lnTo>
                    <a:pt x="656" y="202"/>
                  </a:lnTo>
                  <a:lnTo>
                    <a:pt x="666" y="215"/>
                  </a:lnTo>
                  <a:lnTo>
                    <a:pt x="674" y="228"/>
                  </a:lnTo>
                  <a:lnTo>
                    <a:pt x="682" y="241"/>
                  </a:lnTo>
                  <a:lnTo>
                    <a:pt x="688" y="255"/>
                  </a:lnTo>
                  <a:lnTo>
                    <a:pt x="696" y="270"/>
                  </a:lnTo>
                  <a:lnTo>
                    <a:pt x="701" y="284"/>
                  </a:lnTo>
                  <a:lnTo>
                    <a:pt x="707" y="300"/>
                  </a:lnTo>
                  <a:lnTo>
                    <a:pt x="711" y="315"/>
                  </a:lnTo>
                  <a:lnTo>
                    <a:pt x="714" y="331"/>
                  </a:lnTo>
                  <a:lnTo>
                    <a:pt x="718" y="347"/>
                  </a:lnTo>
                  <a:lnTo>
                    <a:pt x="720" y="363"/>
                  </a:lnTo>
                  <a:lnTo>
                    <a:pt x="721" y="379"/>
                  </a:lnTo>
                  <a:lnTo>
                    <a:pt x="721" y="396"/>
                  </a:lnTo>
                  <a:lnTo>
                    <a:pt x="721" y="410"/>
                  </a:lnTo>
                  <a:lnTo>
                    <a:pt x="719" y="424"/>
                  </a:lnTo>
                  <a:lnTo>
                    <a:pt x="717" y="438"/>
                  </a:lnTo>
                  <a:lnTo>
                    <a:pt x="712" y="453"/>
                  </a:lnTo>
                  <a:lnTo>
                    <a:pt x="708" y="468"/>
                  </a:lnTo>
                  <a:lnTo>
                    <a:pt x="704" y="483"/>
                  </a:lnTo>
                  <a:lnTo>
                    <a:pt x="697" y="498"/>
                  </a:lnTo>
                  <a:lnTo>
                    <a:pt x="691" y="513"/>
                  </a:lnTo>
                  <a:lnTo>
                    <a:pt x="677" y="545"/>
                  </a:lnTo>
                  <a:lnTo>
                    <a:pt x="660" y="577"/>
                  </a:lnTo>
                  <a:lnTo>
                    <a:pt x="643" y="608"/>
                  </a:lnTo>
                  <a:lnTo>
                    <a:pt x="626" y="641"/>
                  </a:lnTo>
                  <a:lnTo>
                    <a:pt x="610" y="669"/>
                  </a:lnTo>
                  <a:lnTo>
                    <a:pt x="594" y="698"/>
                  </a:lnTo>
                  <a:lnTo>
                    <a:pt x="579" y="727"/>
                  </a:lnTo>
                  <a:lnTo>
                    <a:pt x="565" y="756"/>
                  </a:lnTo>
                  <a:lnTo>
                    <a:pt x="565" y="756"/>
                  </a:lnTo>
                  <a:close/>
                  <a:moveTo>
                    <a:pt x="397" y="1080"/>
                  </a:moveTo>
                  <a:lnTo>
                    <a:pt x="384" y="1079"/>
                  </a:lnTo>
                  <a:lnTo>
                    <a:pt x="373" y="1078"/>
                  </a:lnTo>
                  <a:lnTo>
                    <a:pt x="363" y="1076"/>
                  </a:lnTo>
                  <a:lnTo>
                    <a:pt x="355" y="1073"/>
                  </a:lnTo>
                  <a:lnTo>
                    <a:pt x="346" y="1067"/>
                  </a:lnTo>
                  <a:lnTo>
                    <a:pt x="339" y="1059"/>
                  </a:lnTo>
                  <a:lnTo>
                    <a:pt x="332" y="1049"/>
                  </a:lnTo>
                  <a:lnTo>
                    <a:pt x="326" y="1035"/>
                  </a:lnTo>
                  <a:lnTo>
                    <a:pt x="478" y="1016"/>
                  </a:lnTo>
                  <a:lnTo>
                    <a:pt x="469" y="1036"/>
                  </a:lnTo>
                  <a:lnTo>
                    <a:pt x="462" y="1051"/>
                  </a:lnTo>
                  <a:lnTo>
                    <a:pt x="457" y="1057"/>
                  </a:lnTo>
                  <a:lnTo>
                    <a:pt x="454" y="1062"/>
                  </a:lnTo>
                  <a:lnTo>
                    <a:pt x="450" y="1066"/>
                  </a:lnTo>
                  <a:lnTo>
                    <a:pt x="445" y="1071"/>
                  </a:lnTo>
                  <a:lnTo>
                    <a:pt x="440" y="1073"/>
                  </a:lnTo>
                  <a:lnTo>
                    <a:pt x="436" y="1075"/>
                  </a:lnTo>
                  <a:lnTo>
                    <a:pt x="430" y="1077"/>
                  </a:lnTo>
                  <a:lnTo>
                    <a:pt x="425" y="1078"/>
                  </a:lnTo>
                  <a:lnTo>
                    <a:pt x="412" y="1079"/>
                  </a:lnTo>
                  <a:lnTo>
                    <a:pt x="397" y="1080"/>
                  </a:lnTo>
                  <a:close/>
                  <a:moveTo>
                    <a:pt x="279" y="897"/>
                  </a:moveTo>
                  <a:lnTo>
                    <a:pt x="275" y="881"/>
                  </a:lnTo>
                  <a:lnTo>
                    <a:pt x="269" y="863"/>
                  </a:lnTo>
                  <a:lnTo>
                    <a:pt x="263" y="846"/>
                  </a:lnTo>
                  <a:lnTo>
                    <a:pt x="258" y="828"/>
                  </a:lnTo>
                  <a:lnTo>
                    <a:pt x="537" y="828"/>
                  </a:lnTo>
                  <a:lnTo>
                    <a:pt x="534" y="837"/>
                  </a:lnTo>
                  <a:lnTo>
                    <a:pt x="531" y="847"/>
                  </a:lnTo>
                  <a:lnTo>
                    <a:pt x="528" y="857"/>
                  </a:lnTo>
                  <a:lnTo>
                    <a:pt x="524" y="867"/>
                  </a:lnTo>
                  <a:lnTo>
                    <a:pt x="279" y="897"/>
                  </a:lnTo>
                  <a:close/>
                  <a:moveTo>
                    <a:pt x="491" y="978"/>
                  </a:moveTo>
                  <a:lnTo>
                    <a:pt x="312" y="1000"/>
                  </a:lnTo>
                  <a:lnTo>
                    <a:pt x="307" y="986"/>
                  </a:lnTo>
                  <a:lnTo>
                    <a:pt x="302" y="970"/>
                  </a:lnTo>
                  <a:lnTo>
                    <a:pt x="296" y="952"/>
                  </a:lnTo>
                  <a:lnTo>
                    <a:pt x="290" y="932"/>
                  </a:lnTo>
                  <a:lnTo>
                    <a:pt x="290" y="931"/>
                  </a:lnTo>
                  <a:lnTo>
                    <a:pt x="290" y="931"/>
                  </a:lnTo>
                  <a:lnTo>
                    <a:pt x="512" y="903"/>
                  </a:lnTo>
                  <a:lnTo>
                    <a:pt x="508" y="919"/>
                  </a:lnTo>
                  <a:lnTo>
                    <a:pt x="504" y="936"/>
                  </a:lnTo>
                  <a:lnTo>
                    <a:pt x="499" y="946"/>
                  </a:lnTo>
                  <a:lnTo>
                    <a:pt x="496" y="958"/>
                  </a:lnTo>
                  <a:lnTo>
                    <a:pt x="493" y="968"/>
                  </a:lnTo>
                  <a:lnTo>
                    <a:pt x="491" y="978"/>
                  </a:lnTo>
                  <a:lnTo>
                    <a:pt x="491" y="978"/>
                  </a:lnTo>
                  <a:close/>
                  <a:moveTo>
                    <a:pt x="397" y="0"/>
                  </a:moveTo>
                  <a:lnTo>
                    <a:pt x="376" y="0"/>
                  </a:lnTo>
                  <a:lnTo>
                    <a:pt x="357" y="1"/>
                  </a:lnTo>
                  <a:lnTo>
                    <a:pt x="336" y="5"/>
                  </a:lnTo>
                  <a:lnTo>
                    <a:pt x="317" y="8"/>
                  </a:lnTo>
                  <a:lnTo>
                    <a:pt x="299" y="12"/>
                  </a:lnTo>
                  <a:lnTo>
                    <a:pt x="279" y="18"/>
                  </a:lnTo>
                  <a:lnTo>
                    <a:pt x="261" y="24"/>
                  </a:lnTo>
                  <a:lnTo>
                    <a:pt x="242" y="31"/>
                  </a:lnTo>
                  <a:lnTo>
                    <a:pt x="225" y="39"/>
                  </a:lnTo>
                  <a:lnTo>
                    <a:pt x="208" y="48"/>
                  </a:lnTo>
                  <a:lnTo>
                    <a:pt x="192" y="58"/>
                  </a:lnTo>
                  <a:lnTo>
                    <a:pt x="175" y="67"/>
                  </a:lnTo>
                  <a:lnTo>
                    <a:pt x="160" y="78"/>
                  </a:lnTo>
                  <a:lnTo>
                    <a:pt x="145" y="90"/>
                  </a:lnTo>
                  <a:lnTo>
                    <a:pt x="131" y="103"/>
                  </a:lnTo>
                  <a:lnTo>
                    <a:pt x="117" y="116"/>
                  </a:lnTo>
                  <a:lnTo>
                    <a:pt x="104" y="130"/>
                  </a:lnTo>
                  <a:lnTo>
                    <a:pt x="91" y="144"/>
                  </a:lnTo>
                  <a:lnTo>
                    <a:pt x="79" y="159"/>
                  </a:lnTo>
                  <a:lnTo>
                    <a:pt x="69" y="174"/>
                  </a:lnTo>
                  <a:lnTo>
                    <a:pt x="59" y="190"/>
                  </a:lnTo>
                  <a:lnTo>
                    <a:pt x="49" y="207"/>
                  </a:lnTo>
                  <a:lnTo>
                    <a:pt x="40" y="224"/>
                  </a:lnTo>
                  <a:lnTo>
                    <a:pt x="32" y="242"/>
                  </a:lnTo>
                  <a:lnTo>
                    <a:pt x="25" y="260"/>
                  </a:lnTo>
                  <a:lnTo>
                    <a:pt x="19" y="278"/>
                  </a:lnTo>
                  <a:lnTo>
                    <a:pt x="13" y="297"/>
                  </a:lnTo>
                  <a:lnTo>
                    <a:pt x="9" y="316"/>
                  </a:lnTo>
                  <a:lnTo>
                    <a:pt x="6" y="335"/>
                  </a:lnTo>
                  <a:lnTo>
                    <a:pt x="3" y="356"/>
                  </a:lnTo>
                  <a:lnTo>
                    <a:pt x="2" y="375"/>
                  </a:lnTo>
                  <a:lnTo>
                    <a:pt x="0" y="396"/>
                  </a:lnTo>
                  <a:lnTo>
                    <a:pt x="2" y="410"/>
                  </a:lnTo>
                  <a:lnTo>
                    <a:pt x="3" y="424"/>
                  </a:lnTo>
                  <a:lnTo>
                    <a:pt x="5" y="437"/>
                  </a:lnTo>
                  <a:lnTo>
                    <a:pt x="7" y="451"/>
                  </a:lnTo>
                  <a:lnTo>
                    <a:pt x="13" y="479"/>
                  </a:lnTo>
                  <a:lnTo>
                    <a:pt x="22" y="506"/>
                  </a:lnTo>
                  <a:lnTo>
                    <a:pt x="33" y="534"/>
                  </a:lnTo>
                  <a:lnTo>
                    <a:pt x="46" y="561"/>
                  </a:lnTo>
                  <a:lnTo>
                    <a:pt x="59" y="589"/>
                  </a:lnTo>
                  <a:lnTo>
                    <a:pt x="74" y="617"/>
                  </a:lnTo>
                  <a:lnTo>
                    <a:pt x="103" y="671"/>
                  </a:lnTo>
                  <a:lnTo>
                    <a:pt x="133" y="725"/>
                  </a:lnTo>
                  <a:lnTo>
                    <a:pt x="147" y="752"/>
                  </a:lnTo>
                  <a:lnTo>
                    <a:pt x="160" y="778"/>
                  </a:lnTo>
                  <a:lnTo>
                    <a:pt x="172" y="804"/>
                  </a:lnTo>
                  <a:lnTo>
                    <a:pt x="182" y="830"/>
                  </a:lnTo>
                  <a:lnTo>
                    <a:pt x="206" y="901"/>
                  </a:lnTo>
                  <a:lnTo>
                    <a:pt x="225" y="965"/>
                  </a:lnTo>
                  <a:lnTo>
                    <a:pt x="234" y="994"/>
                  </a:lnTo>
                  <a:lnTo>
                    <a:pt x="242" y="1020"/>
                  </a:lnTo>
                  <a:lnTo>
                    <a:pt x="251" y="1045"/>
                  </a:lnTo>
                  <a:lnTo>
                    <a:pt x="260" y="1066"/>
                  </a:lnTo>
                  <a:lnTo>
                    <a:pt x="265" y="1076"/>
                  </a:lnTo>
                  <a:lnTo>
                    <a:pt x="270" y="1086"/>
                  </a:lnTo>
                  <a:lnTo>
                    <a:pt x="276" y="1094"/>
                  </a:lnTo>
                  <a:lnTo>
                    <a:pt x="281" y="1103"/>
                  </a:lnTo>
                  <a:lnTo>
                    <a:pt x="288" y="1111"/>
                  </a:lnTo>
                  <a:lnTo>
                    <a:pt x="295" y="1118"/>
                  </a:lnTo>
                  <a:lnTo>
                    <a:pt x="302" y="1125"/>
                  </a:lnTo>
                  <a:lnTo>
                    <a:pt x="310" y="1130"/>
                  </a:lnTo>
                  <a:lnTo>
                    <a:pt x="318" y="1135"/>
                  </a:lnTo>
                  <a:lnTo>
                    <a:pt x="328" y="1140"/>
                  </a:lnTo>
                  <a:lnTo>
                    <a:pt x="337" y="1143"/>
                  </a:lnTo>
                  <a:lnTo>
                    <a:pt x="347" y="1146"/>
                  </a:lnTo>
                  <a:lnTo>
                    <a:pt x="359" y="1148"/>
                  </a:lnTo>
                  <a:lnTo>
                    <a:pt x="371" y="1151"/>
                  </a:lnTo>
                  <a:lnTo>
                    <a:pt x="383" y="1152"/>
                  </a:lnTo>
                  <a:lnTo>
                    <a:pt x="397" y="1152"/>
                  </a:lnTo>
                  <a:lnTo>
                    <a:pt x="411" y="1152"/>
                  </a:lnTo>
                  <a:lnTo>
                    <a:pt x="424" y="1151"/>
                  </a:lnTo>
                  <a:lnTo>
                    <a:pt x="436" y="1148"/>
                  </a:lnTo>
                  <a:lnTo>
                    <a:pt x="448" y="1146"/>
                  </a:lnTo>
                  <a:lnTo>
                    <a:pt x="457" y="1143"/>
                  </a:lnTo>
                  <a:lnTo>
                    <a:pt x="467" y="1140"/>
                  </a:lnTo>
                  <a:lnTo>
                    <a:pt x="477" y="1135"/>
                  </a:lnTo>
                  <a:lnTo>
                    <a:pt x="485" y="1130"/>
                  </a:lnTo>
                  <a:lnTo>
                    <a:pt x="493" y="1125"/>
                  </a:lnTo>
                  <a:lnTo>
                    <a:pt x="501" y="1118"/>
                  </a:lnTo>
                  <a:lnTo>
                    <a:pt x="507" y="1111"/>
                  </a:lnTo>
                  <a:lnTo>
                    <a:pt x="513" y="1103"/>
                  </a:lnTo>
                  <a:lnTo>
                    <a:pt x="519" y="1095"/>
                  </a:lnTo>
                  <a:lnTo>
                    <a:pt x="524" y="1086"/>
                  </a:lnTo>
                  <a:lnTo>
                    <a:pt x="530" y="1077"/>
                  </a:lnTo>
                  <a:lnTo>
                    <a:pt x="535" y="1066"/>
                  </a:lnTo>
                  <a:lnTo>
                    <a:pt x="544" y="1045"/>
                  </a:lnTo>
                  <a:lnTo>
                    <a:pt x="552" y="1021"/>
                  </a:lnTo>
                  <a:lnTo>
                    <a:pt x="561" y="994"/>
                  </a:lnTo>
                  <a:lnTo>
                    <a:pt x="570" y="966"/>
                  </a:lnTo>
                  <a:lnTo>
                    <a:pt x="578" y="935"/>
                  </a:lnTo>
                  <a:lnTo>
                    <a:pt x="588" y="902"/>
                  </a:lnTo>
                  <a:lnTo>
                    <a:pt x="599" y="868"/>
                  </a:lnTo>
                  <a:lnTo>
                    <a:pt x="612" y="831"/>
                  </a:lnTo>
                  <a:lnTo>
                    <a:pt x="621" y="805"/>
                  </a:lnTo>
                  <a:lnTo>
                    <a:pt x="633" y="779"/>
                  </a:lnTo>
                  <a:lnTo>
                    <a:pt x="646" y="753"/>
                  </a:lnTo>
                  <a:lnTo>
                    <a:pt x="660" y="726"/>
                  </a:lnTo>
                  <a:lnTo>
                    <a:pt x="691" y="672"/>
                  </a:lnTo>
                  <a:lnTo>
                    <a:pt x="721" y="617"/>
                  </a:lnTo>
                  <a:lnTo>
                    <a:pt x="735" y="589"/>
                  </a:lnTo>
                  <a:lnTo>
                    <a:pt x="749" y="561"/>
                  </a:lnTo>
                  <a:lnTo>
                    <a:pt x="761" y="533"/>
                  </a:lnTo>
                  <a:lnTo>
                    <a:pt x="772" y="506"/>
                  </a:lnTo>
                  <a:lnTo>
                    <a:pt x="780" y="478"/>
                  </a:lnTo>
                  <a:lnTo>
                    <a:pt x="787" y="451"/>
                  </a:lnTo>
                  <a:lnTo>
                    <a:pt x="790" y="437"/>
                  </a:lnTo>
                  <a:lnTo>
                    <a:pt x="791" y="423"/>
                  </a:lnTo>
                  <a:lnTo>
                    <a:pt x="792" y="410"/>
                  </a:lnTo>
                  <a:lnTo>
                    <a:pt x="793" y="396"/>
                  </a:lnTo>
                  <a:lnTo>
                    <a:pt x="792" y="375"/>
                  </a:lnTo>
                  <a:lnTo>
                    <a:pt x="791" y="356"/>
                  </a:lnTo>
                  <a:lnTo>
                    <a:pt x="789" y="335"/>
                  </a:lnTo>
                  <a:lnTo>
                    <a:pt x="785" y="316"/>
                  </a:lnTo>
                  <a:lnTo>
                    <a:pt x="780" y="297"/>
                  </a:lnTo>
                  <a:lnTo>
                    <a:pt x="775" y="278"/>
                  </a:lnTo>
                  <a:lnTo>
                    <a:pt x="769" y="260"/>
                  </a:lnTo>
                  <a:lnTo>
                    <a:pt x="762" y="242"/>
                  </a:lnTo>
                  <a:lnTo>
                    <a:pt x="754" y="224"/>
                  </a:lnTo>
                  <a:lnTo>
                    <a:pt x="746" y="207"/>
                  </a:lnTo>
                  <a:lnTo>
                    <a:pt x="736" y="190"/>
                  </a:lnTo>
                  <a:lnTo>
                    <a:pt x="725" y="174"/>
                  </a:lnTo>
                  <a:lnTo>
                    <a:pt x="714" y="159"/>
                  </a:lnTo>
                  <a:lnTo>
                    <a:pt x="703" y="144"/>
                  </a:lnTo>
                  <a:lnTo>
                    <a:pt x="691" y="130"/>
                  </a:lnTo>
                  <a:lnTo>
                    <a:pt x="677" y="116"/>
                  </a:lnTo>
                  <a:lnTo>
                    <a:pt x="664" y="103"/>
                  </a:lnTo>
                  <a:lnTo>
                    <a:pt x="648" y="90"/>
                  </a:lnTo>
                  <a:lnTo>
                    <a:pt x="633" y="78"/>
                  </a:lnTo>
                  <a:lnTo>
                    <a:pt x="618" y="67"/>
                  </a:lnTo>
                  <a:lnTo>
                    <a:pt x="602" y="58"/>
                  </a:lnTo>
                  <a:lnTo>
                    <a:pt x="586" y="48"/>
                  </a:lnTo>
                  <a:lnTo>
                    <a:pt x="569" y="39"/>
                  </a:lnTo>
                  <a:lnTo>
                    <a:pt x="551" y="31"/>
                  </a:lnTo>
                  <a:lnTo>
                    <a:pt x="533" y="24"/>
                  </a:lnTo>
                  <a:lnTo>
                    <a:pt x="515" y="18"/>
                  </a:lnTo>
                  <a:lnTo>
                    <a:pt x="496" y="12"/>
                  </a:lnTo>
                  <a:lnTo>
                    <a:pt x="477" y="8"/>
                  </a:lnTo>
                  <a:lnTo>
                    <a:pt x="457" y="5"/>
                  </a:lnTo>
                  <a:lnTo>
                    <a:pt x="438" y="1"/>
                  </a:lnTo>
                  <a:lnTo>
                    <a:pt x="417" y="0"/>
                  </a:lnTo>
                  <a:lnTo>
                    <a:pt x="39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latin typeface="+mn-lt"/>
              </a:endParaRPr>
            </a:p>
          </p:txBody>
        </p:sp>
        <p:sp>
          <p:nvSpPr>
            <p:cNvPr id="37" name="Freeform 115"/>
            <p:cNvSpPr>
              <a:spLocks/>
            </p:cNvSpPr>
            <p:nvPr/>
          </p:nvSpPr>
          <p:spPr bwMode="auto">
            <a:xfrm>
              <a:off x="3791743" y="3739753"/>
              <a:ext cx="93663" cy="93663"/>
            </a:xfrm>
            <a:custGeom>
              <a:avLst/>
              <a:gdLst>
                <a:gd name="T0" fmla="*/ 205 w 234"/>
                <a:gd name="T1" fmla="*/ 1 h 234"/>
                <a:gd name="T2" fmla="*/ 183 w 234"/>
                <a:gd name="T3" fmla="*/ 3 h 234"/>
                <a:gd name="T4" fmla="*/ 152 w 234"/>
                <a:gd name="T5" fmla="*/ 9 h 234"/>
                <a:gd name="T6" fmla="*/ 113 w 234"/>
                <a:gd name="T7" fmla="*/ 26 h 234"/>
                <a:gd name="T8" fmla="*/ 79 w 234"/>
                <a:gd name="T9" fmla="*/ 49 h 234"/>
                <a:gd name="T10" fmla="*/ 50 w 234"/>
                <a:gd name="T11" fmla="*/ 78 h 234"/>
                <a:gd name="T12" fmla="*/ 26 w 234"/>
                <a:gd name="T13" fmla="*/ 113 h 234"/>
                <a:gd name="T14" fmla="*/ 10 w 234"/>
                <a:gd name="T15" fmla="*/ 152 h 234"/>
                <a:gd name="T16" fmla="*/ 2 w 234"/>
                <a:gd name="T17" fmla="*/ 183 h 234"/>
                <a:gd name="T18" fmla="*/ 0 w 234"/>
                <a:gd name="T19" fmla="*/ 205 h 234"/>
                <a:gd name="T20" fmla="*/ 0 w 234"/>
                <a:gd name="T21" fmla="*/ 220 h 234"/>
                <a:gd name="T22" fmla="*/ 3 w 234"/>
                <a:gd name="T23" fmla="*/ 226 h 234"/>
                <a:gd name="T24" fmla="*/ 7 w 234"/>
                <a:gd name="T25" fmla="*/ 231 h 234"/>
                <a:gd name="T26" fmla="*/ 14 w 234"/>
                <a:gd name="T27" fmla="*/ 234 h 234"/>
                <a:gd name="T28" fmla="*/ 21 w 234"/>
                <a:gd name="T29" fmla="*/ 234 h 234"/>
                <a:gd name="T30" fmla="*/ 28 w 234"/>
                <a:gd name="T31" fmla="*/ 231 h 234"/>
                <a:gd name="T32" fmla="*/ 33 w 234"/>
                <a:gd name="T33" fmla="*/ 226 h 234"/>
                <a:gd name="T34" fmla="*/ 35 w 234"/>
                <a:gd name="T35" fmla="*/ 220 h 234"/>
                <a:gd name="T36" fmla="*/ 37 w 234"/>
                <a:gd name="T37" fmla="*/ 197 h 234"/>
                <a:gd name="T38" fmla="*/ 44 w 234"/>
                <a:gd name="T39" fmla="*/ 163 h 234"/>
                <a:gd name="T40" fmla="*/ 58 w 234"/>
                <a:gd name="T41" fmla="*/ 130 h 234"/>
                <a:gd name="T42" fmla="*/ 78 w 234"/>
                <a:gd name="T43" fmla="*/ 101 h 234"/>
                <a:gd name="T44" fmla="*/ 101 w 234"/>
                <a:gd name="T45" fmla="*/ 77 h 234"/>
                <a:gd name="T46" fmla="*/ 131 w 234"/>
                <a:gd name="T47" fmla="*/ 58 h 234"/>
                <a:gd name="T48" fmla="*/ 163 w 234"/>
                <a:gd name="T49" fmla="*/ 44 h 234"/>
                <a:gd name="T50" fmla="*/ 197 w 234"/>
                <a:gd name="T51" fmla="*/ 36 h 234"/>
                <a:gd name="T52" fmla="*/ 219 w 234"/>
                <a:gd name="T53" fmla="*/ 35 h 234"/>
                <a:gd name="T54" fmla="*/ 226 w 234"/>
                <a:gd name="T55" fmla="*/ 33 h 234"/>
                <a:gd name="T56" fmla="*/ 231 w 234"/>
                <a:gd name="T57" fmla="*/ 28 h 234"/>
                <a:gd name="T58" fmla="*/ 233 w 234"/>
                <a:gd name="T59" fmla="*/ 21 h 234"/>
                <a:gd name="T60" fmla="*/ 233 w 234"/>
                <a:gd name="T61" fmla="*/ 15 h 234"/>
                <a:gd name="T62" fmla="*/ 231 w 234"/>
                <a:gd name="T63" fmla="*/ 8 h 234"/>
                <a:gd name="T64" fmla="*/ 226 w 234"/>
                <a:gd name="T65" fmla="*/ 3 h 234"/>
                <a:gd name="T66" fmla="*/ 219 w 234"/>
                <a:gd name="T67" fmla="*/ 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4" h="234">
                  <a:moveTo>
                    <a:pt x="216" y="0"/>
                  </a:moveTo>
                  <a:lnTo>
                    <a:pt x="205" y="1"/>
                  </a:lnTo>
                  <a:lnTo>
                    <a:pt x="194" y="1"/>
                  </a:lnTo>
                  <a:lnTo>
                    <a:pt x="183" y="3"/>
                  </a:lnTo>
                  <a:lnTo>
                    <a:pt x="173" y="4"/>
                  </a:lnTo>
                  <a:lnTo>
                    <a:pt x="152" y="9"/>
                  </a:lnTo>
                  <a:lnTo>
                    <a:pt x="132" y="17"/>
                  </a:lnTo>
                  <a:lnTo>
                    <a:pt x="113" y="26"/>
                  </a:lnTo>
                  <a:lnTo>
                    <a:pt x="95" y="36"/>
                  </a:lnTo>
                  <a:lnTo>
                    <a:pt x="79" y="49"/>
                  </a:lnTo>
                  <a:lnTo>
                    <a:pt x="64" y="63"/>
                  </a:lnTo>
                  <a:lnTo>
                    <a:pt x="50" y="78"/>
                  </a:lnTo>
                  <a:lnTo>
                    <a:pt x="37" y="95"/>
                  </a:lnTo>
                  <a:lnTo>
                    <a:pt x="26" y="113"/>
                  </a:lnTo>
                  <a:lnTo>
                    <a:pt x="17" y="131"/>
                  </a:lnTo>
                  <a:lnTo>
                    <a:pt x="10" y="152"/>
                  </a:lnTo>
                  <a:lnTo>
                    <a:pt x="4" y="172"/>
                  </a:lnTo>
                  <a:lnTo>
                    <a:pt x="2" y="183"/>
                  </a:lnTo>
                  <a:lnTo>
                    <a:pt x="1" y="194"/>
                  </a:lnTo>
                  <a:lnTo>
                    <a:pt x="0" y="205"/>
                  </a:lnTo>
                  <a:lnTo>
                    <a:pt x="0" y="216"/>
                  </a:lnTo>
                  <a:lnTo>
                    <a:pt x="0" y="220"/>
                  </a:lnTo>
                  <a:lnTo>
                    <a:pt x="1" y="223"/>
                  </a:lnTo>
                  <a:lnTo>
                    <a:pt x="3" y="226"/>
                  </a:lnTo>
                  <a:lnTo>
                    <a:pt x="5" y="229"/>
                  </a:lnTo>
                  <a:lnTo>
                    <a:pt x="7" y="231"/>
                  </a:lnTo>
                  <a:lnTo>
                    <a:pt x="11" y="233"/>
                  </a:lnTo>
                  <a:lnTo>
                    <a:pt x="14" y="234"/>
                  </a:lnTo>
                  <a:lnTo>
                    <a:pt x="18" y="234"/>
                  </a:lnTo>
                  <a:lnTo>
                    <a:pt x="21" y="234"/>
                  </a:lnTo>
                  <a:lnTo>
                    <a:pt x="25" y="233"/>
                  </a:lnTo>
                  <a:lnTo>
                    <a:pt x="28" y="231"/>
                  </a:lnTo>
                  <a:lnTo>
                    <a:pt x="31" y="229"/>
                  </a:lnTo>
                  <a:lnTo>
                    <a:pt x="33" y="226"/>
                  </a:lnTo>
                  <a:lnTo>
                    <a:pt x="34" y="223"/>
                  </a:lnTo>
                  <a:lnTo>
                    <a:pt x="35" y="220"/>
                  </a:lnTo>
                  <a:lnTo>
                    <a:pt x="35" y="216"/>
                  </a:lnTo>
                  <a:lnTo>
                    <a:pt x="37" y="197"/>
                  </a:lnTo>
                  <a:lnTo>
                    <a:pt x="40" y="180"/>
                  </a:lnTo>
                  <a:lnTo>
                    <a:pt x="44" y="163"/>
                  </a:lnTo>
                  <a:lnTo>
                    <a:pt x="51" y="145"/>
                  </a:lnTo>
                  <a:lnTo>
                    <a:pt x="58" y="130"/>
                  </a:lnTo>
                  <a:lnTo>
                    <a:pt x="67" y="115"/>
                  </a:lnTo>
                  <a:lnTo>
                    <a:pt x="78" y="101"/>
                  </a:lnTo>
                  <a:lnTo>
                    <a:pt x="88" y="88"/>
                  </a:lnTo>
                  <a:lnTo>
                    <a:pt x="101" y="77"/>
                  </a:lnTo>
                  <a:lnTo>
                    <a:pt x="115" y="67"/>
                  </a:lnTo>
                  <a:lnTo>
                    <a:pt x="131" y="58"/>
                  </a:lnTo>
                  <a:lnTo>
                    <a:pt x="146" y="50"/>
                  </a:lnTo>
                  <a:lnTo>
                    <a:pt x="163" y="44"/>
                  </a:lnTo>
                  <a:lnTo>
                    <a:pt x="180" y="40"/>
                  </a:lnTo>
                  <a:lnTo>
                    <a:pt x="197" y="36"/>
                  </a:lnTo>
                  <a:lnTo>
                    <a:pt x="216" y="36"/>
                  </a:lnTo>
                  <a:lnTo>
                    <a:pt x="219" y="35"/>
                  </a:lnTo>
                  <a:lnTo>
                    <a:pt x="223" y="34"/>
                  </a:lnTo>
                  <a:lnTo>
                    <a:pt x="226" y="33"/>
                  </a:lnTo>
                  <a:lnTo>
                    <a:pt x="229" y="31"/>
                  </a:lnTo>
                  <a:lnTo>
                    <a:pt x="231" y="28"/>
                  </a:lnTo>
                  <a:lnTo>
                    <a:pt x="232" y="24"/>
                  </a:lnTo>
                  <a:lnTo>
                    <a:pt x="233" y="21"/>
                  </a:lnTo>
                  <a:lnTo>
                    <a:pt x="234" y="18"/>
                  </a:lnTo>
                  <a:lnTo>
                    <a:pt x="233" y="15"/>
                  </a:lnTo>
                  <a:lnTo>
                    <a:pt x="232" y="10"/>
                  </a:lnTo>
                  <a:lnTo>
                    <a:pt x="231" y="8"/>
                  </a:lnTo>
                  <a:lnTo>
                    <a:pt x="229" y="5"/>
                  </a:lnTo>
                  <a:lnTo>
                    <a:pt x="226" y="3"/>
                  </a:lnTo>
                  <a:lnTo>
                    <a:pt x="223" y="2"/>
                  </a:lnTo>
                  <a:lnTo>
                    <a:pt x="219" y="1"/>
                  </a:lnTo>
                  <a:lnTo>
                    <a:pt x="2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latin typeface="+mn-lt"/>
              </a:endParaRPr>
            </a:p>
          </p:txBody>
        </p:sp>
      </p:grpSp>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1" fill="hold"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up)">
                                      <p:cBhvr>
                                        <p:cTn id="7" dur="500"/>
                                        <p:tgtEl>
                                          <p:spTgt spid="20"/>
                                        </p:tgtEl>
                                      </p:cBhvr>
                                    </p:animEffect>
                                  </p:childTnLst>
                                </p:cTn>
                              </p:par>
                            </p:childTnLst>
                          </p:cTn>
                        </p:par>
                        <p:par>
                          <p:cTn id="8" fill="hold" nodeType="afterGroup">
                            <p:stCondLst>
                              <p:cond delay="500"/>
                            </p:stCondLst>
                            <p:childTnLst>
                              <p:par>
                                <p:cTn id="9" presetID="22" presetClass="entr" presetSubtype="1" fill="hold"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wipe(up)">
                                      <p:cBhvr>
                                        <p:cTn id="11" dur="500"/>
                                        <p:tgtEl>
                                          <p:spTgt spid="23"/>
                                        </p:tgtEl>
                                      </p:cBhvr>
                                    </p:animEffect>
                                  </p:childTnLst>
                                </p:cTn>
                              </p:par>
                            </p:childTnLst>
                          </p:cTn>
                        </p:par>
                        <p:par>
                          <p:cTn id="12" fill="hold" nodeType="afterGroup">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wipe(left)">
                                      <p:cBhvr>
                                        <p:cTn id="15" dur="500"/>
                                        <p:tgtEl>
                                          <p:spTgt spid="30"/>
                                        </p:tgtEl>
                                      </p:cBhvr>
                                    </p:animEffect>
                                  </p:childTnLst>
                                </p:cTn>
                              </p:par>
                            </p:childTnLst>
                          </p:cTn>
                        </p:par>
                        <p:par>
                          <p:cTn id="16" fill="hold" nodeType="afterGroup">
                            <p:stCondLst>
                              <p:cond delay="1500"/>
                            </p:stCondLst>
                            <p:childTnLst>
                              <p:par>
                                <p:cTn id="17" presetID="22" presetClass="entr" presetSubtype="8" fill="hold"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wipe(left)">
                                      <p:cBhvr>
                                        <p:cTn id="19" dur="500"/>
                                        <p:tgtEl>
                                          <p:spTgt spid="5"/>
                                        </p:tgtEl>
                                      </p:cBhvr>
                                    </p:animEffect>
                                  </p:childTnLst>
                                </p:cTn>
                              </p:par>
                            </p:childTnLst>
                          </p:cTn>
                        </p:par>
                        <p:par>
                          <p:cTn id="20" fill="hold" nodeType="afterGroup">
                            <p:stCondLst>
                              <p:cond delay="2000"/>
                            </p:stCondLst>
                            <p:childTnLst>
                              <p:par>
                                <p:cTn id="21" presetID="22" presetClass="entr" presetSubtype="8" fill="hold" nodeType="afterEffect">
                                  <p:stCondLst>
                                    <p:cond delay="0"/>
                                  </p:stCondLst>
                                  <p:childTnLst>
                                    <p:set>
                                      <p:cBhvr>
                                        <p:cTn id="22" dur="1" fill="hold">
                                          <p:stCondLst>
                                            <p:cond delay="0"/>
                                          </p:stCondLst>
                                        </p:cTn>
                                        <p:tgtEl>
                                          <p:spTgt spid="25"/>
                                        </p:tgtEl>
                                        <p:attrNameLst>
                                          <p:attrName>style.visibility</p:attrName>
                                        </p:attrNameLst>
                                      </p:cBhvr>
                                      <p:to>
                                        <p:strVal val="visible"/>
                                      </p:to>
                                    </p:set>
                                    <p:animEffect transition="in" filter="wipe(left)">
                                      <p:cBhvr>
                                        <p:cTn id="23" dur="500"/>
                                        <p:tgtEl>
                                          <p:spTgt spid="25"/>
                                        </p:tgtEl>
                                      </p:cBhvr>
                                    </p:animEffect>
                                  </p:childTnLst>
                                </p:cTn>
                              </p:par>
                            </p:childTnLst>
                          </p:cTn>
                        </p:par>
                        <p:par>
                          <p:cTn id="24" fill="hold" nodeType="afterGroup">
                            <p:stCondLst>
                              <p:cond delay="2500"/>
                            </p:stCondLst>
                            <p:childTnLst>
                              <p:par>
                                <p:cTn id="25" presetID="22" presetClass="entr" presetSubtype="8" fill="hold" nodeType="after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wipe(left)">
                                      <p:cBhvr>
                                        <p:cTn id="27" dur="500"/>
                                        <p:tgtEl>
                                          <p:spTgt spid="24"/>
                                        </p:tgtEl>
                                      </p:cBhvr>
                                    </p:animEffect>
                                  </p:childTnLst>
                                </p:cTn>
                              </p:par>
                            </p:childTnLst>
                          </p:cTn>
                        </p:par>
                        <p:par>
                          <p:cTn id="28" fill="hold" nodeType="afterGroup">
                            <p:stCondLst>
                              <p:cond delay="3000"/>
                            </p:stCondLst>
                            <p:childTnLst>
                              <p:par>
                                <p:cTn id="29" presetID="22" presetClass="entr" presetSubtype="8" fill="hold" grpId="0" nodeType="afterEffect">
                                  <p:stCondLst>
                                    <p:cond delay="0"/>
                                  </p:stCondLst>
                                  <p:childTnLst>
                                    <p:set>
                                      <p:cBhvr>
                                        <p:cTn id="30" dur="1" fill="hold">
                                          <p:stCondLst>
                                            <p:cond delay="0"/>
                                          </p:stCondLst>
                                        </p:cTn>
                                        <p:tgtEl>
                                          <p:spTgt spid="32"/>
                                        </p:tgtEl>
                                        <p:attrNameLst>
                                          <p:attrName>style.visibility</p:attrName>
                                        </p:attrNameLst>
                                      </p:cBhvr>
                                      <p:to>
                                        <p:strVal val="visible"/>
                                      </p:to>
                                    </p:set>
                                    <p:animEffect transition="in" filter="wipe(left)">
                                      <p:cBhvr>
                                        <p:cTn id="31" dur="500"/>
                                        <p:tgtEl>
                                          <p:spTgt spid="32"/>
                                        </p:tgtEl>
                                      </p:cBhvr>
                                    </p:animEffect>
                                  </p:childTnLst>
                                </p:cTn>
                              </p:par>
                            </p:childTnLst>
                          </p:cTn>
                        </p:par>
                        <p:par>
                          <p:cTn id="32" fill="hold" nodeType="afterGroup">
                            <p:stCondLst>
                              <p:cond delay="3500"/>
                            </p:stCondLst>
                            <p:childTnLst>
                              <p:par>
                                <p:cTn id="33" presetID="22" presetClass="entr" presetSubtype="1" fill="hold" nodeType="afterEffect">
                                  <p:stCondLst>
                                    <p:cond delay="0"/>
                                  </p:stCondLst>
                                  <p:childTnLst>
                                    <p:set>
                                      <p:cBhvr>
                                        <p:cTn id="34" dur="1" fill="hold">
                                          <p:stCondLst>
                                            <p:cond delay="0"/>
                                          </p:stCondLst>
                                        </p:cTn>
                                        <p:tgtEl>
                                          <p:spTgt spid="28"/>
                                        </p:tgtEl>
                                        <p:attrNameLst>
                                          <p:attrName>style.visibility</p:attrName>
                                        </p:attrNameLst>
                                      </p:cBhvr>
                                      <p:to>
                                        <p:strVal val="visible"/>
                                      </p:to>
                                    </p:set>
                                    <p:animEffect transition="in" filter="wipe(up)">
                                      <p:cBhvr>
                                        <p:cTn id="35" dur="500"/>
                                        <p:tgtEl>
                                          <p:spTgt spid="28"/>
                                        </p:tgtEl>
                                      </p:cBhvr>
                                    </p:animEffect>
                                  </p:childTnLst>
                                </p:cTn>
                              </p:par>
                              <p:par>
                                <p:cTn id="36" presetID="47" presetClass="entr" presetSubtype="0"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fade">
                                      <p:cBhvr>
                                        <p:cTn id="38" dur="1000"/>
                                        <p:tgtEl>
                                          <p:spTgt spid="14"/>
                                        </p:tgtEl>
                                      </p:cBhvr>
                                    </p:animEffect>
                                    <p:anim calcmode="lin" valueType="num">
                                      <p:cBhvr>
                                        <p:cTn id="39" dur="1000" fill="hold"/>
                                        <p:tgtEl>
                                          <p:spTgt spid="14"/>
                                        </p:tgtEl>
                                        <p:attrNameLst>
                                          <p:attrName>ppt_x</p:attrName>
                                        </p:attrNameLst>
                                      </p:cBhvr>
                                      <p:tavLst>
                                        <p:tav tm="0">
                                          <p:val>
                                            <p:strVal val="#ppt_x"/>
                                          </p:val>
                                        </p:tav>
                                        <p:tav tm="100000">
                                          <p:val>
                                            <p:strVal val="#ppt_x"/>
                                          </p:val>
                                        </p:tav>
                                      </p:tavLst>
                                    </p:anim>
                                    <p:anim calcmode="lin" valueType="num">
                                      <p:cBhvr>
                                        <p:cTn id="40" dur="1000" fill="hold"/>
                                        <p:tgtEl>
                                          <p:spTgt spid="14"/>
                                        </p:tgtEl>
                                        <p:attrNameLst>
                                          <p:attrName>ppt_y</p:attrName>
                                        </p:attrNameLst>
                                      </p:cBhvr>
                                      <p:tavLst>
                                        <p:tav tm="0">
                                          <p:val>
                                            <p:strVal val="#ppt_y-.1"/>
                                          </p:val>
                                        </p:tav>
                                        <p:tav tm="100000">
                                          <p:val>
                                            <p:strVal val="#ppt_y"/>
                                          </p:val>
                                        </p:tav>
                                      </p:tavLst>
                                    </p:anim>
                                  </p:childTnLst>
                                </p:cTn>
                              </p:par>
                              <p:par>
                                <p:cTn id="41" presetID="47" presetClass="entr" presetSubtype="0" fill="hold" nodeType="withEffect">
                                  <p:stCondLst>
                                    <p:cond delay="0"/>
                                  </p:stCondLst>
                                  <p:childTnLst>
                                    <p:set>
                                      <p:cBhvr>
                                        <p:cTn id="42" dur="1" fill="hold">
                                          <p:stCondLst>
                                            <p:cond delay="0"/>
                                          </p:stCondLst>
                                        </p:cTn>
                                        <p:tgtEl>
                                          <p:spTgt spid="33"/>
                                        </p:tgtEl>
                                        <p:attrNameLst>
                                          <p:attrName>style.visibility</p:attrName>
                                        </p:attrNameLst>
                                      </p:cBhvr>
                                      <p:to>
                                        <p:strVal val="visible"/>
                                      </p:to>
                                    </p:set>
                                    <p:animEffect transition="in" filter="fade">
                                      <p:cBhvr>
                                        <p:cTn id="43" dur="1000"/>
                                        <p:tgtEl>
                                          <p:spTgt spid="33"/>
                                        </p:tgtEl>
                                      </p:cBhvr>
                                    </p:animEffect>
                                    <p:anim calcmode="lin" valueType="num">
                                      <p:cBhvr>
                                        <p:cTn id="44" dur="1000" fill="hold"/>
                                        <p:tgtEl>
                                          <p:spTgt spid="33"/>
                                        </p:tgtEl>
                                        <p:attrNameLst>
                                          <p:attrName>ppt_x</p:attrName>
                                        </p:attrNameLst>
                                      </p:cBhvr>
                                      <p:tavLst>
                                        <p:tav tm="0">
                                          <p:val>
                                            <p:strVal val="#ppt_x"/>
                                          </p:val>
                                        </p:tav>
                                        <p:tav tm="100000">
                                          <p:val>
                                            <p:strVal val="#ppt_x"/>
                                          </p:val>
                                        </p:tav>
                                      </p:tavLst>
                                    </p:anim>
                                    <p:anim calcmode="lin" valueType="num">
                                      <p:cBhvr>
                                        <p:cTn id="45" dur="1000" fill="hold"/>
                                        <p:tgtEl>
                                          <p:spTgt spid="3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30" grpId="0"/>
      <p:bldP spid="3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324100" y="301625"/>
            <a:ext cx="7543800" cy="584200"/>
          </a:xfrm>
          <a:prstGeom prst="rect">
            <a:avLst/>
          </a:prstGeom>
        </p:spPr>
        <p:txBody>
          <a:bodyPr anchor="ctr"/>
          <a:lstStyle/>
          <a:p>
            <a:pPr algn="ctr" eaLnBrk="1" fontAlgn="auto" hangingPunct="1">
              <a:spcAft>
                <a:spcPts val="0"/>
              </a:spcAft>
              <a:defRPr/>
            </a:pPr>
            <a:r>
              <a:rPr lang="en-US" sz="3200" b="1" spc="-150" noProof="1" smtClean="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rPr>
              <a:t>Menciptakan Ide Bisnis</a:t>
            </a:r>
            <a:endParaRPr lang="en-US" sz="3200" spc="-150" noProof="1">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Freeform 5"/>
          <p:cNvSpPr>
            <a:spLocks/>
          </p:cNvSpPr>
          <p:nvPr/>
        </p:nvSpPr>
        <p:spPr bwMode="auto">
          <a:xfrm>
            <a:off x="5337175" y="3089275"/>
            <a:ext cx="2057400" cy="2741613"/>
          </a:xfrm>
          <a:custGeom>
            <a:avLst/>
            <a:gdLst>
              <a:gd name="T0" fmla="*/ 2233 w 2236"/>
              <a:gd name="T1" fmla="*/ 2954 h 2980"/>
              <a:gd name="T2" fmla="*/ 2178 w 2236"/>
              <a:gd name="T3" fmla="*/ 2846 h 2980"/>
              <a:gd name="T4" fmla="*/ 1977 w 2236"/>
              <a:gd name="T5" fmla="*/ 2594 h 2980"/>
              <a:gd name="T6" fmla="*/ 1875 w 2236"/>
              <a:gd name="T7" fmla="*/ 2449 h 2980"/>
              <a:gd name="T8" fmla="*/ 1780 w 2236"/>
              <a:gd name="T9" fmla="*/ 2218 h 2980"/>
              <a:gd name="T10" fmla="*/ 1707 w 2236"/>
              <a:gd name="T11" fmla="*/ 1952 h 2980"/>
              <a:gd name="T12" fmla="*/ 1685 w 2236"/>
              <a:gd name="T13" fmla="*/ 1841 h 2980"/>
              <a:gd name="T14" fmla="*/ 1703 w 2236"/>
              <a:gd name="T15" fmla="*/ 1674 h 2980"/>
              <a:gd name="T16" fmla="*/ 1746 w 2236"/>
              <a:gd name="T17" fmla="*/ 1559 h 2980"/>
              <a:gd name="T18" fmla="*/ 1806 w 2236"/>
              <a:gd name="T19" fmla="*/ 1456 h 2980"/>
              <a:gd name="T20" fmla="*/ 1930 w 2236"/>
              <a:gd name="T21" fmla="*/ 1273 h 2980"/>
              <a:gd name="T22" fmla="*/ 2032 w 2236"/>
              <a:gd name="T23" fmla="*/ 1069 h 2980"/>
              <a:gd name="T24" fmla="*/ 2058 w 2236"/>
              <a:gd name="T25" fmla="*/ 956 h 2980"/>
              <a:gd name="T26" fmla="*/ 2064 w 2236"/>
              <a:gd name="T27" fmla="*/ 878 h 2980"/>
              <a:gd name="T28" fmla="*/ 2035 w 2236"/>
              <a:gd name="T29" fmla="*/ 695 h 2980"/>
              <a:gd name="T30" fmla="*/ 1984 w 2236"/>
              <a:gd name="T31" fmla="*/ 561 h 2980"/>
              <a:gd name="T32" fmla="*/ 1894 w 2236"/>
              <a:gd name="T33" fmla="*/ 413 h 2980"/>
              <a:gd name="T34" fmla="*/ 1790 w 2236"/>
              <a:gd name="T35" fmla="*/ 287 h 2980"/>
              <a:gd name="T36" fmla="*/ 1621 w 2236"/>
              <a:gd name="T37" fmla="*/ 146 h 2980"/>
              <a:gd name="T38" fmla="*/ 1430 w 2236"/>
              <a:gd name="T39" fmla="*/ 58 h 2980"/>
              <a:gd name="T40" fmla="*/ 1275 w 2236"/>
              <a:gd name="T41" fmla="*/ 22 h 2980"/>
              <a:gd name="T42" fmla="*/ 1086 w 2236"/>
              <a:gd name="T43" fmla="*/ 1 h 2980"/>
              <a:gd name="T44" fmla="*/ 925 w 2236"/>
              <a:gd name="T45" fmla="*/ 1 h 2980"/>
              <a:gd name="T46" fmla="*/ 711 w 2236"/>
              <a:gd name="T47" fmla="*/ 36 h 2980"/>
              <a:gd name="T48" fmla="*/ 481 w 2236"/>
              <a:gd name="T49" fmla="*/ 134 h 2980"/>
              <a:gd name="T50" fmla="*/ 368 w 2236"/>
              <a:gd name="T51" fmla="*/ 216 h 2980"/>
              <a:gd name="T52" fmla="*/ 280 w 2236"/>
              <a:gd name="T53" fmla="*/ 303 h 2980"/>
              <a:gd name="T54" fmla="*/ 173 w 2236"/>
              <a:gd name="T55" fmla="*/ 456 h 2980"/>
              <a:gd name="T56" fmla="*/ 107 w 2236"/>
              <a:gd name="T57" fmla="*/ 647 h 2980"/>
              <a:gd name="T58" fmla="*/ 100 w 2236"/>
              <a:gd name="T59" fmla="*/ 891 h 2980"/>
              <a:gd name="T60" fmla="*/ 129 w 2236"/>
              <a:gd name="T61" fmla="*/ 968 h 2980"/>
              <a:gd name="T62" fmla="*/ 156 w 2236"/>
              <a:gd name="T63" fmla="*/ 1067 h 2980"/>
              <a:gd name="T64" fmla="*/ 132 w 2236"/>
              <a:gd name="T65" fmla="*/ 1150 h 2980"/>
              <a:gd name="T66" fmla="*/ 11 w 2236"/>
              <a:gd name="T67" fmla="*/ 1391 h 2980"/>
              <a:gd name="T68" fmla="*/ 1 w 2236"/>
              <a:gd name="T69" fmla="*/ 1435 h 2980"/>
              <a:gd name="T70" fmla="*/ 19 w 2236"/>
              <a:gd name="T71" fmla="*/ 1475 h 2980"/>
              <a:gd name="T72" fmla="*/ 74 w 2236"/>
              <a:gd name="T73" fmla="*/ 1503 h 2980"/>
              <a:gd name="T74" fmla="*/ 119 w 2236"/>
              <a:gd name="T75" fmla="*/ 1512 h 2980"/>
              <a:gd name="T76" fmla="*/ 131 w 2236"/>
              <a:gd name="T77" fmla="*/ 1573 h 2980"/>
              <a:gd name="T78" fmla="*/ 138 w 2236"/>
              <a:gd name="T79" fmla="*/ 1680 h 2980"/>
              <a:gd name="T80" fmla="*/ 183 w 2236"/>
              <a:gd name="T81" fmla="*/ 1709 h 2980"/>
              <a:gd name="T82" fmla="*/ 183 w 2236"/>
              <a:gd name="T83" fmla="*/ 1729 h 2980"/>
              <a:gd name="T84" fmla="*/ 172 w 2236"/>
              <a:gd name="T85" fmla="*/ 1758 h 2980"/>
              <a:gd name="T86" fmla="*/ 198 w 2236"/>
              <a:gd name="T87" fmla="*/ 1828 h 2980"/>
              <a:gd name="T88" fmla="*/ 228 w 2236"/>
              <a:gd name="T89" fmla="*/ 1884 h 2980"/>
              <a:gd name="T90" fmla="*/ 223 w 2236"/>
              <a:gd name="T91" fmla="*/ 1957 h 2980"/>
              <a:gd name="T92" fmla="*/ 226 w 2236"/>
              <a:gd name="T93" fmla="*/ 2047 h 2980"/>
              <a:gd name="T94" fmla="*/ 249 w 2236"/>
              <a:gd name="T95" fmla="*/ 2081 h 2980"/>
              <a:gd name="T96" fmla="*/ 300 w 2236"/>
              <a:gd name="T97" fmla="*/ 2108 h 2980"/>
              <a:gd name="T98" fmla="*/ 405 w 2236"/>
              <a:gd name="T99" fmla="*/ 2121 h 2980"/>
              <a:gd name="T100" fmla="*/ 568 w 2236"/>
              <a:gd name="T101" fmla="*/ 2107 h 2980"/>
              <a:gd name="T102" fmla="*/ 682 w 2236"/>
              <a:gd name="T103" fmla="*/ 2108 h 2980"/>
              <a:gd name="T104" fmla="*/ 772 w 2236"/>
              <a:gd name="T105" fmla="*/ 2155 h 2980"/>
              <a:gd name="T106" fmla="*/ 822 w 2236"/>
              <a:gd name="T107" fmla="*/ 2318 h 2980"/>
              <a:gd name="T108" fmla="*/ 838 w 2236"/>
              <a:gd name="T109" fmla="*/ 2483 h 2980"/>
              <a:gd name="T110" fmla="*/ 2235 w 2236"/>
              <a:gd name="T111" fmla="*/ 2980 h 2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236" h="2980">
                <a:moveTo>
                  <a:pt x="2235" y="2980"/>
                </a:moveTo>
                <a:lnTo>
                  <a:pt x="2235" y="2980"/>
                </a:lnTo>
                <a:lnTo>
                  <a:pt x="2236" y="2971"/>
                </a:lnTo>
                <a:lnTo>
                  <a:pt x="2235" y="2963"/>
                </a:lnTo>
                <a:lnTo>
                  <a:pt x="2233" y="2954"/>
                </a:lnTo>
                <a:lnTo>
                  <a:pt x="2232" y="2944"/>
                </a:lnTo>
                <a:lnTo>
                  <a:pt x="2223" y="2922"/>
                </a:lnTo>
                <a:lnTo>
                  <a:pt x="2211" y="2898"/>
                </a:lnTo>
                <a:lnTo>
                  <a:pt x="2197" y="2874"/>
                </a:lnTo>
                <a:lnTo>
                  <a:pt x="2178" y="2846"/>
                </a:lnTo>
                <a:lnTo>
                  <a:pt x="2157" y="2818"/>
                </a:lnTo>
                <a:lnTo>
                  <a:pt x="2136" y="2789"/>
                </a:lnTo>
                <a:lnTo>
                  <a:pt x="2085" y="2726"/>
                </a:lnTo>
                <a:lnTo>
                  <a:pt x="2031" y="2662"/>
                </a:lnTo>
                <a:lnTo>
                  <a:pt x="1977" y="2594"/>
                </a:lnTo>
                <a:lnTo>
                  <a:pt x="1923" y="2525"/>
                </a:lnTo>
                <a:lnTo>
                  <a:pt x="1923" y="2525"/>
                </a:lnTo>
                <a:lnTo>
                  <a:pt x="1911" y="2508"/>
                </a:lnTo>
                <a:lnTo>
                  <a:pt x="1898" y="2489"/>
                </a:lnTo>
                <a:lnTo>
                  <a:pt x="1875" y="2449"/>
                </a:lnTo>
                <a:lnTo>
                  <a:pt x="1853" y="2406"/>
                </a:lnTo>
                <a:lnTo>
                  <a:pt x="1832" y="2359"/>
                </a:lnTo>
                <a:lnTo>
                  <a:pt x="1813" y="2312"/>
                </a:lnTo>
                <a:lnTo>
                  <a:pt x="1796" y="2264"/>
                </a:lnTo>
                <a:lnTo>
                  <a:pt x="1780" y="2218"/>
                </a:lnTo>
                <a:lnTo>
                  <a:pt x="1765" y="2171"/>
                </a:lnTo>
                <a:lnTo>
                  <a:pt x="1740" y="2086"/>
                </a:lnTo>
                <a:lnTo>
                  <a:pt x="1722" y="2016"/>
                </a:lnTo>
                <a:lnTo>
                  <a:pt x="1707" y="1952"/>
                </a:lnTo>
                <a:lnTo>
                  <a:pt x="1707" y="1952"/>
                </a:lnTo>
                <a:lnTo>
                  <a:pt x="1704" y="1943"/>
                </a:lnTo>
                <a:lnTo>
                  <a:pt x="1695" y="1914"/>
                </a:lnTo>
                <a:lnTo>
                  <a:pt x="1691" y="1894"/>
                </a:lnTo>
                <a:lnTo>
                  <a:pt x="1688" y="1869"/>
                </a:lnTo>
                <a:lnTo>
                  <a:pt x="1685" y="1841"/>
                </a:lnTo>
                <a:lnTo>
                  <a:pt x="1684" y="1809"/>
                </a:lnTo>
                <a:lnTo>
                  <a:pt x="1685" y="1774"/>
                </a:lnTo>
                <a:lnTo>
                  <a:pt x="1689" y="1736"/>
                </a:lnTo>
                <a:lnTo>
                  <a:pt x="1697" y="1696"/>
                </a:lnTo>
                <a:lnTo>
                  <a:pt x="1703" y="1674"/>
                </a:lnTo>
                <a:lnTo>
                  <a:pt x="1708" y="1652"/>
                </a:lnTo>
                <a:lnTo>
                  <a:pt x="1716" y="1630"/>
                </a:lnTo>
                <a:lnTo>
                  <a:pt x="1724" y="1607"/>
                </a:lnTo>
                <a:lnTo>
                  <a:pt x="1735" y="1582"/>
                </a:lnTo>
                <a:lnTo>
                  <a:pt x="1746" y="1559"/>
                </a:lnTo>
                <a:lnTo>
                  <a:pt x="1759" y="1534"/>
                </a:lnTo>
                <a:lnTo>
                  <a:pt x="1774" y="1509"/>
                </a:lnTo>
                <a:lnTo>
                  <a:pt x="1789" y="1483"/>
                </a:lnTo>
                <a:lnTo>
                  <a:pt x="1806" y="1456"/>
                </a:lnTo>
                <a:lnTo>
                  <a:pt x="1806" y="1456"/>
                </a:lnTo>
                <a:lnTo>
                  <a:pt x="1818" y="1442"/>
                </a:lnTo>
                <a:lnTo>
                  <a:pt x="1845" y="1404"/>
                </a:lnTo>
                <a:lnTo>
                  <a:pt x="1885" y="1346"/>
                </a:lnTo>
                <a:lnTo>
                  <a:pt x="1907" y="1311"/>
                </a:lnTo>
                <a:lnTo>
                  <a:pt x="1930" y="1273"/>
                </a:lnTo>
                <a:lnTo>
                  <a:pt x="1953" y="1233"/>
                </a:lnTo>
                <a:lnTo>
                  <a:pt x="1975" y="1193"/>
                </a:lnTo>
                <a:lnTo>
                  <a:pt x="1997" y="1152"/>
                </a:lnTo>
                <a:lnTo>
                  <a:pt x="2016" y="1109"/>
                </a:lnTo>
                <a:lnTo>
                  <a:pt x="2032" y="1069"/>
                </a:lnTo>
                <a:lnTo>
                  <a:pt x="2045" y="1029"/>
                </a:lnTo>
                <a:lnTo>
                  <a:pt x="2051" y="1010"/>
                </a:lnTo>
                <a:lnTo>
                  <a:pt x="2054" y="991"/>
                </a:lnTo>
                <a:lnTo>
                  <a:pt x="2057" y="974"/>
                </a:lnTo>
                <a:lnTo>
                  <a:pt x="2058" y="956"/>
                </a:lnTo>
                <a:lnTo>
                  <a:pt x="2058" y="956"/>
                </a:lnTo>
                <a:lnTo>
                  <a:pt x="2060" y="943"/>
                </a:lnTo>
                <a:lnTo>
                  <a:pt x="2063" y="927"/>
                </a:lnTo>
                <a:lnTo>
                  <a:pt x="2064" y="905"/>
                </a:lnTo>
                <a:lnTo>
                  <a:pt x="2064" y="878"/>
                </a:lnTo>
                <a:lnTo>
                  <a:pt x="2063" y="844"/>
                </a:lnTo>
                <a:lnTo>
                  <a:pt x="2058" y="808"/>
                </a:lnTo>
                <a:lnTo>
                  <a:pt x="2052" y="765"/>
                </a:lnTo>
                <a:lnTo>
                  <a:pt x="2042" y="719"/>
                </a:lnTo>
                <a:lnTo>
                  <a:pt x="2035" y="695"/>
                </a:lnTo>
                <a:lnTo>
                  <a:pt x="2028" y="669"/>
                </a:lnTo>
                <a:lnTo>
                  <a:pt x="2019" y="644"/>
                </a:lnTo>
                <a:lnTo>
                  <a:pt x="2009" y="617"/>
                </a:lnTo>
                <a:lnTo>
                  <a:pt x="1997" y="589"/>
                </a:lnTo>
                <a:lnTo>
                  <a:pt x="1984" y="561"/>
                </a:lnTo>
                <a:lnTo>
                  <a:pt x="1969" y="532"/>
                </a:lnTo>
                <a:lnTo>
                  <a:pt x="1953" y="503"/>
                </a:lnTo>
                <a:lnTo>
                  <a:pt x="1936" y="474"/>
                </a:lnTo>
                <a:lnTo>
                  <a:pt x="1915" y="443"/>
                </a:lnTo>
                <a:lnTo>
                  <a:pt x="1894" y="413"/>
                </a:lnTo>
                <a:lnTo>
                  <a:pt x="1870" y="382"/>
                </a:lnTo>
                <a:lnTo>
                  <a:pt x="1845" y="350"/>
                </a:lnTo>
                <a:lnTo>
                  <a:pt x="1818" y="318"/>
                </a:lnTo>
                <a:lnTo>
                  <a:pt x="1818" y="318"/>
                </a:lnTo>
                <a:lnTo>
                  <a:pt x="1790" y="287"/>
                </a:lnTo>
                <a:lnTo>
                  <a:pt x="1761" y="258"/>
                </a:lnTo>
                <a:lnTo>
                  <a:pt x="1729" y="229"/>
                </a:lnTo>
                <a:lnTo>
                  <a:pt x="1695" y="200"/>
                </a:lnTo>
                <a:lnTo>
                  <a:pt x="1659" y="172"/>
                </a:lnTo>
                <a:lnTo>
                  <a:pt x="1621" y="146"/>
                </a:lnTo>
                <a:lnTo>
                  <a:pt x="1579" y="122"/>
                </a:lnTo>
                <a:lnTo>
                  <a:pt x="1533" y="99"/>
                </a:lnTo>
                <a:lnTo>
                  <a:pt x="1484" y="77"/>
                </a:lnTo>
                <a:lnTo>
                  <a:pt x="1458" y="68"/>
                </a:lnTo>
                <a:lnTo>
                  <a:pt x="1430" y="58"/>
                </a:lnTo>
                <a:lnTo>
                  <a:pt x="1401" y="50"/>
                </a:lnTo>
                <a:lnTo>
                  <a:pt x="1372" y="42"/>
                </a:lnTo>
                <a:lnTo>
                  <a:pt x="1341" y="35"/>
                </a:lnTo>
                <a:lnTo>
                  <a:pt x="1309" y="28"/>
                </a:lnTo>
                <a:lnTo>
                  <a:pt x="1275" y="22"/>
                </a:lnTo>
                <a:lnTo>
                  <a:pt x="1240" y="16"/>
                </a:lnTo>
                <a:lnTo>
                  <a:pt x="1204" y="12"/>
                </a:lnTo>
                <a:lnTo>
                  <a:pt x="1166" y="7"/>
                </a:lnTo>
                <a:lnTo>
                  <a:pt x="1127" y="4"/>
                </a:lnTo>
                <a:lnTo>
                  <a:pt x="1086" y="1"/>
                </a:lnTo>
                <a:lnTo>
                  <a:pt x="1044" y="0"/>
                </a:lnTo>
                <a:lnTo>
                  <a:pt x="1000" y="0"/>
                </a:lnTo>
                <a:lnTo>
                  <a:pt x="1000" y="0"/>
                </a:lnTo>
                <a:lnTo>
                  <a:pt x="963" y="0"/>
                </a:lnTo>
                <a:lnTo>
                  <a:pt x="925" y="1"/>
                </a:lnTo>
                <a:lnTo>
                  <a:pt x="885" y="4"/>
                </a:lnTo>
                <a:lnTo>
                  <a:pt x="842" y="9"/>
                </a:lnTo>
                <a:lnTo>
                  <a:pt x="800" y="16"/>
                </a:lnTo>
                <a:lnTo>
                  <a:pt x="756" y="25"/>
                </a:lnTo>
                <a:lnTo>
                  <a:pt x="711" y="36"/>
                </a:lnTo>
                <a:lnTo>
                  <a:pt x="664" y="50"/>
                </a:lnTo>
                <a:lnTo>
                  <a:pt x="619" y="66"/>
                </a:lnTo>
                <a:lnTo>
                  <a:pt x="573" y="86"/>
                </a:lnTo>
                <a:lnTo>
                  <a:pt x="526" y="108"/>
                </a:lnTo>
                <a:lnTo>
                  <a:pt x="481" y="134"/>
                </a:lnTo>
                <a:lnTo>
                  <a:pt x="457" y="149"/>
                </a:lnTo>
                <a:lnTo>
                  <a:pt x="436" y="163"/>
                </a:lnTo>
                <a:lnTo>
                  <a:pt x="412" y="181"/>
                </a:lnTo>
                <a:lnTo>
                  <a:pt x="390" y="197"/>
                </a:lnTo>
                <a:lnTo>
                  <a:pt x="368" y="216"/>
                </a:lnTo>
                <a:lnTo>
                  <a:pt x="347" y="235"/>
                </a:lnTo>
                <a:lnTo>
                  <a:pt x="326" y="255"/>
                </a:lnTo>
                <a:lnTo>
                  <a:pt x="304" y="277"/>
                </a:lnTo>
                <a:lnTo>
                  <a:pt x="304" y="277"/>
                </a:lnTo>
                <a:lnTo>
                  <a:pt x="280" y="303"/>
                </a:lnTo>
                <a:lnTo>
                  <a:pt x="256" y="332"/>
                </a:lnTo>
                <a:lnTo>
                  <a:pt x="233" y="362"/>
                </a:lnTo>
                <a:lnTo>
                  <a:pt x="212" y="392"/>
                </a:lnTo>
                <a:lnTo>
                  <a:pt x="192" y="423"/>
                </a:lnTo>
                <a:lnTo>
                  <a:pt x="173" y="456"/>
                </a:lnTo>
                <a:lnTo>
                  <a:pt x="156" y="491"/>
                </a:lnTo>
                <a:lnTo>
                  <a:pt x="141" y="528"/>
                </a:lnTo>
                <a:lnTo>
                  <a:pt x="128" y="566"/>
                </a:lnTo>
                <a:lnTo>
                  <a:pt x="116" y="605"/>
                </a:lnTo>
                <a:lnTo>
                  <a:pt x="107" y="647"/>
                </a:lnTo>
                <a:lnTo>
                  <a:pt x="100" y="691"/>
                </a:lnTo>
                <a:lnTo>
                  <a:pt x="96" y="738"/>
                </a:lnTo>
                <a:lnTo>
                  <a:pt x="94" y="786"/>
                </a:lnTo>
                <a:lnTo>
                  <a:pt x="96" y="837"/>
                </a:lnTo>
                <a:lnTo>
                  <a:pt x="100" y="891"/>
                </a:lnTo>
                <a:lnTo>
                  <a:pt x="100" y="891"/>
                </a:lnTo>
                <a:lnTo>
                  <a:pt x="102" y="902"/>
                </a:lnTo>
                <a:lnTo>
                  <a:pt x="106" y="916"/>
                </a:lnTo>
                <a:lnTo>
                  <a:pt x="116" y="940"/>
                </a:lnTo>
                <a:lnTo>
                  <a:pt x="129" y="968"/>
                </a:lnTo>
                <a:lnTo>
                  <a:pt x="142" y="999"/>
                </a:lnTo>
                <a:lnTo>
                  <a:pt x="148" y="1015"/>
                </a:lnTo>
                <a:lnTo>
                  <a:pt x="151" y="1031"/>
                </a:lnTo>
                <a:lnTo>
                  <a:pt x="154" y="1048"/>
                </a:lnTo>
                <a:lnTo>
                  <a:pt x="156" y="1067"/>
                </a:lnTo>
                <a:lnTo>
                  <a:pt x="154" y="1086"/>
                </a:lnTo>
                <a:lnTo>
                  <a:pt x="150" y="1107"/>
                </a:lnTo>
                <a:lnTo>
                  <a:pt x="142" y="1128"/>
                </a:lnTo>
                <a:lnTo>
                  <a:pt x="132" y="1150"/>
                </a:lnTo>
                <a:lnTo>
                  <a:pt x="132" y="1150"/>
                </a:lnTo>
                <a:lnTo>
                  <a:pt x="112" y="1188"/>
                </a:lnTo>
                <a:lnTo>
                  <a:pt x="65" y="1276"/>
                </a:lnTo>
                <a:lnTo>
                  <a:pt x="40" y="1325"/>
                </a:lnTo>
                <a:lnTo>
                  <a:pt x="19" y="1370"/>
                </a:lnTo>
                <a:lnTo>
                  <a:pt x="11" y="1391"/>
                </a:lnTo>
                <a:lnTo>
                  <a:pt x="4" y="1408"/>
                </a:lnTo>
                <a:lnTo>
                  <a:pt x="1" y="1422"/>
                </a:lnTo>
                <a:lnTo>
                  <a:pt x="0" y="1432"/>
                </a:lnTo>
                <a:lnTo>
                  <a:pt x="0" y="1432"/>
                </a:lnTo>
                <a:lnTo>
                  <a:pt x="1" y="1435"/>
                </a:lnTo>
                <a:lnTo>
                  <a:pt x="1" y="1443"/>
                </a:lnTo>
                <a:lnTo>
                  <a:pt x="5" y="1455"/>
                </a:lnTo>
                <a:lnTo>
                  <a:pt x="8" y="1462"/>
                </a:lnTo>
                <a:lnTo>
                  <a:pt x="13" y="1468"/>
                </a:lnTo>
                <a:lnTo>
                  <a:pt x="19" y="1475"/>
                </a:lnTo>
                <a:lnTo>
                  <a:pt x="26" y="1483"/>
                </a:lnTo>
                <a:lnTo>
                  <a:pt x="35" y="1489"/>
                </a:lnTo>
                <a:lnTo>
                  <a:pt x="46" y="1494"/>
                </a:lnTo>
                <a:lnTo>
                  <a:pt x="59" y="1500"/>
                </a:lnTo>
                <a:lnTo>
                  <a:pt x="74" y="1503"/>
                </a:lnTo>
                <a:lnTo>
                  <a:pt x="91" y="1506"/>
                </a:lnTo>
                <a:lnTo>
                  <a:pt x="112" y="1508"/>
                </a:lnTo>
                <a:lnTo>
                  <a:pt x="112" y="1508"/>
                </a:lnTo>
                <a:lnTo>
                  <a:pt x="116" y="1509"/>
                </a:lnTo>
                <a:lnTo>
                  <a:pt x="119" y="1512"/>
                </a:lnTo>
                <a:lnTo>
                  <a:pt x="125" y="1518"/>
                </a:lnTo>
                <a:lnTo>
                  <a:pt x="129" y="1525"/>
                </a:lnTo>
                <a:lnTo>
                  <a:pt x="132" y="1537"/>
                </a:lnTo>
                <a:lnTo>
                  <a:pt x="132" y="1553"/>
                </a:lnTo>
                <a:lnTo>
                  <a:pt x="131" y="1573"/>
                </a:lnTo>
                <a:lnTo>
                  <a:pt x="131" y="1665"/>
                </a:lnTo>
                <a:lnTo>
                  <a:pt x="131" y="1665"/>
                </a:lnTo>
                <a:lnTo>
                  <a:pt x="131" y="1669"/>
                </a:lnTo>
                <a:lnTo>
                  <a:pt x="134" y="1674"/>
                </a:lnTo>
                <a:lnTo>
                  <a:pt x="138" y="1680"/>
                </a:lnTo>
                <a:lnTo>
                  <a:pt x="145" y="1687"/>
                </a:lnTo>
                <a:lnTo>
                  <a:pt x="154" y="1694"/>
                </a:lnTo>
                <a:lnTo>
                  <a:pt x="167" y="1701"/>
                </a:lnTo>
                <a:lnTo>
                  <a:pt x="183" y="1709"/>
                </a:lnTo>
                <a:lnTo>
                  <a:pt x="183" y="1709"/>
                </a:lnTo>
                <a:lnTo>
                  <a:pt x="185" y="1710"/>
                </a:lnTo>
                <a:lnTo>
                  <a:pt x="186" y="1715"/>
                </a:lnTo>
                <a:lnTo>
                  <a:pt x="186" y="1719"/>
                </a:lnTo>
                <a:lnTo>
                  <a:pt x="185" y="1723"/>
                </a:lnTo>
                <a:lnTo>
                  <a:pt x="183" y="1729"/>
                </a:lnTo>
                <a:lnTo>
                  <a:pt x="179" y="1735"/>
                </a:lnTo>
                <a:lnTo>
                  <a:pt x="179" y="1735"/>
                </a:lnTo>
                <a:lnTo>
                  <a:pt x="175" y="1741"/>
                </a:lnTo>
                <a:lnTo>
                  <a:pt x="173" y="1748"/>
                </a:lnTo>
                <a:lnTo>
                  <a:pt x="172" y="1758"/>
                </a:lnTo>
                <a:lnTo>
                  <a:pt x="172" y="1771"/>
                </a:lnTo>
                <a:lnTo>
                  <a:pt x="176" y="1786"/>
                </a:lnTo>
                <a:lnTo>
                  <a:pt x="183" y="1805"/>
                </a:lnTo>
                <a:lnTo>
                  <a:pt x="191" y="1817"/>
                </a:lnTo>
                <a:lnTo>
                  <a:pt x="198" y="1828"/>
                </a:lnTo>
                <a:lnTo>
                  <a:pt x="198" y="1828"/>
                </a:lnTo>
                <a:lnTo>
                  <a:pt x="211" y="1846"/>
                </a:lnTo>
                <a:lnTo>
                  <a:pt x="218" y="1857"/>
                </a:lnTo>
                <a:lnTo>
                  <a:pt x="224" y="1869"/>
                </a:lnTo>
                <a:lnTo>
                  <a:pt x="228" y="1884"/>
                </a:lnTo>
                <a:lnTo>
                  <a:pt x="230" y="1900"/>
                </a:lnTo>
                <a:lnTo>
                  <a:pt x="228" y="1919"/>
                </a:lnTo>
                <a:lnTo>
                  <a:pt x="224" y="1939"/>
                </a:lnTo>
                <a:lnTo>
                  <a:pt x="224" y="1939"/>
                </a:lnTo>
                <a:lnTo>
                  <a:pt x="223" y="1957"/>
                </a:lnTo>
                <a:lnTo>
                  <a:pt x="220" y="1977"/>
                </a:lnTo>
                <a:lnTo>
                  <a:pt x="220" y="1999"/>
                </a:lnTo>
                <a:lnTo>
                  <a:pt x="221" y="2024"/>
                </a:lnTo>
                <a:lnTo>
                  <a:pt x="223" y="2035"/>
                </a:lnTo>
                <a:lnTo>
                  <a:pt x="226" y="2047"/>
                </a:lnTo>
                <a:lnTo>
                  <a:pt x="230" y="2057"/>
                </a:lnTo>
                <a:lnTo>
                  <a:pt x="234" y="2066"/>
                </a:lnTo>
                <a:lnTo>
                  <a:pt x="240" y="2075"/>
                </a:lnTo>
                <a:lnTo>
                  <a:pt x="249" y="2081"/>
                </a:lnTo>
                <a:lnTo>
                  <a:pt x="249" y="2081"/>
                </a:lnTo>
                <a:lnTo>
                  <a:pt x="250" y="2083"/>
                </a:lnTo>
                <a:lnTo>
                  <a:pt x="259" y="2089"/>
                </a:lnTo>
                <a:lnTo>
                  <a:pt x="275" y="2098"/>
                </a:lnTo>
                <a:lnTo>
                  <a:pt x="287" y="2102"/>
                </a:lnTo>
                <a:lnTo>
                  <a:pt x="300" y="2108"/>
                </a:lnTo>
                <a:lnTo>
                  <a:pt x="315" y="2113"/>
                </a:lnTo>
                <a:lnTo>
                  <a:pt x="333" y="2116"/>
                </a:lnTo>
                <a:lnTo>
                  <a:pt x="354" y="2118"/>
                </a:lnTo>
                <a:lnTo>
                  <a:pt x="379" y="2121"/>
                </a:lnTo>
                <a:lnTo>
                  <a:pt x="405" y="2121"/>
                </a:lnTo>
                <a:lnTo>
                  <a:pt x="434" y="2121"/>
                </a:lnTo>
                <a:lnTo>
                  <a:pt x="468" y="2120"/>
                </a:lnTo>
                <a:lnTo>
                  <a:pt x="506" y="2116"/>
                </a:lnTo>
                <a:lnTo>
                  <a:pt x="506" y="2116"/>
                </a:lnTo>
                <a:lnTo>
                  <a:pt x="568" y="2107"/>
                </a:lnTo>
                <a:lnTo>
                  <a:pt x="605" y="2104"/>
                </a:lnTo>
                <a:lnTo>
                  <a:pt x="624" y="2102"/>
                </a:lnTo>
                <a:lnTo>
                  <a:pt x="644" y="2102"/>
                </a:lnTo>
                <a:lnTo>
                  <a:pt x="663" y="2105"/>
                </a:lnTo>
                <a:lnTo>
                  <a:pt x="682" y="2108"/>
                </a:lnTo>
                <a:lnTo>
                  <a:pt x="702" y="2113"/>
                </a:lnTo>
                <a:lnTo>
                  <a:pt x="721" y="2120"/>
                </a:lnTo>
                <a:lnTo>
                  <a:pt x="739" y="2129"/>
                </a:lnTo>
                <a:lnTo>
                  <a:pt x="756" y="2140"/>
                </a:lnTo>
                <a:lnTo>
                  <a:pt x="772" y="2155"/>
                </a:lnTo>
                <a:lnTo>
                  <a:pt x="788" y="2171"/>
                </a:lnTo>
                <a:lnTo>
                  <a:pt x="788" y="2171"/>
                </a:lnTo>
                <a:lnTo>
                  <a:pt x="800" y="2213"/>
                </a:lnTo>
                <a:lnTo>
                  <a:pt x="810" y="2260"/>
                </a:lnTo>
                <a:lnTo>
                  <a:pt x="822" y="2318"/>
                </a:lnTo>
                <a:lnTo>
                  <a:pt x="828" y="2350"/>
                </a:lnTo>
                <a:lnTo>
                  <a:pt x="832" y="2382"/>
                </a:lnTo>
                <a:lnTo>
                  <a:pt x="835" y="2416"/>
                </a:lnTo>
                <a:lnTo>
                  <a:pt x="838" y="2449"/>
                </a:lnTo>
                <a:lnTo>
                  <a:pt x="838" y="2483"/>
                </a:lnTo>
                <a:lnTo>
                  <a:pt x="836" y="2515"/>
                </a:lnTo>
                <a:lnTo>
                  <a:pt x="832" y="2546"/>
                </a:lnTo>
                <a:lnTo>
                  <a:pt x="826" y="2575"/>
                </a:lnTo>
                <a:lnTo>
                  <a:pt x="638" y="2980"/>
                </a:lnTo>
                <a:lnTo>
                  <a:pt x="2235" y="2980"/>
                </a:lnTo>
                <a:close/>
              </a:path>
            </a:pathLst>
          </a:custGeom>
          <a:solidFill>
            <a:schemeClr val="tx2">
              <a:lumMod val="75000"/>
            </a:schemeClr>
          </a:solidFill>
          <a:ln>
            <a:noFill/>
          </a:ln>
          <a:extLst/>
        </p:spPr>
        <p:txBody>
          <a:bodyPr/>
          <a:lstStyle/>
          <a:p>
            <a:pPr eaLnBrk="1" fontAlgn="auto" hangingPunct="1">
              <a:spcBef>
                <a:spcPts val="0"/>
              </a:spcBef>
              <a:spcAft>
                <a:spcPts val="0"/>
              </a:spcAft>
              <a:defRPr/>
            </a:pPr>
            <a:endParaRPr lang="en-US">
              <a:solidFill>
                <a:schemeClr val="bg1">
                  <a:lumMod val="95000"/>
                </a:schemeClr>
              </a:solidFill>
              <a:latin typeface="+mn-lt"/>
            </a:endParaRPr>
          </a:p>
        </p:txBody>
      </p:sp>
      <p:sp>
        <p:nvSpPr>
          <p:cNvPr id="39" name="Freeform 17"/>
          <p:cNvSpPr>
            <a:spLocks noEditPoints="1"/>
          </p:cNvSpPr>
          <p:nvPr/>
        </p:nvSpPr>
        <p:spPr bwMode="auto">
          <a:xfrm rot="17100000">
            <a:off x="5013325" y="1739851"/>
            <a:ext cx="1266825" cy="1266825"/>
          </a:xfrm>
          <a:custGeom>
            <a:avLst/>
            <a:gdLst>
              <a:gd name="T0" fmla="*/ 1389 w 3303"/>
              <a:gd name="T1" fmla="*/ 2889 h 3302"/>
              <a:gd name="T2" fmla="*/ 1228 w 3303"/>
              <a:gd name="T3" fmla="*/ 2844 h 3302"/>
              <a:gd name="T4" fmla="*/ 1075 w 3303"/>
              <a:gd name="T5" fmla="*/ 2778 h 3302"/>
              <a:gd name="T6" fmla="*/ 932 w 3303"/>
              <a:gd name="T7" fmla="*/ 2692 h 3302"/>
              <a:gd name="T8" fmla="*/ 570 w 3303"/>
              <a:gd name="T9" fmla="*/ 2310 h 3302"/>
              <a:gd name="T10" fmla="*/ 489 w 3303"/>
              <a:gd name="T11" fmla="*/ 2150 h 3302"/>
              <a:gd name="T12" fmla="*/ 434 w 3303"/>
              <a:gd name="T13" fmla="*/ 1998 h 3302"/>
              <a:gd name="T14" fmla="*/ 0 w 3303"/>
              <a:gd name="T15" fmla="*/ 1864 h 3302"/>
              <a:gd name="T16" fmla="*/ 428 w 3303"/>
              <a:gd name="T17" fmla="*/ 1325 h 3302"/>
              <a:gd name="T18" fmla="*/ 482 w 3303"/>
              <a:gd name="T19" fmla="*/ 1167 h 3302"/>
              <a:gd name="T20" fmla="*/ 556 w 3303"/>
              <a:gd name="T21" fmla="*/ 1017 h 3302"/>
              <a:gd name="T22" fmla="*/ 634 w 3303"/>
              <a:gd name="T23" fmla="*/ 332 h 3302"/>
              <a:gd name="T24" fmla="*/ 1054 w 3303"/>
              <a:gd name="T25" fmla="*/ 536 h 3302"/>
              <a:gd name="T26" fmla="*/ 1215 w 3303"/>
              <a:gd name="T27" fmla="*/ 463 h 3302"/>
              <a:gd name="T28" fmla="*/ 1366 w 3303"/>
              <a:gd name="T29" fmla="*/ 418 h 3302"/>
              <a:gd name="T30" fmla="*/ 1879 w 3303"/>
              <a:gd name="T31" fmla="*/ 406 h 3302"/>
              <a:gd name="T32" fmla="*/ 2042 w 3303"/>
              <a:gd name="T33" fmla="*/ 447 h 3302"/>
              <a:gd name="T34" fmla="*/ 2199 w 3303"/>
              <a:gd name="T35" fmla="*/ 510 h 3302"/>
              <a:gd name="T36" fmla="*/ 2345 w 3303"/>
              <a:gd name="T37" fmla="*/ 593 h 3302"/>
              <a:gd name="T38" fmla="*/ 2712 w 3303"/>
              <a:gd name="T39" fmla="*/ 961 h 3302"/>
              <a:gd name="T40" fmla="*/ 2798 w 3303"/>
              <a:gd name="T41" fmla="*/ 1119 h 3302"/>
              <a:gd name="T42" fmla="*/ 2860 w 3303"/>
              <a:gd name="T43" fmla="*/ 1275 h 3302"/>
              <a:gd name="T44" fmla="*/ 2897 w 3303"/>
              <a:gd name="T45" fmla="*/ 1426 h 3302"/>
              <a:gd name="T46" fmla="*/ 2882 w 3303"/>
              <a:gd name="T47" fmla="*/ 1944 h 3302"/>
              <a:gd name="T48" fmla="*/ 2832 w 3303"/>
              <a:gd name="T49" fmla="*/ 2106 h 3302"/>
              <a:gd name="T50" fmla="*/ 2761 w 3303"/>
              <a:gd name="T51" fmla="*/ 2258 h 3302"/>
              <a:gd name="T52" fmla="*/ 2966 w 3303"/>
              <a:gd name="T53" fmla="*/ 2671 h 3302"/>
              <a:gd name="T54" fmla="*/ 2280 w 3303"/>
              <a:gd name="T55" fmla="*/ 2749 h 3302"/>
              <a:gd name="T56" fmla="*/ 2117 w 3303"/>
              <a:gd name="T57" fmla="*/ 2827 h 3302"/>
              <a:gd name="T58" fmla="*/ 1968 w 3303"/>
              <a:gd name="T59" fmla="*/ 2876 h 3302"/>
              <a:gd name="T60" fmla="*/ 1428 w 3303"/>
              <a:gd name="T61" fmla="*/ 989 h 3302"/>
              <a:gd name="T62" fmla="*/ 1599 w 3303"/>
              <a:gd name="T63" fmla="*/ 954 h 3302"/>
              <a:gd name="T64" fmla="*/ 1768 w 3303"/>
              <a:gd name="T65" fmla="*/ 962 h 3302"/>
              <a:gd name="T66" fmla="*/ 1929 w 3303"/>
              <a:gd name="T67" fmla="*/ 1010 h 3302"/>
              <a:gd name="T68" fmla="*/ 2073 w 3303"/>
              <a:gd name="T69" fmla="*/ 1094 h 3302"/>
              <a:gd name="T70" fmla="*/ 2195 w 3303"/>
              <a:gd name="T71" fmla="*/ 1213 h 3302"/>
              <a:gd name="T72" fmla="*/ 2287 w 3303"/>
              <a:gd name="T73" fmla="*/ 1360 h 3302"/>
              <a:gd name="T74" fmla="*/ 2340 w 3303"/>
              <a:gd name="T75" fmla="*/ 1530 h 3302"/>
              <a:gd name="T76" fmla="*/ 2349 w 3303"/>
              <a:gd name="T77" fmla="*/ 1701 h 3302"/>
              <a:gd name="T78" fmla="*/ 2316 w 3303"/>
              <a:gd name="T79" fmla="*/ 1866 h 3302"/>
              <a:gd name="T80" fmla="*/ 2246 w 3303"/>
              <a:gd name="T81" fmla="*/ 2018 h 3302"/>
              <a:gd name="T82" fmla="*/ 2142 w 3303"/>
              <a:gd name="T83" fmla="*/ 2149 h 3302"/>
              <a:gd name="T84" fmla="*/ 2004 w 3303"/>
              <a:gd name="T85" fmla="*/ 2254 h 3302"/>
              <a:gd name="T86" fmla="*/ 1840 w 3303"/>
              <a:gd name="T87" fmla="*/ 2324 h 3302"/>
              <a:gd name="T88" fmla="*/ 1669 w 3303"/>
              <a:gd name="T89" fmla="*/ 2350 h 3302"/>
              <a:gd name="T90" fmla="*/ 1501 w 3303"/>
              <a:gd name="T91" fmla="*/ 2334 h 3302"/>
              <a:gd name="T92" fmla="*/ 1342 w 3303"/>
              <a:gd name="T93" fmla="*/ 2278 h 3302"/>
              <a:gd name="T94" fmla="*/ 1203 w 3303"/>
              <a:gd name="T95" fmla="*/ 2187 h 3302"/>
              <a:gd name="T96" fmla="*/ 1086 w 3303"/>
              <a:gd name="T97" fmla="*/ 2062 h 3302"/>
              <a:gd name="T98" fmla="*/ 1001 w 3303"/>
              <a:gd name="T99" fmla="*/ 1908 h 3302"/>
              <a:gd name="T100" fmla="*/ 958 w 3303"/>
              <a:gd name="T101" fmla="*/ 1737 h 3302"/>
              <a:gd name="T102" fmla="*/ 956 w 3303"/>
              <a:gd name="T103" fmla="*/ 1567 h 3302"/>
              <a:gd name="T104" fmla="*/ 997 w 3303"/>
              <a:gd name="T105" fmla="*/ 1404 h 3302"/>
              <a:gd name="T106" fmla="*/ 1074 w 3303"/>
              <a:gd name="T107" fmla="*/ 1256 h 3302"/>
              <a:gd name="T108" fmla="*/ 1186 w 3303"/>
              <a:gd name="T109" fmla="*/ 1129 h 3302"/>
              <a:gd name="T110" fmla="*/ 1329 w 3303"/>
              <a:gd name="T111" fmla="*/ 1030 h 3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303" h="3302">
                <a:moveTo>
                  <a:pt x="1879" y="2896"/>
                </a:moveTo>
                <a:lnTo>
                  <a:pt x="1864" y="3302"/>
                </a:lnTo>
                <a:lnTo>
                  <a:pt x="1438" y="3302"/>
                </a:lnTo>
                <a:lnTo>
                  <a:pt x="1423" y="2896"/>
                </a:lnTo>
                <a:lnTo>
                  <a:pt x="1389" y="2889"/>
                </a:lnTo>
                <a:lnTo>
                  <a:pt x="1357" y="2882"/>
                </a:lnTo>
                <a:lnTo>
                  <a:pt x="1325" y="2873"/>
                </a:lnTo>
                <a:lnTo>
                  <a:pt x="1292" y="2864"/>
                </a:lnTo>
                <a:lnTo>
                  <a:pt x="1261" y="2854"/>
                </a:lnTo>
                <a:lnTo>
                  <a:pt x="1228" y="2844"/>
                </a:lnTo>
                <a:lnTo>
                  <a:pt x="1197" y="2832"/>
                </a:lnTo>
                <a:lnTo>
                  <a:pt x="1167" y="2820"/>
                </a:lnTo>
                <a:lnTo>
                  <a:pt x="1135" y="2806"/>
                </a:lnTo>
                <a:lnTo>
                  <a:pt x="1105" y="2793"/>
                </a:lnTo>
                <a:lnTo>
                  <a:pt x="1075" y="2778"/>
                </a:lnTo>
                <a:lnTo>
                  <a:pt x="1046" y="2763"/>
                </a:lnTo>
                <a:lnTo>
                  <a:pt x="1017" y="2746"/>
                </a:lnTo>
                <a:lnTo>
                  <a:pt x="988" y="2729"/>
                </a:lnTo>
                <a:lnTo>
                  <a:pt x="960" y="2711"/>
                </a:lnTo>
                <a:lnTo>
                  <a:pt x="932" y="2692"/>
                </a:lnTo>
                <a:lnTo>
                  <a:pt x="634" y="2970"/>
                </a:lnTo>
                <a:lnTo>
                  <a:pt x="332" y="2667"/>
                </a:lnTo>
                <a:lnTo>
                  <a:pt x="609" y="2370"/>
                </a:lnTo>
                <a:lnTo>
                  <a:pt x="589" y="2341"/>
                </a:lnTo>
                <a:lnTo>
                  <a:pt x="570" y="2310"/>
                </a:lnTo>
                <a:lnTo>
                  <a:pt x="552" y="2280"/>
                </a:lnTo>
                <a:lnTo>
                  <a:pt x="536" y="2249"/>
                </a:lnTo>
                <a:lnTo>
                  <a:pt x="519" y="2216"/>
                </a:lnTo>
                <a:lnTo>
                  <a:pt x="503" y="2184"/>
                </a:lnTo>
                <a:lnTo>
                  <a:pt x="489" y="2150"/>
                </a:lnTo>
                <a:lnTo>
                  <a:pt x="474" y="2117"/>
                </a:lnTo>
                <a:lnTo>
                  <a:pt x="463" y="2087"/>
                </a:lnTo>
                <a:lnTo>
                  <a:pt x="453" y="2058"/>
                </a:lnTo>
                <a:lnTo>
                  <a:pt x="443" y="2027"/>
                </a:lnTo>
                <a:lnTo>
                  <a:pt x="434" y="1998"/>
                </a:lnTo>
                <a:lnTo>
                  <a:pt x="426" y="1968"/>
                </a:lnTo>
                <a:lnTo>
                  <a:pt x="418" y="1938"/>
                </a:lnTo>
                <a:lnTo>
                  <a:pt x="411" y="1909"/>
                </a:lnTo>
                <a:lnTo>
                  <a:pt x="406" y="1878"/>
                </a:lnTo>
                <a:lnTo>
                  <a:pt x="0" y="1864"/>
                </a:lnTo>
                <a:lnTo>
                  <a:pt x="0" y="1438"/>
                </a:lnTo>
                <a:lnTo>
                  <a:pt x="406" y="1423"/>
                </a:lnTo>
                <a:lnTo>
                  <a:pt x="413" y="1389"/>
                </a:lnTo>
                <a:lnTo>
                  <a:pt x="420" y="1357"/>
                </a:lnTo>
                <a:lnTo>
                  <a:pt x="428" y="1325"/>
                </a:lnTo>
                <a:lnTo>
                  <a:pt x="437" y="1292"/>
                </a:lnTo>
                <a:lnTo>
                  <a:pt x="447" y="1261"/>
                </a:lnTo>
                <a:lnTo>
                  <a:pt x="458" y="1228"/>
                </a:lnTo>
                <a:lnTo>
                  <a:pt x="470" y="1197"/>
                </a:lnTo>
                <a:lnTo>
                  <a:pt x="482" y="1167"/>
                </a:lnTo>
                <a:lnTo>
                  <a:pt x="495" y="1135"/>
                </a:lnTo>
                <a:lnTo>
                  <a:pt x="509" y="1105"/>
                </a:lnTo>
                <a:lnTo>
                  <a:pt x="524" y="1075"/>
                </a:lnTo>
                <a:lnTo>
                  <a:pt x="540" y="1046"/>
                </a:lnTo>
                <a:lnTo>
                  <a:pt x="556" y="1017"/>
                </a:lnTo>
                <a:lnTo>
                  <a:pt x="574" y="988"/>
                </a:lnTo>
                <a:lnTo>
                  <a:pt x="592" y="960"/>
                </a:lnTo>
                <a:lnTo>
                  <a:pt x="609" y="932"/>
                </a:lnTo>
                <a:lnTo>
                  <a:pt x="332" y="634"/>
                </a:lnTo>
                <a:lnTo>
                  <a:pt x="634" y="332"/>
                </a:lnTo>
                <a:lnTo>
                  <a:pt x="932" y="609"/>
                </a:lnTo>
                <a:lnTo>
                  <a:pt x="961" y="589"/>
                </a:lnTo>
                <a:lnTo>
                  <a:pt x="991" y="570"/>
                </a:lnTo>
                <a:lnTo>
                  <a:pt x="1022" y="552"/>
                </a:lnTo>
                <a:lnTo>
                  <a:pt x="1054" y="536"/>
                </a:lnTo>
                <a:lnTo>
                  <a:pt x="1085" y="519"/>
                </a:lnTo>
                <a:lnTo>
                  <a:pt x="1119" y="503"/>
                </a:lnTo>
                <a:lnTo>
                  <a:pt x="1151" y="489"/>
                </a:lnTo>
                <a:lnTo>
                  <a:pt x="1186" y="474"/>
                </a:lnTo>
                <a:lnTo>
                  <a:pt x="1215" y="463"/>
                </a:lnTo>
                <a:lnTo>
                  <a:pt x="1245" y="453"/>
                </a:lnTo>
                <a:lnTo>
                  <a:pt x="1275" y="443"/>
                </a:lnTo>
                <a:lnTo>
                  <a:pt x="1306" y="434"/>
                </a:lnTo>
                <a:lnTo>
                  <a:pt x="1336" y="425"/>
                </a:lnTo>
                <a:lnTo>
                  <a:pt x="1366" y="418"/>
                </a:lnTo>
                <a:lnTo>
                  <a:pt x="1396" y="411"/>
                </a:lnTo>
                <a:lnTo>
                  <a:pt x="1426" y="406"/>
                </a:lnTo>
                <a:lnTo>
                  <a:pt x="1442" y="0"/>
                </a:lnTo>
                <a:lnTo>
                  <a:pt x="1864" y="0"/>
                </a:lnTo>
                <a:lnTo>
                  <a:pt x="1879" y="406"/>
                </a:lnTo>
                <a:lnTo>
                  <a:pt x="1912" y="413"/>
                </a:lnTo>
                <a:lnTo>
                  <a:pt x="1945" y="420"/>
                </a:lnTo>
                <a:lnTo>
                  <a:pt x="1977" y="428"/>
                </a:lnTo>
                <a:lnTo>
                  <a:pt x="2009" y="437"/>
                </a:lnTo>
                <a:lnTo>
                  <a:pt x="2042" y="447"/>
                </a:lnTo>
                <a:lnTo>
                  <a:pt x="2074" y="458"/>
                </a:lnTo>
                <a:lnTo>
                  <a:pt x="2106" y="470"/>
                </a:lnTo>
                <a:lnTo>
                  <a:pt x="2137" y="483"/>
                </a:lnTo>
                <a:lnTo>
                  <a:pt x="2168" y="496"/>
                </a:lnTo>
                <a:lnTo>
                  <a:pt x="2199" y="510"/>
                </a:lnTo>
                <a:lnTo>
                  <a:pt x="2229" y="526"/>
                </a:lnTo>
                <a:lnTo>
                  <a:pt x="2258" y="541"/>
                </a:lnTo>
                <a:lnTo>
                  <a:pt x="2288" y="557"/>
                </a:lnTo>
                <a:lnTo>
                  <a:pt x="2316" y="575"/>
                </a:lnTo>
                <a:lnTo>
                  <a:pt x="2345" y="593"/>
                </a:lnTo>
                <a:lnTo>
                  <a:pt x="2373" y="612"/>
                </a:lnTo>
                <a:lnTo>
                  <a:pt x="2671" y="335"/>
                </a:lnTo>
                <a:lnTo>
                  <a:pt x="2970" y="634"/>
                </a:lnTo>
                <a:lnTo>
                  <a:pt x="2692" y="932"/>
                </a:lnTo>
                <a:lnTo>
                  <a:pt x="2712" y="961"/>
                </a:lnTo>
                <a:lnTo>
                  <a:pt x="2731" y="991"/>
                </a:lnTo>
                <a:lnTo>
                  <a:pt x="2749" y="1022"/>
                </a:lnTo>
                <a:lnTo>
                  <a:pt x="2767" y="1054"/>
                </a:lnTo>
                <a:lnTo>
                  <a:pt x="2783" y="1085"/>
                </a:lnTo>
                <a:lnTo>
                  <a:pt x="2798" y="1119"/>
                </a:lnTo>
                <a:lnTo>
                  <a:pt x="2814" y="1151"/>
                </a:lnTo>
                <a:lnTo>
                  <a:pt x="2828" y="1186"/>
                </a:lnTo>
                <a:lnTo>
                  <a:pt x="2839" y="1215"/>
                </a:lnTo>
                <a:lnTo>
                  <a:pt x="2850" y="1245"/>
                </a:lnTo>
                <a:lnTo>
                  <a:pt x="2860" y="1275"/>
                </a:lnTo>
                <a:lnTo>
                  <a:pt x="2869" y="1306"/>
                </a:lnTo>
                <a:lnTo>
                  <a:pt x="2877" y="1336"/>
                </a:lnTo>
                <a:lnTo>
                  <a:pt x="2885" y="1366"/>
                </a:lnTo>
                <a:lnTo>
                  <a:pt x="2891" y="1396"/>
                </a:lnTo>
                <a:lnTo>
                  <a:pt x="2897" y="1426"/>
                </a:lnTo>
                <a:lnTo>
                  <a:pt x="3303" y="1442"/>
                </a:lnTo>
                <a:lnTo>
                  <a:pt x="3303" y="1864"/>
                </a:lnTo>
                <a:lnTo>
                  <a:pt x="2896" y="1878"/>
                </a:lnTo>
                <a:lnTo>
                  <a:pt x="2889" y="1912"/>
                </a:lnTo>
                <a:lnTo>
                  <a:pt x="2882" y="1944"/>
                </a:lnTo>
                <a:lnTo>
                  <a:pt x="2873" y="1977"/>
                </a:lnTo>
                <a:lnTo>
                  <a:pt x="2864" y="2009"/>
                </a:lnTo>
                <a:lnTo>
                  <a:pt x="2854" y="2042"/>
                </a:lnTo>
                <a:lnTo>
                  <a:pt x="2843" y="2074"/>
                </a:lnTo>
                <a:lnTo>
                  <a:pt x="2832" y="2106"/>
                </a:lnTo>
                <a:lnTo>
                  <a:pt x="2820" y="2137"/>
                </a:lnTo>
                <a:lnTo>
                  <a:pt x="2806" y="2167"/>
                </a:lnTo>
                <a:lnTo>
                  <a:pt x="2792" y="2199"/>
                </a:lnTo>
                <a:lnTo>
                  <a:pt x="2777" y="2229"/>
                </a:lnTo>
                <a:lnTo>
                  <a:pt x="2761" y="2258"/>
                </a:lnTo>
                <a:lnTo>
                  <a:pt x="2745" y="2288"/>
                </a:lnTo>
                <a:lnTo>
                  <a:pt x="2728" y="2316"/>
                </a:lnTo>
                <a:lnTo>
                  <a:pt x="2709" y="2345"/>
                </a:lnTo>
                <a:lnTo>
                  <a:pt x="2690" y="2373"/>
                </a:lnTo>
                <a:lnTo>
                  <a:pt x="2966" y="2671"/>
                </a:lnTo>
                <a:lnTo>
                  <a:pt x="2669" y="2970"/>
                </a:lnTo>
                <a:lnTo>
                  <a:pt x="2371" y="2692"/>
                </a:lnTo>
                <a:lnTo>
                  <a:pt x="2341" y="2712"/>
                </a:lnTo>
                <a:lnTo>
                  <a:pt x="2310" y="2731"/>
                </a:lnTo>
                <a:lnTo>
                  <a:pt x="2280" y="2749"/>
                </a:lnTo>
                <a:lnTo>
                  <a:pt x="2249" y="2767"/>
                </a:lnTo>
                <a:lnTo>
                  <a:pt x="2216" y="2783"/>
                </a:lnTo>
                <a:lnTo>
                  <a:pt x="2184" y="2798"/>
                </a:lnTo>
                <a:lnTo>
                  <a:pt x="2150" y="2814"/>
                </a:lnTo>
                <a:lnTo>
                  <a:pt x="2117" y="2827"/>
                </a:lnTo>
                <a:lnTo>
                  <a:pt x="2087" y="2839"/>
                </a:lnTo>
                <a:lnTo>
                  <a:pt x="2058" y="2850"/>
                </a:lnTo>
                <a:lnTo>
                  <a:pt x="2027" y="2859"/>
                </a:lnTo>
                <a:lnTo>
                  <a:pt x="1998" y="2868"/>
                </a:lnTo>
                <a:lnTo>
                  <a:pt x="1968" y="2876"/>
                </a:lnTo>
                <a:lnTo>
                  <a:pt x="1938" y="2883"/>
                </a:lnTo>
                <a:lnTo>
                  <a:pt x="1909" y="2890"/>
                </a:lnTo>
                <a:lnTo>
                  <a:pt x="1879" y="2896"/>
                </a:lnTo>
                <a:close/>
                <a:moveTo>
                  <a:pt x="1394" y="1001"/>
                </a:moveTo>
                <a:lnTo>
                  <a:pt x="1428" y="989"/>
                </a:lnTo>
                <a:lnTo>
                  <a:pt x="1461" y="978"/>
                </a:lnTo>
                <a:lnTo>
                  <a:pt x="1496" y="970"/>
                </a:lnTo>
                <a:lnTo>
                  <a:pt x="1530" y="962"/>
                </a:lnTo>
                <a:lnTo>
                  <a:pt x="1564" y="957"/>
                </a:lnTo>
                <a:lnTo>
                  <a:pt x="1599" y="954"/>
                </a:lnTo>
                <a:lnTo>
                  <a:pt x="1633" y="952"/>
                </a:lnTo>
                <a:lnTo>
                  <a:pt x="1667" y="952"/>
                </a:lnTo>
                <a:lnTo>
                  <a:pt x="1701" y="954"/>
                </a:lnTo>
                <a:lnTo>
                  <a:pt x="1735" y="956"/>
                </a:lnTo>
                <a:lnTo>
                  <a:pt x="1768" y="962"/>
                </a:lnTo>
                <a:lnTo>
                  <a:pt x="1801" y="969"/>
                </a:lnTo>
                <a:lnTo>
                  <a:pt x="1834" y="977"/>
                </a:lnTo>
                <a:lnTo>
                  <a:pt x="1866" y="985"/>
                </a:lnTo>
                <a:lnTo>
                  <a:pt x="1898" y="997"/>
                </a:lnTo>
                <a:lnTo>
                  <a:pt x="1929" y="1010"/>
                </a:lnTo>
                <a:lnTo>
                  <a:pt x="1959" y="1024"/>
                </a:lnTo>
                <a:lnTo>
                  <a:pt x="1989" y="1039"/>
                </a:lnTo>
                <a:lnTo>
                  <a:pt x="2018" y="1056"/>
                </a:lnTo>
                <a:lnTo>
                  <a:pt x="2046" y="1074"/>
                </a:lnTo>
                <a:lnTo>
                  <a:pt x="2073" y="1094"/>
                </a:lnTo>
                <a:lnTo>
                  <a:pt x="2100" y="1115"/>
                </a:lnTo>
                <a:lnTo>
                  <a:pt x="2126" y="1138"/>
                </a:lnTo>
                <a:lnTo>
                  <a:pt x="2149" y="1161"/>
                </a:lnTo>
                <a:lnTo>
                  <a:pt x="2173" y="1186"/>
                </a:lnTo>
                <a:lnTo>
                  <a:pt x="2195" y="1213"/>
                </a:lnTo>
                <a:lnTo>
                  <a:pt x="2216" y="1239"/>
                </a:lnTo>
                <a:lnTo>
                  <a:pt x="2236" y="1269"/>
                </a:lnTo>
                <a:lnTo>
                  <a:pt x="2255" y="1298"/>
                </a:lnTo>
                <a:lnTo>
                  <a:pt x="2271" y="1329"/>
                </a:lnTo>
                <a:lnTo>
                  <a:pt x="2287" y="1360"/>
                </a:lnTo>
                <a:lnTo>
                  <a:pt x="2302" y="1394"/>
                </a:lnTo>
                <a:lnTo>
                  <a:pt x="2314" y="1427"/>
                </a:lnTo>
                <a:lnTo>
                  <a:pt x="2324" y="1461"/>
                </a:lnTo>
                <a:lnTo>
                  <a:pt x="2333" y="1496"/>
                </a:lnTo>
                <a:lnTo>
                  <a:pt x="2340" y="1530"/>
                </a:lnTo>
                <a:lnTo>
                  <a:pt x="2345" y="1564"/>
                </a:lnTo>
                <a:lnTo>
                  <a:pt x="2349" y="1599"/>
                </a:lnTo>
                <a:lnTo>
                  <a:pt x="2350" y="1633"/>
                </a:lnTo>
                <a:lnTo>
                  <a:pt x="2350" y="1667"/>
                </a:lnTo>
                <a:lnTo>
                  <a:pt x="2349" y="1701"/>
                </a:lnTo>
                <a:lnTo>
                  <a:pt x="2345" y="1734"/>
                </a:lnTo>
                <a:lnTo>
                  <a:pt x="2341" y="1768"/>
                </a:lnTo>
                <a:lnTo>
                  <a:pt x="2334" y="1801"/>
                </a:lnTo>
                <a:lnTo>
                  <a:pt x="2326" y="1834"/>
                </a:lnTo>
                <a:lnTo>
                  <a:pt x="2316" y="1866"/>
                </a:lnTo>
                <a:lnTo>
                  <a:pt x="2305" y="1897"/>
                </a:lnTo>
                <a:lnTo>
                  <a:pt x="2293" y="1929"/>
                </a:lnTo>
                <a:lnTo>
                  <a:pt x="2278" y="1959"/>
                </a:lnTo>
                <a:lnTo>
                  <a:pt x="2262" y="1989"/>
                </a:lnTo>
                <a:lnTo>
                  <a:pt x="2246" y="2018"/>
                </a:lnTo>
                <a:lnTo>
                  <a:pt x="2228" y="2046"/>
                </a:lnTo>
                <a:lnTo>
                  <a:pt x="2208" y="2073"/>
                </a:lnTo>
                <a:lnTo>
                  <a:pt x="2187" y="2100"/>
                </a:lnTo>
                <a:lnTo>
                  <a:pt x="2165" y="2126"/>
                </a:lnTo>
                <a:lnTo>
                  <a:pt x="2142" y="2149"/>
                </a:lnTo>
                <a:lnTo>
                  <a:pt x="2116" y="2173"/>
                </a:lnTo>
                <a:lnTo>
                  <a:pt x="2090" y="2195"/>
                </a:lnTo>
                <a:lnTo>
                  <a:pt x="2062" y="2216"/>
                </a:lnTo>
                <a:lnTo>
                  <a:pt x="2034" y="2235"/>
                </a:lnTo>
                <a:lnTo>
                  <a:pt x="2004" y="2254"/>
                </a:lnTo>
                <a:lnTo>
                  <a:pt x="1974" y="2271"/>
                </a:lnTo>
                <a:lnTo>
                  <a:pt x="1941" y="2287"/>
                </a:lnTo>
                <a:lnTo>
                  <a:pt x="1908" y="2301"/>
                </a:lnTo>
                <a:lnTo>
                  <a:pt x="1874" y="2314"/>
                </a:lnTo>
                <a:lnTo>
                  <a:pt x="1840" y="2324"/>
                </a:lnTo>
                <a:lnTo>
                  <a:pt x="1806" y="2333"/>
                </a:lnTo>
                <a:lnTo>
                  <a:pt x="1772" y="2340"/>
                </a:lnTo>
                <a:lnTo>
                  <a:pt x="1738" y="2345"/>
                </a:lnTo>
                <a:lnTo>
                  <a:pt x="1703" y="2348"/>
                </a:lnTo>
                <a:lnTo>
                  <a:pt x="1669" y="2350"/>
                </a:lnTo>
                <a:lnTo>
                  <a:pt x="1635" y="2350"/>
                </a:lnTo>
                <a:lnTo>
                  <a:pt x="1601" y="2348"/>
                </a:lnTo>
                <a:lnTo>
                  <a:pt x="1567" y="2345"/>
                </a:lnTo>
                <a:lnTo>
                  <a:pt x="1534" y="2341"/>
                </a:lnTo>
                <a:lnTo>
                  <a:pt x="1501" y="2334"/>
                </a:lnTo>
                <a:lnTo>
                  <a:pt x="1468" y="2326"/>
                </a:lnTo>
                <a:lnTo>
                  <a:pt x="1436" y="2316"/>
                </a:lnTo>
                <a:lnTo>
                  <a:pt x="1404" y="2305"/>
                </a:lnTo>
                <a:lnTo>
                  <a:pt x="1373" y="2293"/>
                </a:lnTo>
                <a:lnTo>
                  <a:pt x="1342" y="2278"/>
                </a:lnTo>
                <a:lnTo>
                  <a:pt x="1313" y="2262"/>
                </a:lnTo>
                <a:lnTo>
                  <a:pt x="1284" y="2246"/>
                </a:lnTo>
                <a:lnTo>
                  <a:pt x="1256" y="2228"/>
                </a:lnTo>
                <a:lnTo>
                  <a:pt x="1228" y="2207"/>
                </a:lnTo>
                <a:lnTo>
                  <a:pt x="1203" y="2187"/>
                </a:lnTo>
                <a:lnTo>
                  <a:pt x="1177" y="2165"/>
                </a:lnTo>
                <a:lnTo>
                  <a:pt x="1152" y="2140"/>
                </a:lnTo>
                <a:lnTo>
                  <a:pt x="1129" y="2116"/>
                </a:lnTo>
                <a:lnTo>
                  <a:pt x="1106" y="2090"/>
                </a:lnTo>
                <a:lnTo>
                  <a:pt x="1086" y="2062"/>
                </a:lnTo>
                <a:lnTo>
                  <a:pt x="1066" y="2034"/>
                </a:lnTo>
                <a:lnTo>
                  <a:pt x="1048" y="2004"/>
                </a:lnTo>
                <a:lnTo>
                  <a:pt x="1030" y="1974"/>
                </a:lnTo>
                <a:lnTo>
                  <a:pt x="1015" y="1941"/>
                </a:lnTo>
                <a:lnTo>
                  <a:pt x="1001" y="1908"/>
                </a:lnTo>
                <a:lnTo>
                  <a:pt x="989" y="1874"/>
                </a:lnTo>
                <a:lnTo>
                  <a:pt x="978" y="1840"/>
                </a:lnTo>
                <a:lnTo>
                  <a:pt x="970" y="1806"/>
                </a:lnTo>
                <a:lnTo>
                  <a:pt x="962" y="1772"/>
                </a:lnTo>
                <a:lnTo>
                  <a:pt x="958" y="1737"/>
                </a:lnTo>
                <a:lnTo>
                  <a:pt x="954" y="1703"/>
                </a:lnTo>
                <a:lnTo>
                  <a:pt x="952" y="1669"/>
                </a:lnTo>
                <a:lnTo>
                  <a:pt x="952" y="1635"/>
                </a:lnTo>
                <a:lnTo>
                  <a:pt x="954" y="1601"/>
                </a:lnTo>
                <a:lnTo>
                  <a:pt x="956" y="1567"/>
                </a:lnTo>
                <a:lnTo>
                  <a:pt x="962" y="1534"/>
                </a:lnTo>
                <a:lnTo>
                  <a:pt x="969" y="1500"/>
                </a:lnTo>
                <a:lnTo>
                  <a:pt x="977" y="1468"/>
                </a:lnTo>
                <a:lnTo>
                  <a:pt x="985" y="1436"/>
                </a:lnTo>
                <a:lnTo>
                  <a:pt x="997" y="1404"/>
                </a:lnTo>
                <a:lnTo>
                  <a:pt x="1010" y="1373"/>
                </a:lnTo>
                <a:lnTo>
                  <a:pt x="1024" y="1342"/>
                </a:lnTo>
                <a:lnTo>
                  <a:pt x="1039" y="1313"/>
                </a:lnTo>
                <a:lnTo>
                  <a:pt x="1056" y="1284"/>
                </a:lnTo>
                <a:lnTo>
                  <a:pt x="1074" y="1256"/>
                </a:lnTo>
                <a:lnTo>
                  <a:pt x="1094" y="1228"/>
                </a:lnTo>
                <a:lnTo>
                  <a:pt x="1115" y="1203"/>
                </a:lnTo>
                <a:lnTo>
                  <a:pt x="1138" y="1177"/>
                </a:lnTo>
                <a:lnTo>
                  <a:pt x="1161" y="1152"/>
                </a:lnTo>
                <a:lnTo>
                  <a:pt x="1186" y="1129"/>
                </a:lnTo>
                <a:lnTo>
                  <a:pt x="1213" y="1106"/>
                </a:lnTo>
                <a:lnTo>
                  <a:pt x="1240" y="1086"/>
                </a:lnTo>
                <a:lnTo>
                  <a:pt x="1269" y="1066"/>
                </a:lnTo>
                <a:lnTo>
                  <a:pt x="1298" y="1048"/>
                </a:lnTo>
                <a:lnTo>
                  <a:pt x="1329" y="1030"/>
                </a:lnTo>
                <a:lnTo>
                  <a:pt x="1360" y="1015"/>
                </a:lnTo>
                <a:lnTo>
                  <a:pt x="1394" y="1001"/>
                </a:lnTo>
                <a:close/>
              </a:path>
            </a:pathLst>
          </a:custGeom>
          <a:solidFill>
            <a:schemeClr val="accent4">
              <a:lumMod val="60000"/>
              <a:lumOff val="40000"/>
            </a:schemeClr>
          </a:solidFill>
          <a:ln>
            <a:noFill/>
          </a:ln>
        </p:spPr>
        <p:txBody>
          <a:bodyPr/>
          <a:lstStyle/>
          <a:p>
            <a:pPr eaLnBrk="1" fontAlgn="auto" hangingPunct="1">
              <a:spcBef>
                <a:spcPts val="0"/>
              </a:spcBef>
              <a:spcAft>
                <a:spcPts val="0"/>
              </a:spcAft>
              <a:defRPr/>
            </a:pPr>
            <a:endParaRPr lang="en-US">
              <a:solidFill>
                <a:schemeClr val="bg1">
                  <a:lumMod val="95000"/>
                </a:schemeClr>
              </a:solidFill>
              <a:latin typeface="+mn-lt"/>
            </a:endParaRPr>
          </a:p>
        </p:txBody>
      </p:sp>
      <p:sp>
        <p:nvSpPr>
          <p:cNvPr id="7" name="Freeform 15"/>
          <p:cNvSpPr>
            <a:spLocks noEditPoints="1"/>
          </p:cNvSpPr>
          <p:nvPr/>
        </p:nvSpPr>
        <p:spPr bwMode="auto">
          <a:xfrm rot="17100000">
            <a:off x="5531645" y="3151981"/>
            <a:ext cx="1554162" cy="1552575"/>
          </a:xfrm>
          <a:custGeom>
            <a:avLst/>
            <a:gdLst>
              <a:gd name="T0" fmla="*/ 2349 w 4051"/>
              <a:gd name="T1" fmla="*/ 461 h 4050"/>
              <a:gd name="T2" fmla="*/ 2576 w 4051"/>
              <a:gd name="T3" fmla="*/ 526 h 4050"/>
              <a:gd name="T4" fmla="*/ 3051 w 4051"/>
              <a:gd name="T5" fmla="*/ 800 h 4050"/>
              <a:gd name="T6" fmla="*/ 3221 w 4051"/>
              <a:gd name="T7" fmla="*/ 965 h 4050"/>
              <a:gd name="T8" fmla="*/ 3509 w 4051"/>
              <a:gd name="T9" fmla="*/ 1433 h 4050"/>
              <a:gd name="T10" fmla="*/ 3557 w 4051"/>
              <a:gd name="T11" fmla="*/ 1572 h 4050"/>
              <a:gd name="T12" fmla="*/ 3607 w 4051"/>
              <a:gd name="T13" fmla="*/ 1799 h 4050"/>
              <a:gd name="T14" fmla="*/ 3589 w 4051"/>
              <a:gd name="T15" fmla="*/ 2348 h 4050"/>
              <a:gd name="T16" fmla="*/ 3524 w 4051"/>
              <a:gd name="T17" fmla="*/ 2576 h 4050"/>
              <a:gd name="T18" fmla="*/ 3250 w 4051"/>
              <a:gd name="T19" fmla="*/ 3050 h 4050"/>
              <a:gd name="T20" fmla="*/ 3085 w 4051"/>
              <a:gd name="T21" fmla="*/ 3219 h 4050"/>
              <a:gd name="T22" fmla="*/ 2617 w 4051"/>
              <a:gd name="T23" fmla="*/ 3508 h 4050"/>
              <a:gd name="T24" fmla="*/ 2480 w 4051"/>
              <a:gd name="T25" fmla="*/ 3555 h 4050"/>
              <a:gd name="T26" fmla="*/ 2255 w 4051"/>
              <a:gd name="T27" fmla="*/ 3605 h 4050"/>
              <a:gd name="T28" fmla="*/ 1704 w 4051"/>
              <a:gd name="T29" fmla="*/ 3589 h 4050"/>
              <a:gd name="T30" fmla="*/ 1477 w 4051"/>
              <a:gd name="T31" fmla="*/ 3525 h 4050"/>
              <a:gd name="T32" fmla="*/ 1001 w 4051"/>
              <a:gd name="T33" fmla="*/ 3250 h 4050"/>
              <a:gd name="T34" fmla="*/ 832 w 4051"/>
              <a:gd name="T35" fmla="*/ 3086 h 4050"/>
              <a:gd name="T36" fmla="*/ 543 w 4051"/>
              <a:gd name="T37" fmla="*/ 2616 h 4050"/>
              <a:gd name="T38" fmla="*/ 495 w 4051"/>
              <a:gd name="T39" fmla="*/ 2478 h 4050"/>
              <a:gd name="T40" fmla="*/ 445 w 4051"/>
              <a:gd name="T41" fmla="*/ 2254 h 4050"/>
              <a:gd name="T42" fmla="*/ 461 w 4051"/>
              <a:gd name="T43" fmla="*/ 1703 h 4050"/>
              <a:gd name="T44" fmla="*/ 526 w 4051"/>
              <a:gd name="T45" fmla="*/ 1477 h 4050"/>
              <a:gd name="T46" fmla="*/ 800 w 4051"/>
              <a:gd name="T47" fmla="*/ 999 h 4050"/>
              <a:gd name="T48" fmla="*/ 964 w 4051"/>
              <a:gd name="T49" fmla="*/ 831 h 4050"/>
              <a:gd name="T50" fmla="*/ 1434 w 4051"/>
              <a:gd name="T51" fmla="*/ 541 h 4050"/>
              <a:gd name="T52" fmla="*/ 1573 w 4051"/>
              <a:gd name="T53" fmla="*/ 493 h 4050"/>
              <a:gd name="T54" fmla="*/ 1800 w 4051"/>
              <a:gd name="T55" fmla="*/ 444 h 4050"/>
              <a:gd name="T56" fmla="*/ 1815 w 4051"/>
              <a:gd name="T57" fmla="*/ 1102 h 4050"/>
              <a:gd name="T58" fmla="*/ 2047 w 4051"/>
              <a:gd name="T59" fmla="*/ 1079 h 4050"/>
              <a:gd name="T60" fmla="*/ 2273 w 4051"/>
              <a:gd name="T61" fmla="*/ 1112 h 4050"/>
              <a:gd name="T62" fmla="*/ 2482 w 4051"/>
              <a:gd name="T63" fmla="*/ 1197 h 4050"/>
              <a:gd name="T64" fmla="*/ 2667 w 4051"/>
              <a:gd name="T65" fmla="*/ 1329 h 4050"/>
              <a:gd name="T66" fmla="*/ 2817 w 4051"/>
              <a:gd name="T67" fmla="*/ 1506 h 4050"/>
              <a:gd name="T68" fmla="*/ 2922 w 4051"/>
              <a:gd name="T69" fmla="*/ 1722 h 4050"/>
              <a:gd name="T70" fmla="*/ 2969 w 4051"/>
              <a:gd name="T71" fmla="*/ 1954 h 4050"/>
              <a:gd name="T72" fmla="*/ 2958 w 4051"/>
              <a:gd name="T73" fmla="*/ 2183 h 4050"/>
              <a:gd name="T74" fmla="*/ 2893 w 4051"/>
              <a:gd name="T75" fmla="*/ 2400 h 4050"/>
              <a:gd name="T76" fmla="*/ 2779 w 4051"/>
              <a:gd name="T77" fmla="*/ 2596 h 4050"/>
              <a:gd name="T78" fmla="*/ 2619 w 4051"/>
              <a:gd name="T79" fmla="*/ 2760 h 4050"/>
              <a:gd name="T80" fmla="*/ 2419 w 4051"/>
              <a:gd name="T81" fmla="*/ 2885 h 4050"/>
              <a:gd name="T82" fmla="*/ 2189 w 4051"/>
              <a:gd name="T83" fmla="*/ 2956 h 4050"/>
              <a:gd name="T84" fmla="*/ 1958 w 4051"/>
              <a:gd name="T85" fmla="*/ 2968 h 4050"/>
              <a:gd name="T86" fmla="*/ 1735 w 4051"/>
              <a:gd name="T87" fmla="*/ 2925 h 4050"/>
              <a:gd name="T88" fmla="*/ 1529 w 4051"/>
              <a:gd name="T89" fmla="*/ 2830 h 4050"/>
              <a:gd name="T90" fmla="*/ 1351 w 4051"/>
              <a:gd name="T91" fmla="*/ 2688 h 4050"/>
              <a:gd name="T92" fmla="*/ 1209 w 4051"/>
              <a:gd name="T93" fmla="*/ 2502 h 4050"/>
              <a:gd name="T94" fmla="*/ 1115 w 4051"/>
              <a:gd name="T95" fmla="*/ 2280 h 4050"/>
              <a:gd name="T96" fmla="*/ 1080 w 4051"/>
              <a:gd name="T97" fmla="*/ 2049 h 4050"/>
              <a:gd name="T98" fmla="*/ 1101 w 4051"/>
              <a:gd name="T99" fmla="*/ 1822 h 4050"/>
              <a:gd name="T100" fmla="*/ 1176 w 4051"/>
              <a:gd name="T101" fmla="*/ 1608 h 4050"/>
              <a:gd name="T102" fmla="*/ 1301 w 4051"/>
              <a:gd name="T103" fmla="*/ 1418 h 4050"/>
              <a:gd name="T104" fmla="*/ 1469 w 4051"/>
              <a:gd name="T105" fmla="*/ 1260 h 4050"/>
              <a:gd name="T106" fmla="*/ 1678 w 4051"/>
              <a:gd name="T107" fmla="*/ 1146 h 4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051" h="4050">
                <a:moveTo>
                  <a:pt x="1818" y="0"/>
                </a:moveTo>
                <a:lnTo>
                  <a:pt x="2240" y="0"/>
                </a:lnTo>
                <a:lnTo>
                  <a:pt x="2255" y="444"/>
                </a:lnTo>
                <a:lnTo>
                  <a:pt x="2302" y="452"/>
                </a:lnTo>
                <a:lnTo>
                  <a:pt x="2349" y="461"/>
                </a:lnTo>
                <a:lnTo>
                  <a:pt x="2395" y="471"/>
                </a:lnTo>
                <a:lnTo>
                  <a:pt x="2441" y="483"/>
                </a:lnTo>
                <a:lnTo>
                  <a:pt x="2487" y="495"/>
                </a:lnTo>
                <a:lnTo>
                  <a:pt x="2532" y="510"/>
                </a:lnTo>
                <a:lnTo>
                  <a:pt x="2576" y="526"/>
                </a:lnTo>
                <a:lnTo>
                  <a:pt x="2621" y="542"/>
                </a:lnTo>
                <a:lnTo>
                  <a:pt x="2857" y="166"/>
                </a:lnTo>
                <a:lnTo>
                  <a:pt x="3223" y="377"/>
                </a:lnTo>
                <a:lnTo>
                  <a:pt x="3015" y="771"/>
                </a:lnTo>
                <a:lnTo>
                  <a:pt x="3051" y="800"/>
                </a:lnTo>
                <a:lnTo>
                  <a:pt x="3087" y="831"/>
                </a:lnTo>
                <a:lnTo>
                  <a:pt x="3121" y="863"/>
                </a:lnTo>
                <a:lnTo>
                  <a:pt x="3156" y="896"/>
                </a:lnTo>
                <a:lnTo>
                  <a:pt x="3189" y="930"/>
                </a:lnTo>
                <a:lnTo>
                  <a:pt x="3221" y="965"/>
                </a:lnTo>
                <a:lnTo>
                  <a:pt x="3252" y="1001"/>
                </a:lnTo>
                <a:lnTo>
                  <a:pt x="3283" y="1039"/>
                </a:lnTo>
                <a:lnTo>
                  <a:pt x="3675" y="831"/>
                </a:lnTo>
                <a:lnTo>
                  <a:pt x="3887" y="1197"/>
                </a:lnTo>
                <a:lnTo>
                  <a:pt x="3509" y="1433"/>
                </a:lnTo>
                <a:lnTo>
                  <a:pt x="3510" y="1436"/>
                </a:lnTo>
                <a:lnTo>
                  <a:pt x="3511" y="1437"/>
                </a:lnTo>
                <a:lnTo>
                  <a:pt x="3528" y="1481"/>
                </a:lnTo>
                <a:lnTo>
                  <a:pt x="3543" y="1527"/>
                </a:lnTo>
                <a:lnTo>
                  <a:pt x="3557" y="1572"/>
                </a:lnTo>
                <a:lnTo>
                  <a:pt x="3570" y="1617"/>
                </a:lnTo>
                <a:lnTo>
                  <a:pt x="3581" y="1663"/>
                </a:lnTo>
                <a:lnTo>
                  <a:pt x="3591" y="1709"/>
                </a:lnTo>
                <a:lnTo>
                  <a:pt x="3599" y="1753"/>
                </a:lnTo>
                <a:lnTo>
                  <a:pt x="3607" y="1799"/>
                </a:lnTo>
                <a:lnTo>
                  <a:pt x="4051" y="1816"/>
                </a:lnTo>
                <a:lnTo>
                  <a:pt x="4051" y="2238"/>
                </a:lnTo>
                <a:lnTo>
                  <a:pt x="3606" y="2254"/>
                </a:lnTo>
                <a:lnTo>
                  <a:pt x="3598" y="2301"/>
                </a:lnTo>
                <a:lnTo>
                  <a:pt x="3589" y="2348"/>
                </a:lnTo>
                <a:lnTo>
                  <a:pt x="3579" y="2395"/>
                </a:lnTo>
                <a:lnTo>
                  <a:pt x="3568" y="2440"/>
                </a:lnTo>
                <a:lnTo>
                  <a:pt x="3555" y="2485"/>
                </a:lnTo>
                <a:lnTo>
                  <a:pt x="3540" y="2531"/>
                </a:lnTo>
                <a:lnTo>
                  <a:pt x="3524" y="2576"/>
                </a:lnTo>
                <a:lnTo>
                  <a:pt x="3508" y="2619"/>
                </a:lnTo>
                <a:lnTo>
                  <a:pt x="3884" y="2857"/>
                </a:lnTo>
                <a:lnTo>
                  <a:pt x="3673" y="3223"/>
                </a:lnTo>
                <a:lnTo>
                  <a:pt x="3279" y="3013"/>
                </a:lnTo>
                <a:lnTo>
                  <a:pt x="3250" y="3050"/>
                </a:lnTo>
                <a:lnTo>
                  <a:pt x="3219" y="3086"/>
                </a:lnTo>
                <a:lnTo>
                  <a:pt x="3187" y="3121"/>
                </a:lnTo>
                <a:lnTo>
                  <a:pt x="3154" y="3154"/>
                </a:lnTo>
                <a:lnTo>
                  <a:pt x="3120" y="3188"/>
                </a:lnTo>
                <a:lnTo>
                  <a:pt x="3085" y="3219"/>
                </a:lnTo>
                <a:lnTo>
                  <a:pt x="3049" y="3251"/>
                </a:lnTo>
                <a:lnTo>
                  <a:pt x="3012" y="3281"/>
                </a:lnTo>
                <a:lnTo>
                  <a:pt x="3219" y="3675"/>
                </a:lnTo>
                <a:lnTo>
                  <a:pt x="2854" y="3885"/>
                </a:lnTo>
                <a:lnTo>
                  <a:pt x="2617" y="3508"/>
                </a:lnTo>
                <a:lnTo>
                  <a:pt x="2616" y="3508"/>
                </a:lnTo>
                <a:lnTo>
                  <a:pt x="2613" y="3509"/>
                </a:lnTo>
                <a:lnTo>
                  <a:pt x="2569" y="3526"/>
                </a:lnTo>
                <a:lnTo>
                  <a:pt x="2524" y="3542"/>
                </a:lnTo>
                <a:lnTo>
                  <a:pt x="2480" y="3555"/>
                </a:lnTo>
                <a:lnTo>
                  <a:pt x="2434" y="3568"/>
                </a:lnTo>
                <a:lnTo>
                  <a:pt x="2390" y="3580"/>
                </a:lnTo>
                <a:lnTo>
                  <a:pt x="2345" y="3590"/>
                </a:lnTo>
                <a:lnTo>
                  <a:pt x="2300" y="3598"/>
                </a:lnTo>
                <a:lnTo>
                  <a:pt x="2255" y="3605"/>
                </a:lnTo>
                <a:lnTo>
                  <a:pt x="2240" y="4050"/>
                </a:lnTo>
                <a:lnTo>
                  <a:pt x="1812" y="4050"/>
                </a:lnTo>
                <a:lnTo>
                  <a:pt x="1796" y="3605"/>
                </a:lnTo>
                <a:lnTo>
                  <a:pt x="1749" y="3598"/>
                </a:lnTo>
                <a:lnTo>
                  <a:pt x="1704" y="3589"/>
                </a:lnTo>
                <a:lnTo>
                  <a:pt x="1658" y="3579"/>
                </a:lnTo>
                <a:lnTo>
                  <a:pt x="1612" y="3567"/>
                </a:lnTo>
                <a:lnTo>
                  <a:pt x="1567" y="3554"/>
                </a:lnTo>
                <a:lnTo>
                  <a:pt x="1522" y="3539"/>
                </a:lnTo>
                <a:lnTo>
                  <a:pt x="1477" y="3525"/>
                </a:lnTo>
                <a:lnTo>
                  <a:pt x="1434" y="3508"/>
                </a:lnTo>
                <a:lnTo>
                  <a:pt x="1198" y="3885"/>
                </a:lnTo>
                <a:lnTo>
                  <a:pt x="828" y="3671"/>
                </a:lnTo>
                <a:lnTo>
                  <a:pt x="1037" y="3279"/>
                </a:lnTo>
                <a:lnTo>
                  <a:pt x="1001" y="3250"/>
                </a:lnTo>
                <a:lnTo>
                  <a:pt x="965" y="3218"/>
                </a:lnTo>
                <a:lnTo>
                  <a:pt x="930" y="3187"/>
                </a:lnTo>
                <a:lnTo>
                  <a:pt x="897" y="3154"/>
                </a:lnTo>
                <a:lnTo>
                  <a:pt x="864" y="3121"/>
                </a:lnTo>
                <a:lnTo>
                  <a:pt x="832" y="3086"/>
                </a:lnTo>
                <a:lnTo>
                  <a:pt x="802" y="3050"/>
                </a:lnTo>
                <a:lnTo>
                  <a:pt x="771" y="3013"/>
                </a:lnTo>
                <a:lnTo>
                  <a:pt x="379" y="3223"/>
                </a:lnTo>
                <a:lnTo>
                  <a:pt x="165" y="2852"/>
                </a:lnTo>
                <a:lnTo>
                  <a:pt x="543" y="2616"/>
                </a:lnTo>
                <a:lnTo>
                  <a:pt x="542" y="2614"/>
                </a:lnTo>
                <a:lnTo>
                  <a:pt x="541" y="2612"/>
                </a:lnTo>
                <a:lnTo>
                  <a:pt x="524" y="2568"/>
                </a:lnTo>
                <a:lnTo>
                  <a:pt x="508" y="2523"/>
                </a:lnTo>
                <a:lnTo>
                  <a:pt x="495" y="2478"/>
                </a:lnTo>
                <a:lnTo>
                  <a:pt x="481" y="2434"/>
                </a:lnTo>
                <a:lnTo>
                  <a:pt x="470" y="2389"/>
                </a:lnTo>
                <a:lnTo>
                  <a:pt x="461" y="2344"/>
                </a:lnTo>
                <a:lnTo>
                  <a:pt x="452" y="2298"/>
                </a:lnTo>
                <a:lnTo>
                  <a:pt x="445" y="2254"/>
                </a:lnTo>
                <a:lnTo>
                  <a:pt x="0" y="2238"/>
                </a:lnTo>
                <a:lnTo>
                  <a:pt x="0" y="1812"/>
                </a:lnTo>
                <a:lnTo>
                  <a:pt x="445" y="1796"/>
                </a:lnTo>
                <a:lnTo>
                  <a:pt x="452" y="1749"/>
                </a:lnTo>
                <a:lnTo>
                  <a:pt x="461" y="1703"/>
                </a:lnTo>
                <a:lnTo>
                  <a:pt x="471" y="1657"/>
                </a:lnTo>
                <a:lnTo>
                  <a:pt x="484" y="1611"/>
                </a:lnTo>
                <a:lnTo>
                  <a:pt x="496" y="1565"/>
                </a:lnTo>
                <a:lnTo>
                  <a:pt x="511" y="1521"/>
                </a:lnTo>
                <a:lnTo>
                  <a:pt x="526" y="1477"/>
                </a:lnTo>
                <a:lnTo>
                  <a:pt x="543" y="1433"/>
                </a:lnTo>
                <a:lnTo>
                  <a:pt x="165" y="1197"/>
                </a:lnTo>
                <a:lnTo>
                  <a:pt x="379" y="827"/>
                </a:lnTo>
                <a:lnTo>
                  <a:pt x="771" y="1036"/>
                </a:lnTo>
                <a:lnTo>
                  <a:pt x="800" y="999"/>
                </a:lnTo>
                <a:lnTo>
                  <a:pt x="832" y="964"/>
                </a:lnTo>
                <a:lnTo>
                  <a:pt x="863" y="930"/>
                </a:lnTo>
                <a:lnTo>
                  <a:pt x="896" y="896"/>
                </a:lnTo>
                <a:lnTo>
                  <a:pt x="929" y="864"/>
                </a:lnTo>
                <a:lnTo>
                  <a:pt x="964" y="831"/>
                </a:lnTo>
                <a:lnTo>
                  <a:pt x="1000" y="800"/>
                </a:lnTo>
                <a:lnTo>
                  <a:pt x="1037" y="771"/>
                </a:lnTo>
                <a:lnTo>
                  <a:pt x="828" y="377"/>
                </a:lnTo>
                <a:lnTo>
                  <a:pt x="1198" y="164"/>
                </a:lnTo>
                <a:lnTo>
                  <a:pt x="1434" y="541"/>
                </a:lnTo>
                <a:lnTo>
                  <a:pt x="1436" y="540"/>
                </a:lnTo>
                <a:lnTo>
                  <a:pt x="1438" y="540"/>
                </a:lnTo>
                <a:lnTo>
                  <a:pt x="1483" y="522"/>
                </a:lnTo>
                <a:lnTo>
                  <a:pt x="1528" y="508"/>
                </a:lnTo>
                <a:lnTo>
                  <a:pt x="1573" y="493"/>
                </a:lnTo>
                <a:lnTo>
                  <a:pt x="1618" y="481"/>
                </a:lnTo>
                <a:lnTo>
                  <a:pt x="1663" y="470"/>
                </a:lnTo>
                <a:lnTo>
                  <a:pt x="1709" y="460"/>
                </a:lnTo>
                <a:lnTo>
                  <a:pt x="1755" y="451"/>
                </a:lnTo>
                <a:lnTo>
                  <a:pt x="1800" y="444"/>
                </a:lnTo>
                <a:lnTo>
                  <a:pt x="1818" y="0"/>
                </a:lnTo>
                <a:close/>
                <a:moveTo>
                  <a:pt x="1678" y="1146"/>
                </a:moveTo>
                <a:lnTo>
                  <a:pt x="1724" y="1129"/>
                </a:lnTo>
                <a:lnTo>
                  <a:pt x="1770" y="1114"/>
                </a:lnTo>
                <a:lnTo>
                  <a:pt x="1815" y="1102"/>
                </a:lnTo>
                <a:lnTo>
                  <a:pt x="1862" y="1093"/>
                </a:lnTo>
                <a:lnTo>
                  <a:pt x="1908" y="1086"/>
                </a:lnTo>
                <a:lnTo>
                  <a:pt x="1955" y="1081"/>
                </a:lnTo>
                <a:lnTo>
                  <a:pt x="2001" y="1079"/>
                </a:lnTo>
                <a:lnTo>
                  <a:pt x="2047" y="1079"/>
                </a:lnTo>
                <a:lnTo>
                  <a:pt x="2093" y="1081"/>
                </a:lnTo>
                <a:lnTo>
                  <a:pt x="2139" y="1085"/>
                </a:lnTo>
                <a:lnTo>
                  <a:pt x="2184" y="1092"/>
                </a:lnTo>
                <a:lnTo>
                  <a:pt x="2228" y="1101"/>
                </a:lnTo>
                <a:lnTo>
                  <a:pt x="2273" y="1112"/>
                </a:lnTo>
                <a:lnTo>
                  <a:pt x="2317" y="1124"/>
                </a:lnTo>
                <a:lnTo>
                  <a:pt x="2359" y="1140"/>
                </a:lnTo>
                <a:lnTo>
                  <a:pt x="2402" y="1157"/>
                </a:lnTo>
                <a:lnTo>
                  <a:pt x="2442" y="1176"/>
                </a:lnTo>
                <a:lnTo>
                  <a:pt x="2482" y="1197"/>
                </a:lnTo>
                <a:lnTo>
                  <a:pt x="2523" y="1220"/>
                </a:lnTo>
                <a:lnTo>
                  <a:pt x="2561" y="1244"/>
                </a:lnTo>
                <a:lnTo>
                  <a:pt x="2598" y="1271"/>
                </a:lnTo>
                <a:lnTo>
                  <a:pt x="2634" y="1299"/>
                </a:lnTo>
                <a:lnTo>
                  <a:pt x="2667" y="1329"/>
                </a:lnTo>
                <a:lnTo>
                  <a:pt x="2701" y="1362"/>
                </a:lnTo>
                <a:lnTo>
                  <a:pt x="2732" y="1395"/>
                </a:lnTo>
                <a:lnTo>
                  <a:pt x="2762" y="1431"/>
                </a:lnTo>
                <a:lnTo>
                  <a:pt x="2790" y="1468"/>
                </a:lnTo>
                <a:lnTo>
                  <a:pt x="2817" y="1506"/>
                </a:lnTo>
                <a:lnTo>
                  <a:pt x="2842" y="1546"/>
                </a:lnTo>
                <a:lnTo>
                  <a:pt x="2865" y="1589"/>
                </a:lnTo>
                <a:lnTo>
                  <a:pt x="2886" y="1631"/>
                </a:lnTo>
                <a:lnTo>
                  <a:pt x="2905" y="1676"/>
                </a:lnTo>
                <a:lnTo>
                  <a:pt x="2922" y="1722"/>
                </a:lnTo>
                <a:lnTo>
                  <a:pt x="2936" y="1768"/>
                </a:lnTo>
                <a:lnTo>
                  <a:pt x="2948" y="1815"/>
                </a:lnTo>
                <a:lnTo>
                  <a:pt x="2957" y="1861"/>
                </a:lnTo>
                <a:lnTo>
                  <a:pt x="2965" y="1908"/>
                </a:lnTo>
                <a:lnTo>
                  <a:pt x="2969" y="1954"/>
                </a:lnTo>
                <a:lnTo>
                  <a:pt x="2971" y="2001"/>
                </a:lnTo>
                <a:lnTo>
                  <a:pt x="2971" y="2047"/>
                </a:lnTo>
                <a:lnTo>
                  <a:pt x="2969" y="2092"/>
                </a:lnTo>
                <a:lnTo>
                  <a:pt x="2965" y="2138"/>
                </a:lnTo>
                <a:lnTo>
                  <a:pt x="2958" y="2183"/>
                </a:lnTo>
                <a:lnTo>
                  <a:pt x="2949" y="2228"/>
                </a:lnTo>
                <a:lnTo>
                  <a:pt x="2939" y="2271"/>
                </a:lnTo>
                <a:lnTo>
                  <a:pt x="2926" y="2315"/>
                </a:lnTo>
                <a:lnTo>
                  <a:pt x="2911" y="2359"/>
                </a:lnTo>
                <a:lnTo>
                  <a:pt x="2893" y="2400"/>
                </a:lnTo>
                <a:lnTo>
                  <a:pt x="2874" y="2442"/>
                </a:lnTo>
                <a:lnTo>
                  <a:pt x="2854" y="2482"/>
                </a:lnTo>
                <a:lnTo>
                  <a:pt x="2830" y="2521"/>
                </a:lnTo>
                <a:lnTo>
                  <a:pt x="2806" y="2559"/>
                </a:lnTo>
                <a:lnTo>
                  <a:pt x="2779" y="2596"/>
                </a:lnTo>
                <a:lnTo>
                  <a:pt x="2751" y="2632"/>
                </a:lnTo>
                <a:lnTo>
                  <a:pt x="2721" y="2666"/>
                </a:lnTo>
                <a:lnTo>
                  <a:pt x="2688" y="2699"/>
                </a:lnTo>
                <a:lnTo>
                  <a:pt x="2655" y="2731"/>
                </a:lnTo>
                <a:lnTo>
                  <a:pt x="2619" y="2760"/>
                </a:lnTo>
                <a:lnTo>
                  <a:pt x="2582" y="2790"/>
                </a:lnTo>
                <a:lnTo>
                  <a:pt x="2544" y="2816"/>
                </a:lnTo>
                <a:lnTo>
                  <a:pt x="2504" y="2841"/>
                </a:lnTo>
                <a:lnTo>
                  <a:pt x="2461" y="2863"/>
                </a:lnTo>
                <a:lnTo>
                  <a:pt x="2419" y="2885"/>
                </a:lnTo>
                <a:lnTo>
                  <a:pt x="2374" y="2904"/>
                </a:lnTo>
                <a:lnTo>
                  <a:pt x="2328" y="2921"/>
                </a:lnTo>
                <a:lnTo>
                  <a:pt x="2282" y="2935"/>
                </a:lnTo>
                <a:lnTo>
                  <a:pt x="2235" y="2946"/>
                </a:lnTo>
                <a:lnTo>
                  <a:pt x="2189" y="2956"/>
                </a:lnTo>
                <a:lnTo>
                  <a:pt x="2143" y="2963"/>
                </a:lnTo>
                <a:lnTo>
                  <a:pt x="2096" y="2968"/>
                </a:lnTo>
                <a:lnTo>
                  <a:pt x="2050" y="2970"/>
                </a:lnTo>
                <a:lnTo>
                  <a:pt x="2003" y="2970"/>
                </a:lnTo>
                <a:lnTo>
                  <a:pt x="1958" y="2968"/>
                </a:lnTo>
                <a:lnTo>
                  <a:pt x="1913" y="2964"/>
                </a:lnTo>
                <a:lnTo>
                  <a:pt x="1867" y="2957"/>
                </a:lnTo>
                <a:lnTo>
                  <a:pt x="1822" y="2948"/>
                </a:lnTo>
                <a:lnTo>
                  <a:pt x="1779" y="2937"/>
                </a:lnTo>
                <a:lnTo>
                  <a:pt x="1735" y="2925"/>
                </a:lnTo>
                <a:lnTo>
                  <a:pt x="1692" y="2909"/>
                </a:lnTo>
                <a:lnTo>
                  <a:pt x="1650" y="2893"/>
                </a:lnTo>
                <a:lnTo>
                  <a:pt x="1608" y="2874"/>
                </a:lnTo>
                <a:lnTo>
                  <a:pt x="1568" y="2852"/>
                </a:lnTo>
                <a:lnTo>
                  <a:pt x="1529" y="2830"/>
                </a:lnTo>
                <a:lnTo>
                  <a:pt x="1491" y="2805"/>
                </a:lnTo>
                <a:lnTo>
                  <a:pt x="1454" y="2778"/>
                </a:lnTo>
                <a:lnTo>
                  <a:pt x="1418" y="2749"/>
                </a:lnTo>
                <a:lnTo>
                  <a:pt x="1383" y="2719"/>
                </a:lnTo>
                <a:lnTo>
                  <a:pt x="1351" y="2688"/>
                </a:lnTo>
                <a:lnTo>
                  <a:pt x="1320" y="2654"/>
                </a:lnTo>
                <a:lnTo>
                  <a:pt x="1289" y="2618"/>
                </a:lnTo>
                <a:lnTo>
                  <a:pt x="1260" y="2581"/>
                </a:lnTo>
                <a:lnTo>
                  <a:pt x="1235" y="2542"/>
                </a:lnTo>
                <a:lnTo>
                  <a:pt x="1209" y="2502"/>
                </a:lnTo>
                <a:lnTo>
                  <a:pt x="1187" y="2461"/>
                </a:lnTo>
                <a:lnTo>
                  <a:pt x="1165" y="2417"/>
                </a:lnTo>
                <a:lnTo>
                  <a:pt x="1146" y="2372"/>
                </a:lnTo>
                <a:lnTo>
                  <a:pt x="1129" y="2326"/>
                </a:lnTo>
                <a:lnTo>
                  <a:pt x="1115" y="2280"/>
                </a:lnTo>
                <a:lnTo>
                  <a:pt x="1104" y="2235"/>
                </a:lnTo>
                <a:lnTo>
                  <a:pt x="1094" y="2189"/>
                </a:lnTo>
                <a:lnTo>
                  <a:pt x="1087" y="2142"/>
                </a:lnTo>
                <a:lnTo>
                  <a:pt x="1082" y="2096"/>
                </a:lnTo>
                <a:lnTo>
                  <a:pt x="1080" y="2049"/>
                </a:lnTo>
                <a:lnTo>
                  <a:pt x="1080" y="2003"/>
                </a:lnTo>
                <a:lnTo>
                  <a:pt x="1082" y="1957"/>
                </a:lnTo>
                <a:lnTo>
                  <a:pt x="1087" y="1911"/>
                </a:lnTo>
                <a:lnTo>
                  <a:pt x="1094" y="1866"/>
                </a:lnTo>
                <a:lnTo>
                  <a:pt x="1101" y="1822"/>
                </a:lnTo>
                <a:lnTo>
                  <a:pt x="1113" y="1777"/>
                </a:lnTo>
                <a:lnTo>
                  <a:pt x="1126" y="1733"/>
                </a:lnTo>
                <a:lnTo>
                  <a:pt x="1141" y="1691"/>
                </a:lnTo>
                <a:lnTo>
                  <a:pt x="1157" y="1649"/>
                </a:lnTo>
                <a:lnTo>
                  <a:pt x="1176" y="1608"/>
                </a:lnTo>
                <a:lnTo>
                  <a:pt x="1198" y="1568"/>
                </a:lnTo>
                <a:lnTo>
                  <a:pt x="1220" y="1528"/>
                </a:lnTo>
                <a:lnTo>
                  <a:pt x="1246" y="1490"/>
                </a:lnTo>
                <a:lnTo>
                  <a:pt x="1272" y="1453"/>
                </a:lnTo>
                <a:lnTo>
                  <a:pt x="1301" y="1418"/>
                </a:lnTo>
                <a:lnTo>
                  <a:pt x="1331" y="1383"/>
                </a:lnTo>
                <a:lnTo>
                  <a:pt x="1362" y="1349"/>
                </a:lnTo>
                <a:lnTo>
                  <a:pt x="1397" y="1318"/>
                </a:lnTo>
                <a:lnTo>
                  <a:pt x="1432" y="1288"/>
                </a:lnTo>
                <a:lnTo>
                  <a:pt x="1469" y="1260"/>
                </a:lnTo>
                <a:lnTo>
                  <a:pt x="1508" y="1233"/>
                </a:lnTo>
                <a:lnTo>
                  <a:pt x="1548" y="1208"/>
                </a:lnTo>
                <a:lnTo>
                  <a:pt x="1589" y="1185"/>
                </a:lnTo>
                <a:lnTo>
                  <a:pt x="1633" y="1165"/>
                </a:lnTo>
                <a:lnTo>
                  <a:pt x="1678" y="1146"/>
                </a:lnTo>
                <a:close/>
              </a:path>
            </a:pathLst>
          </a:custGeom>
          <a:solidFill>
            <a:srgbClr val="37B3AD"/>
          </a:solidFill>
          <a:ln>
            <a:noFill/>
          </a:ln>
        </p:spPr>
        <p:txBody>
          <a:bodyPr/>
          <a:lstStyle/>
          <a:p>
            <a:pPr eaLnBrk="1" fontAlgn="auto" hangingPunct="1">
              <a:spcBef>
                <a:spcPts val="0"/>
              </a:spcBef>
              <a:spcAft>
                <a:spcPts val="0"/>
              </a:spcAft>
              <a:defRPr/>
            </a:pPr>
            <a:endParaRPr lang="en-US">
              <a:solidFill>
                <a:schemeClr val="bg1">
                  <a:lumMod val="95000"/>
                </a:schemeClr>
              </a:solidFill>
              <a:latin typeface="+mn-lt"/>
            </a:endParaRPr>
          </a:p>
        </p:txBody>
      </p:sp>
      <p:sp>
        <p:nvSpPr>
          <p:cNvPr id="8" name="Freeform 16"/>
          <p:cNvSpPr>
            <a:spLocks noEditPoints="1"/>
          </p:cNvSpPr>
          <p:nvPr/>
        </p:nvSpPr>
        <p:spPr bwMode="auto">
          <a:xfrm rot="17100000">
            <a:off x="6534150" y="2487613"/>
            <a:ext cx="1017587" cy="1017588"/>
          </a:xfrm>
          <a:custGeom>
            <a:avLst/>
            <a:gdLst>
              <a:gd name="T0" fmla="*/ 1274 w 2651"/>
              <a:gd name="T1" fmla="*/ 2321 h 2651"/>
              <a:gd name="T2" fmla="*/ 1111 w 2651"/>
              <a:gd name="T3" fmla="*/ 2300 h 2651"/>
              <a:gd name="T4" fmla="*/ 955 w 2651"/>
              <a:gd name="T5" fmla="*/ 2251 h 2651"/>
              <a:gd name="T6" fmla="*/ 556 w 2651"/>
              <a:gd name="T7" fmla="*/ 1959 h 2651"/>
              <a:gd name="T8" fmla="*/ 459 w 2651"/>
              <a:gd name="T9" fmla="*/ 1817 h 2651"/>
              <a:gd name="T10" fmla="*/ 75 w 2651"/>
              <a:gd name="T11" fmla="*/ 1765 h 2651"/>
              <a:gd name="T12" fmla="*/ 338 w 2651"/>
              <a:gd name="T13" fmla="*/ 1192 h 2651"/>
              <a:gd name="T14" fmla="*/ 373 w 2651"/>
              <a:gd name="T15" fmla="*/ 1032 h 2651"/>
              <a:gd name="T16" fmla="*/ 375 w 2651"/>
              <a:gd name="T17" fmla="*/ 402 h 2651"/>
              <a:gd name="T18" fmla="*/ 764 w 2651"/>
              <a:gd name="T19" fmla="*/ 501 h 2651"/>
              <a:gd name="T20" fmla="*/ 903 w 2651"/>
              <a:gd name="T21" fmla="*/ 423 h 2651"/>
              <a:gd name="T22" fmla="*/ 1378 w 2651"/>
              <a:gd name="T23" fmla="*/ 330 h 2651"/>
              <a:gd name="T24" fmla="*/ 1542 w 2651"/>
              <a:gd name="T25" fmla="*/ 352 h 2651"/>
              <a:gd name="T26" fmla="*/ 1700 w 2651"/>
              <a:gd name="T27" fmla="*/ 402 h 2651"/>
              <a:gd name="T28" fmla="*/ 2096 w 2651"/>
              <a:gd name="T29" fmla="*/ 692 h 2651"/>
              <a:gd name="T30" fmla="*/ 2195 w 2651"/>
              <a:gd name="T31" fmla="*/ 835 h 2651"/>
              <a:gd name="T32" fmla="*/ 2577 w 2651"/>
              <a:gd name="T33" fmla="*/ 891 h 2651"/>
              <a:gd name="T34" fmla="*/ 2314 w 2651"/>
              <a:gd name="T35" fmla="*/ 1459 h 2651"/>
              <a:gd name="T36" fmla="*/ 2279 w 2651"/>
              <a:gd name="T37" fmla="*/ 1621 h 2651"/>
              <a:gd name="T38" fmla="*/ 2277 w 2651"/>
              <a:gd name="T39" fmla="*/ 2249 h 2651"/>
              <a:gd name="T40" fmla="*/ 1888 w 2651"/>
              <a:gd name="T41" fmla="*/ 2149 h 2651"/>
              <a:gd name="T42" fmla="*/ 1751 w 2651"/>
              <a:gd name="T43" fmla="*/ 2227 h 2651"/>
              <a:gd name="T44" fmla="*/ 1378 w 2651"/>
              <a:gd name="T45" fmla="*/ 820 h 2651"/>
              <a:gd name="T46" fmla="*/ 1477 w 2651"/>
              <a:gd name="T47" fmla="*/ 840 h 2651"/>
              <a:gd name="T48" fmla="*/ 1568 w 2651"/>
              <a:gd name="T49" fmla="*/ 880 h 2651"/>
              <a:gd name="T50" fmla="*/ 1649 w 2651"/>
              <a:gd name="T51" fmla="*/ 934 h 2651"/>
              <a:gd name="T52" fmla="*/ 1718 w 2651"/>
              <a:gd name="T53" fmla="*/ 1003 h 2651"/>
              <a:gd name="T54" fmla="*/ 1773 w 2651"/>
              <a:gd name="T55" fmla="*/ 1083 h 2651"/>
              <a:gd name="T56" fmla="*/ 1811 w 2651"/>
              <a:gd name="T57" fmla="*/ 1175 h 2651"/>
              <a:gd name="T58" fmla="*/ 1831 w 2651"/>
              <a:gd name="T59" fmla="*/ 1273 h 2651"/>
              <a:gd name="T60" fmla="*/ 1831 w 2651"/>
              <a:gd name="T61" fmla="*/ 1378 h 2651"/>
              <a:gd name="T62" fmla="*/ 1811 w 2651"/>
              <a:gd name="T63" fmla="*/ 1476 h 2651"/>
              <a:gd name="T64" fmla="*/ 1773 w 2651"/>
              <a:gd name="T65" fmla="*/ 1568 h 2651"/>
              <a:gd name="T66" fmla="*/ 1718 w 2651"/>
              <a:gd name="T67" fmla="*/ 1648 h 2651"/>
              <a:gd name="T68" fmla="*/ 1649 w 2651"/>
              <a:gd name="T69" fmla="*/ 1718 h 2651"/>
              <a:gd name="T70" fmla="*/ 1568 w 2651"/>
              <a:gd name="T71" fmla="*/ 1771 h 2651"/>
              <a:gd name="T72" fmla="*/ 1477 w 2651"/>
              <a:gd name="T73" fmla="*/ 1811 h 2651"/>
              <a:gd name="T74" fmla="*/ 1378 w 2651"/>
              <a:gd name="T75" fmla="*/ 1831 h 2651"/>
              <a:gd name="T76" fmla="*/ 1274 w 2651"/>
              <a:gd name="T77" fmla="*/ 1831 h 2651"/>
              <a:gd name="T78" fmla="*/ 1175 w 2651"/>
              <a:gd name="T79" fmla="*/ 1811 h 2651"/>
              <a:gd name="T80" fmla="*/ 1085 w 2651"/>
              <a:gd name="T81" fmla="*/ 1771 h 2651"/>
              <a:gd name="T82" fmla="*/ 1003 w 2651"/>
              <a:gd name="T83" fmla="*/ 1718 h 2651"/>
              <a:gd name="T84" fmla="*/ 935 w 2651"/>
              <a:gd name="T85" fmla="*/ 1648 h 2651"/>
              <a:gd name="T86" fmla="*/ 880 w 2651"/>
              <a:gd name="T87" fmla="*/ 1568 h 2651"/>
              <a:gd name="T88" fmla="*/ 842 w 2651"/>
              <a:gd name="T89" fmla="*/ 1476 h 2651"/>
              <a:gd name="T90" fmla="*/ 820 w 2651"/>
              <a:gd name="T91" fmla="*/ 1378 h 2651"/>
              <a:gd name="T92" fmla="*/ 820 w 2651"/>
              <a:gd name="T93" fmla="*/ 1273 h 2651"/>
              <a:gd name="T94" fmla="*/ 842 w 2651"/>
              <a:gd name="T95" fmla="*/ 1175 h 2651"/>
              <a:gd name="T96" fmla="*/ 880 w 2651"/>
              <a:gd name="T97" fmla="*/ 1083 h 2651"/>
              <a:gd name="T98" fmla="*/ 935 w 2651"/>
              <a:gd name="T99" fmla="*/ 1003 h 2651"/>
              <a:gd name="T100" fmla="*/ 1003 w 2651"/>
              <a:gd name="T101" fmla="*/ 934 h 2651"/>
              <a:gd name="T102" fmla="*/ 1085 w 2651"/>
              <a:gd name="T103" fmla="*/ 880 h 2651"/>
              <a:gd name="T104" fmla="*/ 1175 w 2651"/>
              <a:gd name="T105" fmla="*/ 840 h 2651"/>
              <a:gd name="T106" fmla="*/ 1274 w 2651"/>
              <a:gd name="T107" fmla="*/ 820 h 2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51" h="2651">
                <a:moveTo>
                  <a:pt x="1718" y="2243"/>
                </a:moveTo>
                <a:lnTo>
                  <a:pt x="1765" y="2576"/>
                </a:lnTo>
                <a:lnTo>
                  <a:pt x="1345" y="2651"/>
                </a:lnTo>
                <a:lnTo>
                  <a:pt x="1274" y="2321"/>
                </a:lnTo>
                <a:lnTo>
                  <a:pt x="1233" y="2319"/>
                </a:lnTo>
                <a:lnTo>
                  <a:pt x="1192" y="2313"/>
                </a:lnTo>
                <a:lnTo>
                  <a:pt x="1152" y="2307"/>
                </a:lnTo>
                <a:lnTo>
                  <a:pt x="1111" y="2300"/>
                </a:lnTo>
                <a:lnTo>
                  <a:pt x="1072" y="2290"/>
                </a:lnTo>
                <a:lnTo>
                  <a:pt x="1032" y="2278"/>
                </a:lnTo>
                <a:lnTo>
                  <a:pt x="994" y="2265"/>
                </a:lnTo>
                <a:lnTo>
                  <a:pt x="955" y="2251"/>
                </a:lnTo>
                <a:lnTo>
                  <a:pt x="752" y="2520"/>
                </a:lnTo>
                <a:lnTo>
                  <a:pt x="402" y="2276"/>
                </a:lnTo>
                <a:lnTo>
                  <a:pt x="585" y="1993"/>
                </a:lnTo>
                <a:lnTo>
                  <a:pt x="556" y="1959"/>
                </a:lnTo>
                <a:lnTo>
                  <a:pt x="528" y="1924"/>
                </a:lnTo>
                <a:lnTo>
                  <a:pt x="503" y="1888"/>
                </a:lnTo>
                <a:lnTo>
                  <a:pt x="478" y="1850"/>
                </a:lnTo>
                <a:lnTo>
                  <a:pt x="459" y="1817"/>
                </a:lnTo>
                <a:lnTo>
                  <a:pt x="441" y="1784"/>
                </a:lnTo>
                <a:lnTo>
                  <a:pt x="424" y="1751"/>
                </a:lnTo>
                <a:lnTo>
                  <a:pt x="409" y="1718"/>
                </a:lnTo>
                <a:lnTo>
                  <a:pt x="75" y="1765"/>
                </a:lnTo>
                <a:lnTo>
                  <a:pt x="0" y="1344"/>
                </a:lnTo>
                <a:lnTo>
                  <a:pt x="330" y="1273"/>
                </a:lnTo>
                <a:lnTo>
                  <a:pt x="334" y="1233"/>
                </a:lnTo>
                <a:lnTo>
                  <a:pt x="338" y="1192"/>
                </a:lnTo>
                <a:lnTo>
                  <a:pt x="345" y="1151"/>
                </a:lnTo>
                <a:lnTo>
                  <a:pt x="353" y="1111"/>
                </a:lnTo>
                <a:lnTo>
                  <a:pt x="362" y="1071"/>
                </a:lnTo>
                <a:lnTo>
                  <a:pt x="373" y="1032"/>
                </a:lnTo>
                <a:lnTo>
                  <a:pt x="386" y="993"/>
                </a:lnTo>
                <a:lnTo>
                  <a:pt x="401" y="955"/>
                </a:lnTo>
                <a:lnTo>
                  <a:pt x="131" y="752"/>
                </a:lnTo>
                <a:lnTo>
                  <a:pt x="375" y="402"/>
                </a:lnTo>
                <a:lnTo>
                  <a:pt x="658" y="584"/>
                </a:lnTo>
                <a:lnTo>
                  <a:pt x="692" y="556"/>
                </a:lnTo>
                <a:lnTo>
                  <a:pt x="728" y="528"/>
                </a:lnTo>
                <a:lnTo>
                  <a:pt x="764" y="501"/>
                </a:lnTo>
                <a:lnTo>
                  <a:pt x="802" y="477"/>
                </a:lnTo>
                <a:lnTo>
                  <a:pt x="835" y="458"/>
                </a:lnTo>
                <a:lnTo>
                  <a:pt x="869" y="440"/>
                </a:lnTo>
                <a:lnTo>
                  <a:pt x="903" y="423"/>
                </a:lnTo>
                <a:lnTo>
                  <a:pt x="937" y="407"/>
                </a:lnTo>
                <a:lnTo>
                  <a:pt x="891" y="74"/>
                </a:lnTo>
                <a:lnTo>
                  <a:pt x="1306" y="0"/>
                </a:lnTo>
                <a:lnTo>
                  <a:pt x="1378" y="330"/>
                </a:lnTo>
                <a:lnTo>
                  <a:pt x="1419" y="332"/>
                </a:lnTo>
                <a:lnTo>
                  <a:pt x="1461" y="338"/>
                </a:lnTo>
                <a:lnTo>
                  <a:pt x="1501" y="343"/>
                </a:lnTo>
                <a:lnTo>
                  <a:pt x="1542" y="352"/>
                </a:lnTo>
                <a:lnTo>
                  <a:pt x="1582" y="363"/>
                </a:lnTo>
                <a:lnTo>
                  <a:pt x="1622" y="374"/>
                </a:lnTo>
                <a:lnTo>
                  <a:pt x="1662" y="387"/>
                </a:lnTo>
                <a:lnTo>
                  <a:pt x="1700" y="402"/>
                </a:lnTo>
                <a:lnTo>
                  <a:pt x="1904" y="133"/>
                </a:lnTo>
                <a:lnTo>
                  <a:pt x="2249" y="375"/>
                </a:lnTo>
                <a:lnTo>
                  <a:pt x="2067" y="658"/>
                </a:lnTo>
                <a:lnTo>
                  <a:pt x="2096" y="692"/>
                </a:lnTo>
                <a:lnTo>
                  <a:pt x="2123" y="726"/>
                </a:lnTo>
                <a:lnTo>
                  <a:pt x="2150" y="763"/>
                </a:lnTo>
                <a:lnTo>
                  <a:pt x="2174" y="801"/>
                </a:lnTo>
                <a:lnTo>
                  <a:pt x="2195" y="835"/>
                </a:lnTo>
                <a:lnTo>
                  <a:pt x="2213" y="868"/>
                </a:lnTo>
                <a:lnTo>
                  <a:pt x="2229" y="902"/>
                </a:lnTo>
                <a:lnTo>
                  <a:pt x="2245" y="937"/>
                </a:lnTo>
                <a:lnTo>
                  <a:pt x="2577" y="891"/>
                </a:lnTo>
                <a:lnTo>
                  <a:pt x="2651" y="1306"/>
                </a:lnTo>
                <a:lnTo>
                  <a:pt x="2322" y="1376"/>
                </a:lnTo>
                <a:lnTo>
                  <a:pt x="2319" y="1419"/>
                </a:lnTo>
                <a:lnTo>
                  <a:pt x="2314" y="1459"/>
                </a:lnTo>
                <a:lnTo>
                  <a:pt x="2308" y="1501"/>
                </a:lnTo>
                <a:lnTo>
                  <a:pt x="2300" y="1541"/>
                </a:lnTo>
                <a:lnTo>
                  <a:pt x="2290" y="1582"/>
                </a:lnTo>
                <a:lnTo>
                  <a:pt x="2279" y="1621"/>
                </a:lnTo>
                <a:lnTo>
                  <a:pt x="2265" y="1661"/>
                </a:lnTo>
                <a:lnTo>
                  <a:pt x="2251" y="1700"/>
                </a:lnTo>
                <a:lnTo>
                  <a:pt x="2518" y="1902"/>
                </a:lnTo>
                <a:lnTo>
                  <a:pt x="2277" y="2249"/>
                </a:lnTo>
                <a:lnTo>
                  <a:pt x="1994" y="2066"/>
                </a:lnTo>
                <a:lnTo>
                  <a:pt x="1961" y="2095"/>
                </a:lnTo>
                <a:lnTo>
                  <a:pt x="1925" y="2123"/>
                </a:lnTo>
                <a:lnTo>
                  <a:pt x="1888" y="2149"/>
                </a:lnTo>
                <a:lnTo>
                  <a:pt x="1850" y="2174"/>
                </a:lnTo>
                <a:lnTo>
                  <a:pt x="1818" y="2193"/>
                </a:lnTo>
                <a:lnTo>
                  <a:pt x="1785" y="2211"/>
                </a:lnTo>
                <a:lnTo>
                  <a:pt x="1751" y="2227"/>
                </a:lnTo>
                <a:lnTo>
                  <a:pt x="1718" y="2243"/>
                </a:lnTo>
                <a:close/>
                <a:moveTo>
                  <a:pt x="1326" y="818"/>
                </a:moveTo>
                <a:lnTo>
                  <a:pt x="1352" y="819"/>
                </a:lnTo>
                <a:lnTo>
                  <a:pt x="1378" y="820"/>
                </a:lnTo>
                <a:lnTo>
                  <a:pt x="1403" y="824"/>
                </a:lnTo>
                <a:lnTo>
                  <a:pt x="1428" y="828"/>
                </a:lnTo>
                <a:lnTo>
                  <a:pt x="1453" y="834"/>
                </a:lnTo>
                <a:lnTo>
                  <a:pt x="1477" y="840"/>
                </a:lnTo>
                <a:lnTo>
                  <a:pt x="1501" y="848"/>
                </a:lnTo>
                <a:lnTo>
                  <a:pt x="1523" y="858"/>
                </a:lnTo>
                <a:lnTo>
                  <a:pt x="1546" y="868"/>
                </a:lnTo>
                <a:lnTo>
                  <a:pt x="1568" y="880"/>
                </a:lnTo>
                <a:lnTo>
                  <a:pt x="1589" y="892"/>
                </a:lnTo>
                <a:lnTo>
                  <a:pt x="1609" y="904"/>
                </a:lnTo>
                <a:lnTo>
                  <a:pt x="1630" y="919"/>
                </a:lnTo>
                <a:lnTo>
                  <a:pt x="1649" y="934"/>
                </a:lnTo>
                <a:lnTo>
                  <a:pt x="1668" y="950"/>
                </a:lnTo>
                <a:lnTo>
                  <a:pt x="1685" y="967"/>
                </a:lnTo>
                <a:lnTo>
                  <a:pt x="1702" y="985"/>
                </a:lnTo>
                <a:lnTo>
                  <a:pt x="1718" y="1003"/>
                </a:lnTo>
                <a:lnTo>
                  <a:pt x="1732" y="1022"/>
                </a:lnTo>
                <a:lnTo>
                  <a:pt x="1747" y="1042"/>
                </a:lnTo>
                <a:lnTo>
                  <a:pt x="1760" y="1062"/>
                </a:lnTo>
                <a:lnTo>
                  <a:pt x="1773" y="1083"/>
                </a:lnTo>
                <a:lnTo>
                  <a:pt x="1784" y="1106"/>
                </a:lnTo>
                <a:lnTo>
                  <a:pt x="1794" y="1128"/>
                </a:lnTo>
                <a:lnTo>
                  <a:pt x="1803" y="1151"/>
                </a:lnTo>
                <a:lnTo>
                  <a:pt x="1811" y="1175"/>
                </a:lnTo>
                <a:lnTo>
                  <a:pt x="1818" y="1198"/>
                </a:lnTo>
                <a:lnTo>
                  <a:pt x="1823" y="1223"/>
                </a:lnTo>
                <a:lnTo>
                  <a:pt x="1828" y="1248"/>
                </a:lnTo>
                <a:lnTo>
                  <a:pt x="1831" y="1273"/>
                </a:lnTo>
                <a:lnTo>
                  <a:pt x="1833" y="1299"/>
                </a:lnTo>
                <a:lnTo>
                  <a:pt x="1833" y="1326"/>
                </a:lnTo>
                <a:lnTo>
                  <a:pt x="1833" y="1352"/>
                </a:lnTo>
                <a:lnTo>
                  <a:pt x="1831" y="1378"/>
                </a:lnTo>
                <a:lnTo>
                  <a:pt x="1828" y="1403"/>
                </a:lnTo>
                <a:lnTo>
                  <a:pt x="1823" y="1428"/>
                </a:lnTo>
                <a:lnTo>
                  <a:pt x="1818" y="1452"/>
                </a:lnTo>
                <a:lnTo>
                  <a:pt x="1811" y="1476"/>
                </a:lnTo>
                <a:lnTo>
                  <a:pt x="1803" y="1501"/>
                </a:lnTo>
                <a:lnTo>
                  <a:pt x="1794" y="1523"/>
                </a:lnTo>
                <a:lnTo>
                  <a:pt x="1784" y="1545"/>
                </a:lnTo>
                <a:lnTo>
                  <a:pt x="1773" y="1568"/>
                </a:lnTo>
                <a:lnTo>
                  <a:pt x="1760" y="1589"/>
                </a:lnTo>
                <a:lnTo>
                  <a:pt x="1747" y="1609"/>
                </a:lnTo>
                <a:lnTo>
                  <a:pt x="1732" y="1629"/>
                </a:lnTo>
                <a:lnTo>
                  <a:pt x="1718" y="1648"/>
                </a:lnTo>
                <a:lnTo>
                  <a:pt x="1702" y="1667"/>
                </a:lnTo>
                <a:lnTo>
                  <a:pt x="1685" y="1684"/>
                </a:lnTo>
                <a:lnTo>
                  <a:pt x="1668" y="1701"/>
                </a:lnTo>
                <a:lnTo>
                  <a:pt x="1649" y="1718"/>
                </a:lnTo>
                <a:lnTo>
                  <a:pt x="1630" y="1732"/>
                </a:lnTo>
                <a:lnTo>
                  <a:pt x="1609" y="1747"/>
                </a:lnTo>
                <a:lnTo>
                  <a:pt x="1589" y="1760"/>
                </a:lnTo>
                <a:lnTo>
                  <a:pt x="1568" y="1771"/>
                </a:lnTo>
                <a:lnTo>
                  <a:pt x="1546" y="1783"/>
                </a:lnTo>
                <a:lnTo>
                  <a:pt x="1523" y="1794"/>
                </a:lnTo>
                <a:lnTo>
                  <a:pt x="1501" y="1803"/>
                </a:lnTo>
                <a:lnTo>
                  <a:pt x="1477" y="1811"/>
                </a:lnTo>
                <a:lnTo>
                  <a:pt x="1453" y="1817"/>
                </a:lnTo>
                <a:lnTo>
                  <a:pt x="1428" y="1823"/>
                </a:lnTo>
                <a:lnTo>
                  <a:pt x="1403" y="1827"/>
                </a:lnTo>
                <a:lnTo>
                  <a:pt x="1378" y="1831"/>
                </a:lnTo>
                <a:lnTo>
                  <a:pt x="1352" y="1833"/>
                </a:lnTo>
                <a:lnTo>
                  <a:pt x="1326" y="1833"/>
                </a:lnTo>
                <a:lnTo>
                  <a:pt x="1299" y="1833"/>
                </a:lnTo>
                <a:lnTo>
                  <a:pt x="1274" y="1831"/>
                </a:lnTo>
                <a:lnTo>
                  <a:pt x="1249" y="1827"/>
                </a:lnTo>
                <a:lnTo>
                  <a:pt x="1223" y="1823"/>
                </a:lnTo>
                <a:lnTo>
                  <a:pt x="1199" y="1817"/>
                </a:lnTo>
                <a:lnTo>
                  <a:pt x="1175" y="1811"/>
                </a:lnTo>
                <a:lnTo>
                  <a:pt x="1152" y="1803"/>
                </a:lnTo>
                <a:lnTo>
                  <a:pt x="1128" y="1794"/>
                </a:lnTo>
                <a:lnTo>
                  <a:pt x="1106" y="1783"/>
                </a:lnTo>
                <a:lnTo>
                  <a:pt x="1085" y="1771"/>
                </a:lnTo>
                <a:lnTo>
                  <a:pt x="1063" y="1760"/>
                </a:lnTo>
                <a:lnTo>
                  <a:pt x="1042" y="1747"/>
                </a:lnTo>
                <a:lnTo>
                  <a:pt x="1022" y="1732"/>
                </a:lnTo>
                <a:lnTo>
                  <a:pt x="1003" y="1718"/>
                </a:lnTo>
                <a:lnTo>
                  <a:pt x="985" y="1701"/>
                </a:lnTo>
                <a:lnTo>
                  <a:pt x="967" y="1684"/>
                </a:lnTo>
                <a:lnTo>
                  <a:pt x="950" y="1667"/>
                </a:lnTo>
                <a:lnTo>
                  <a:pt x="935" y="1648"/>
                </a:lnTo>
                <a:lnTo>
                  <a:pt x="919" y="1629"/>
                </a:lnTo>
                <a:lnTo>
                  <a:pt x="905" y="1609"/>
                </a:lnTo>
                <a:lnTo>
                  <a:pt x="892" y="1589"/>
                </a:lnTo>
                <a:lnTo>
                  <a:pt x="880" y="1568"/>
                </a:lnTo>
                <a:lnTo>
                  <a:pt x="869" y="1545"/>
                </a:lnTo>
                <a:lnTo>
                  <a:pt x="858" y="1523"/>
                </a:lnTo>
                <a:lnTo>
                  <a:pt x="849" y="1501"/>
                </a:lnTo>
                <a:lnTo>
                  <a:pt x="842" y="1476"/>
                </a:lnTo>
                <a:lnTo>
                  <a:pt x="834" y="1452"/>
                </a:lnTo>
                <a:lnTo>
                  <a:pt x="828" y="1428"/>
                </a:lnTo>
                <a:lnTo>
                  <a:pt x="824" y="1403"/>
                </a:lnTo>
                <a:lnTo>
                  <a:pt x="820" y="1378"/>
                </a:lnTo>
                <a:lnTo>
                  <a:pt x="819" y="1352"/>
                </a:lnTo>
                <a:lnTo>
                  <a:pt x="818" y="1326"/>
                </a:lnTo>
                <a:lnTo>
                  <a:pt x="819" y="1299"/>
                </a:lnTo>
                <a:lnTo>
                  <a:pt x="820" y="1273"/>
                </a:lnTo>
                <a:lnTo>
                  <a:pt x="824" y="1248"/>
                </a:lnTo>
                <a:lnTo>
                  <a:pt x="828" y="1223"/>
                </a:lnTo>
                <a:lnTo>
                  <a:pt x="834" y="1198"/>
                </a:lnTo>
                <a:lnTo>
                  <a:pt x="842" y="1175"/>
                </a:lnTo>
                <a:lnTo>
                  <a:pt x="849" y="1151"/>
                </a:lnTo>
                <a:lnTo>
                  <a:pt x="858" y="1128"/>
                </a:lnTo>
                <a:lnTo>
                  <a:pt x="869" y="1106"/>
                </a:lnTo>
                <a:lnTo>
                  <a:pt x="880" y="1083"/>
                </a:lnTo>
                <a:lnTo>
                  <a:pt x="892" y="1062"/>
                </a:lnTo>
                <a:lnTo>
                  <a:pt x="905" y="1042"/>
                </a:lnTo>
                <a:lnTo>
                  <a:pt x="919" y="1022"/>
                </a:lnTo>
                <a:lnTo>
                  <a:pt x="935" y="1003"/>
                </a:lnTo>
                <a:lnTo>
                  <a:pt x="950" y="985"/>
                </a:lnTo>
                <a:lnTo>
                  <a:pt x="967" y="967"/>
                </a:lnTo>
                <a:lnTo>
                  <a:pt x="985" y="950"/>
                </a:lnTo>
                <a:lnTo>
                  <a:pt x="1003" y="934"/>
                </a:lnTo>
                <a:lnTo>
                  <a:pt x="1022" y="919"/>
                </a:lnTo>
                <a:lnTo>
                  <a:pt x="1042" y="904"/>
                </a:lnTo>
                <a:lnTo>
                  <a:pt x="1063" y="892"/>
                </a:lnTo>
                <a:lnTo>
                  <a:pt x="1085" y="880"/>
                </a:lnTo>
                <a:lnTo>
                  <a:pt x="1106" y="868"/>
                </a:lnTo>
                <a:lnTo>
                  <a:pt x="1128" y="858"/>
                </a:lnTo>
                <a:lnTo>
                  <a:pt x="1152" y="848"/>
                </a:lnTo>
                <a:lnTo>
                  <a:pt x="1175" y="840"/>
                </a:lnTo>
                <a:lnTo>
                  <a:pt x="1199" y="834"/>
                </a:lnTo>
                <a:lnTo>
                  <a:pt x="1223" y="828"/>
                </a:lnTo>
                <a:lnTo>
                  <a:pt x="1249" y="824"/>
                </a:lnTo>
                <a:lnTo>
                  <a:pt x="1274" y="820"/>
                </a:lnTo>
                <a:lnTo>
                  <a:pt x="1299" y="819"/>
                </a:lnTo>
                <a:lnTo>
                  <a:pt x="1326" y="818"/>
                </a:lnTo>
                <a:close/>
              </a:path>
            </a:pathLst>
          </a:custGeom>
          <a:solidFill>
            <a:srgbClr val="ED7D31"/>
          </a:solidFill>
          <a:ln>
            <a:noFill/>
          </a:ln>
        </p:spPr>
        <p:txBody>
          <a:bodyPr/>
          <a:lstStyle/>
          <a:p>
            <a:pPr eaLnBrk="1" fontAlgn="auto" hangingPunct="1">
              <a:spcBef>
                <a:spcPts val="0"/>
              </a:spcBef>
              <a:spcAft>
                <a:spcPts val="0"/>
              </a:spcAft>
              <a:defRPr/>
            </a:pPr>
            <a:endParaRPr lang="en-US">
              <a:solidFill>
                <a:schemeClr val="bg1">
                  <a:lumMod val="95000"/>
                </a:schemeClr>
              </a:solidFill>
              <a:latin typeface="+mn-lt"/>
            </a:endParaRPr>
          </a:p>
        </p:txBody>
      </p:sp>
      <p:sp>
        <p:nvSpPr>
          <p:cNvPr id="9" name="Freeform 17"/>
          <p:cNvSpPr>
            <a:spLocks noEditPoints="1"/>
          </p:cNvSpPr>
          <p:nvPr/>
        </p:nvSpPr>
        <p:spPr bwMode="auto">
          <a:xfrm rot="17100000">
            <a:off x="4479925" y="2786063"/>
            <a:ext cx="1266825" cy="1266825"/>
          </a:xfrm>
          <a:custGeom>
            <a:avLst/>
            <a:gdLst>
              <a:gd name="T0" fmla="*/ 1389 w 3303"/>
              <a:gd name="T1" fmla="*/ 2889 h 3302"/>
              <a:gd name="T2" fmla="*/ 1228 w 3303"/>
              <a:gd name="T3" fmla="*/ 2844 h 3302"/>
              <a:gd name="T4" fmla="*/ 1075 w 3303"/>
              <a:gd name="T5" fmla="*/ 2778 h 3302"/>
              <a:gd name="T6" fmla="*/ 932 w 3303"/>
              <a:gd name="T7" fmla="*/ 2692 h 3302"/>
              <a:gd name="T8" fmla="*/ 570 w 3303"/>
              <a:gd name="T9" fmla="*/ 2310 h 3302"/>
              <a:gd name="T10" fmla="*/ 489 w 3303"/>
              <a:gd name="T11" fmla="*/ 2150 h 3302"/>
              <a:gd name="T12" fmla="*/ 434 w 3303"/>
              <a:gd name="T13" fmla="*/ 1998 h 3302"/>
              <a:gd name="T14" fmla="*/ 0 w 3303"/>
              <a:gd name="T15" fmla="*/ 1864 h 3302"/>
              <a:gd name="T16" fmla="*/ 428 w 3303"/>
              <a:gd name="T17" fmla="*/ 1325 h 3302"/>
              <a:gd name="T18" fmla="*/ 482 w 3303"/>
              <a:gd name="T19" fmla="*/ 1167 h 3302"/>
              <a:gd name="T20" fmla="*/ 556 w 3303"/>
              <a:gd name="T21" fmla="*/ 1017 h 3302"/>
              <a:gd name="T22" fmla="*/ 634 w 3303"/>
              <a:gd name="T23" fmla="*/ 332 h 3302"/>
              <a:gd name="T24" fmla="*/ 1054 w 3303"/>
              <a:gd name="T25" fmla="*/ 536 h 3302"/>
              <a:gd name="T26" fmla="*/ 1215 w 3303"/>
              <a:gd name="T27" fmla="*/ 463 h 3302"/>
              <a:gd name="T28" fmla="*/ 1366 w 3303"/>
              <a:gd name="T29" fmla="*/ 418 h 3302"/>
              <a:gd name="T30" fmla="*/ 1879 w 3303"/>
              <a:gd name="T31" fmla="*/ 406 h 3302"/>
              <a:gd name="T32" fmla="*/ 2042 w 3303"/>
              <a:gd name="T33" fmla="*/ 447 h 3302"/>
              <a:gd name="T34" fmla="*/ 2199 w 3303"/>
              <a:gd name="T35" fmla="*/ 510 h 3302"/>
              <a:gd name="T36" fmla="*/ 2345 w 3303"/>
              <a:gd name="T37" fmla="*/ 593 h 3302"/>
              <a:gd name="T38" fmla="*/ 2712 w 3303"/>
              <a:gd name="T39" fmla="*/ 961 h 3302"/>
              <a:gd name="T40" fmla="*/ 2798 w 3303"/>
              <a:gd name="T41" fmla="*/ 1119 h 3302"/>
              <a:gd name="T42" fmla="*/ 2860 w 3303"/>
              <a:gd name="T43" fmla="*/ 1275 h 3302"/>
              <a:gd name="T44" fmla="*/ 2897 w 3303"/>
              <a:gd name="T45" fmla="*/ 1426 h 3302"/>
              <a:gd name="T46" fmla="*/ 2882 w 3303"/>
              <a:gd name="T47" fmla="*/ 1944 h 3302"/>
              <a:gd name="T48" fmla="*/ 2832 w 3303"/>
              <a:gd name="T49" fmla="*/ 2106 h 3302"/>
              <a:gd name="T50" fmla="*/ 2761 w 3303"/>
              <a:gd name="T51" fmla="*/ 2258 h 3302"/>
              <a:gd name="T52" fmla="*/ 2966 w 3303"/>
              <a:gd name="T53" fmla="*/ 2671 h 3302"/>
              <a:gd name="T54" fmla="*/ 2280 w 3303"/>
              <a:gd name="T55" fmla="*/ 2749 h 3302"/>
              <a:gd name="T56" fmla="*/ 2117 w 3303"/>
              <a:gd name="T57" fmla="*/ 2827 h 3302"/>
              <a:gd name="T58" fmla="*/ 1968 w 3303"/>
              <a:gd name="T59" fmla="*/ 2876 h 3302"/>
              <a:gd name="T60" fmla="*/ 1428 w 3303"/>
              <a:gd name="T61" fmla="*/ 989 h 3302"/>
              <a:gd name="T62" fmla="*/ 1599 w 3303"/>
              <a:gd name="T63" fmla="*/ 954 h 3302"/>
              <a:gd name="T64" fmla="*/ 1768 w 3303"/>
              <a:gd name="T65" fmla="*/ 962 h 3302"/>
              <a:gd name="T66" fmla="*/ 1929 w 3303"/>
              <a:gd name="T67" fmla="*/ 1010 h 3302"/>
              <a:gd name="T68" fmla="*/ 2073 w 3303"/>
              <a:gd name="T69" fmla="*/ 1094 h 3302"/>
              <a:gd name="T70" fmla="*/ 2195 w 3303"/>
              <a:gd name="T71" fmla="*/ 1213 h 3302"/>
              <a:gd name="T72" fmla="*/ 2287 w 3303"/>
              <a:gd name="T73" fmla="*/ 1360 h 3302"/>
              <a:gd name="T74" fmla="*/ 2340 w 3303"/>
              <a:gd name="T75" fmla="*/ 1530 h 3302"/>
              <a:gd name="T76" fmla="*/ 2349 w 3303"/>
              <a:gd name="T77" fmla="*/ 1701 h 3302"/>
              <a:gd name="T78" fmla="*/ 2316 w 3303"/>
              <a:gd name="T79" fmla="*/ 1866 h 3302"/>
              <a:gd name="T80" fmla="*/ 2246 w 3303"/>
              <a:gd name="T81" fmla="*/ 2018 h 3302"/>
              <a:gd name="T82" fmla="*/ 2142 w 3303"/>
              <a:gd name="T83" fmla="*/ 2149 h 3302"/>
              <a:gd name="T84" fmla="*/ 2004 w 3303"/>
              <a:gd name="T85" fmla="*/ 2254 h 3302"/>
              <a:gd name="T86" fmla="*/ 1840 w 3303"/>
              <a:gd name="T87" fmla="*/ 2324 h 3302"/>
              <a:gd name="T88" fmla="*/ 1669 w 3303"/>
              <a:gd name="T89" fmla="*/ 2350 h 3302"/>
              <a:gd name="T90" fmla="*/ 1501 w 3303"/>
              <a:gd name="T91" fmla="*/ 2334 h 3302"/>
              <a:gd name="T92" fmla="*/ 1342 w 3303"/>
              <a:gd name="T93" fmla="*/ 2278 h 3302"/>
              <a:gd name="T94" fmla="*/ 1203 w 3303"/>
              <a:gd name="T95" fmla="*/ 2187 h 3302"/>
              <a:gd name="T96" fmla="*/ 1086 w 3303"/>
              <a:gd name="T97" fmla="*/ 2062 h 3302"/>
              <a:gd name="T98" fmla="*/ 1001 w 3303"/>
              <a:gd name="T99" fmla="*/ 1908 h 3302"/>
              <a:gd name="T100" fmla="*/ 958 w 3303"/>
              <a:gd name="T101" fmla="*/ 1737 h 3302"/>
              <a:gd name="T102" fmla="*/ 956 w 3303"/>
              <a:gd name="T103" fmla="*/ 1567 h 3302"/>
              <a:gd name="T104" fmla="*/ 997 w 3303"/>
              <a:gd name="T105" fmla="*/ 1404 h 3302"/>
              <a:gd name="T106" fmla="*/ 1074 w 3303"/>
              <a:gd name="T107" fmla="*/ 1256 h 3302"/>
              <a:gd name="T108" fmla="*/ 1186 w 3303"/>
              <a:gd name="T109" fmla="*/ 1129 h 3302"/>
              <a:gd name="T110" fmla="*/ 1329 w 3303"/>
              <a:gd name="T111" fmla="*/ 1030 h 3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303" h="3302">
                <a:moveTo>
                  <a:pt x="1879" y="2896"/>
                </a:moveTo>
                <a:lnTo>
                  <a:pt x="1864" y="3302"/>
                </a:lnTo>
                <a:lnTo>
                  <a:pt x="1438" y="3302"/>
                </a:lnTo>
                <a:lnTo>
                  <a:pt x="1423" y="2896"/>
                </a:lnTo>
                <a:lnTo>
                  <a:pt x="1389" y="2889"/>
                </a:lnTo>
                <a:lnTo>
                  <a:pt x="1357" y="2882"/>
                </a:lnTo>
                <a:lnTo>
                  <a:pt x="1325" y="2873"/>
                </a:lnTo>
                <a:lnTo>
                  <a:pt x="1292" y="2864"/>
                </a:lnTo>
                <a:lnTo>
                  <a:pt x="1261" y="2854"/>
                </a:lnTo>
                <a:lnTo>
                  <a:pt x="1228" y="2844"/>
                </a:lnTo>
                <a:lnTo>
                  <a:pt x="1197" y="2832"/>
                </a:lnTo>
                <a:lnTo>
                  <a:pt x="1167" y="2820"/>
                </a:lnTo>
                <a:lnTo>
                  <a:pt x="1135" y="2806"/>
                </a:lnTo>
                <a:lnTo>
                  <a:pt x="1105" y="2793"/>
                </a:lnTo>
                <a:lnTo>
                  <a:pt x="1075" y="2778"/>
                </a:lnTo>
                <a:lnTo>
                  <a:pt x="1046" y="2763"/>
                </a:lnTo>
                <a:lnTo>
                  <a:pt x="1017" y="2746"/>
                </a:lnTo>
                <a:lnTo>
                  <a:pt x="988" y="2729"/>
                </a:lnTo>
                <a:lnTo>
                  <a:pt x="960" y="2711"/>
                </a:lnTo>
                <a:lnTo>
                  <a:pt x="932" y="2692"/>
                </a:lnTo>
                <a:lnTo>
                  <a:pt x="634" y="2970"/>
                </a:lnTo>
                <a:lnTo>
                  <a:pt x="332" y="2667"/>
                </a:lnTo>
                <a:lnTo>
                  <a:pt x="609" y="2370"/>
                </a:lnTo>
                <a:lnTo>
                  <a:pt x="589" y="2341"/>
                </a:lnTo>
                <a:lnTo>
                  <a:pt x="570" y="2310"/>
                </a:lnTo>
                <a:lnTo>
                  <a:pt x="552" y="2280"/>
                </a:lnTo>
                <a:lnTo>
                  <a:pt x="536" y="2249"/>
                </a:lnTo>
                <a:lnTo>
                  <a:pt x="519" y="2216"/>
                </a:lnTo>
                <a:lnTo>
                  <a:pt x="503" y="2184"/>
                </a:lnTo>
                <a:lnTo>
                  <a:pt x="489" y="2150"/>
                </a:lnTo>
                <a:lnTo>
                  <a:pt x="474" y="2117"/>
                </a:lnTo>
                <a:lnTo>
                  <a:pt x="463" y="2087"/>
                </a:lnTo>
                <a:lnTo>
                  <a:pt x="453" y="2058"/>
                </a:lnTo>
                <a:lnTo>
                  <a:pt x="443" y="2027"/>
                </a:lnTo>
                <a:lnTo>
                  <a:pt x="434" y="1998"/>
                </a:lnTo>
                <a:lnTo>
                  <a:pt x="426" y="1968"/>
                </a:lnTo>
                <a:lnTo>
                  <a:pt x="418" y="1938"/>
                </a:lnTo>
                <a:lnTo>
                  <a:pt x="411" y="1909"/>
                </a:lnTo>
                <a:lnTo>
                  <a:pt x="406" y="1878"/>
                </a:lnTo>
                <a:lnTo>
                  <a:pt x="0" y="1864"/>
                </a:lnTo>
                <a:lnTo>
                  <a:pt x="0" y="1438"/>
                </a:lnTo>
                <a:lnTo>
                  <a:pt x="406" y="1423"/>
                </a:lnTo>
                <a:lnTo>
                  <a:pt x="413" y="1389"/>
                </a:lnTo>
                <a:lnTo>
                  <a:pt x="420" y="1357"/>
                </a:lnTo>
                <a:lnTo>
                  <a:pt x="428" y="1325"/>
                </a:lnTo>
                <a:lnTo>
                  <a:pt x="437" y="1292"/>
                </a:lnTo>
                <a:lnTo>
                  <a:pt x="447" y="1261"/>
                </a:lnTo>
                <a:lnTo>
                  <a:pt x="458" y="1228"/>
                </a:lnTo>
                <a:lnTo>
                  <a:pt x="470" y="1197"/>
                </a:lnTo>
                <a:lnTo>
                  <a:pt x="482" y="1167"/>
                </a:lnTo>
                <a:lnTo>
                  <a:pt x="495" y="1135"/>
                </a:lnTo>
                <a:lnTo>
                  <a:pt x="509" y="1105"/>
                </a:lnTo>
                <a:lnTo>
                  <a:pt x="524" y="1075"/>
                </a:lnTo>
                <a:lnTo>
                  <a:pt x="540" y="1046"/>
                </a:lnTo>
                <a:lnTo>
                  <a:pt x="556" y="1017"/>
                </a:lnTo>
                <a:lnTo>
                  <a:pt x="574" y="988"/>
                </a:lnTo>
                <a:lnTo>
                  <a:pt x="592" y="960"/>
                </a:lnTo>
                <a:lnTo>
                  <a:pt x="609" y="932"/>
                </a:lnTo>
                <a:lnTo>
                  <a:pt x="332" y="634"/>
                </a:lnTo>
                <a:lnTo>
                  <a:pt x="634" y="332"/>
                </a:lnTo>
                <a:lnTo>
                  <a:pt x="932" y="609"/>
                </a:lnTo>
                <a:lnTo>
                  <a:pt x="961" y="589"/>
                </a:lnTo>
                <a:lnTo>
                  <a:pt x="991" y="570"/>
                </a:lnTo>
                <a:lnTo>
                  <a:pt x="1022" y="552"/>
                </a:lnTo>
                <a:lnTo>
                  <a:pt x="1054" y="536"/>
                </a:lnTo>
                <a:lnTo>
                  <a:pt x="1085" y="519"/>
                </a:lnTo>
                <a:lnTo>
                  <a:pt x="1119" y="503"/>
                </a:lnTo>
                <a:lnTo>
                  <a:pt x="1151" y="489"/>
                </a:lnTo>
                <a:lnTo>
                  <a:pt x="1186" y="474"/>
                </a:lnTo>
                <a:lnTo>
                  <a:pt x="1215" y="463"/>
                </a:lnTo>
                <a:lnTo>
                  <a:pt x="1245" y="453"/>
                </a:lnTo>
                <a:lnTo>
                  <a:pt x="1275" y="443"/>
                </a:lnTo>
                <a:lnTo>
                  <a:pt x="1306" y="434"/>
                </a:lnTo>
                <a:lnTo>
                  <a:pt x="1336" y="425"/>
                </a:lnTo>
                <a:lnTo>
                  <a:pt x="1366" y="418"/>
                </a:lnTo>
                <a:lnTo>
                  <a:pt x="1396" y="411"/>
                </a:lnTo>
                <a:lnTo>
                  <a:pt x="1426" y="406"/>
                </a:lnTo>
                <a:lnTo>
                  <a:pt x="1442" y="0"/>
                </a:lnTo>
                <a:lnTo>
                  <a:pt x="1864" y="0"/>
                </a:lnTo>
                <a:lnTo>
                  <a:pt x="1879" y="406"/>
                </a:lnTo>
                <a:lnTo>
                  <a:pt x="1912" y="413"/>
                </a:lnTo>
                <a:lnTo>
                  <a:pt x="1945" y="420"/>
                </a:lnTo>
                <a:lnTo>
                  <a:pt x="1977" y="428"/>
                </a:lnTo>
                <a:lnTo>
                  <a:pt x="2009" y="437"/>
                </a:lnTo>
                <a:lnTo>
                  <a:pt x="2042" y="447"/>
                </a:lnTo>
                <a:lnTo>
                  <a:pt x="2074" y="458"/>
                </a:lnTo>
                <a:lnTo>
                  <a:pt x="2106" y="470"/>
                </a:lnTo>
                <a:lnTo>
                  <a:pt x="2137" y="483"/>
                </a:lnTo>
                <a:lnTo>
                  <a:pt x="2168" y="496"/>
                </a:lnTo>
                <a:lnTo>
                  <a:pt x="2199" y="510"/>
                </a:lnTo>
                <a:lnTo>
                  <a:pt x="2229" y="526"/>
                </a:lnTo>
                <a:lnTo>
                  <a:pt x="2258" y="541"/>
                </a:lnTo>
                <a:lnTo>
                  <a:pt x="2288" y="557"/>
                </a:lnTo>
                <a:lnTo>
                  <a:pt x="2316" y="575"/>
                </a:lnTo>
                <a:lnTo>
                  <a:pt x="2345" y="593"/>
                </a:lnTo>
                <a:lnTo>
                  <a:pt x="2373" y="612"/>
                </a:lnTo>
                <a:lnTo>
                  <a:pt x="2671" y="335"/>
                </a:lnTo>
                <a:lnTo>
                  <a:pt x="2970" y="634"/>
                </a:lnTo>
                <a:lnTo>
                  <a:pt x="2692" y="932"/>
                </a:lnTo>
                <a:lnTo>
                  <a:pt x="2712" y="961"/>
                </a:lnTo>
                <a:lnTo>
                  <a:pt x="2731" y="991"/>
                </a:lnTo>
                <a:lnTo>
                  <a:pt x="2749" y="1022"/>
                </a:lnTo>
                <a:lnTo>
                  <a:pt x="2767" y="1054"/>
                </a:lnTo>
                <a:lnTo>
                  <a:pt x="2783" y="1085"/>
                </a:lnTo>
                <a:lnTo>
                  <a:pt x="2798" y="1119"/>
                </a:lnTo>
                <a:lnTo>
                  <a:pt x="2814" y="1151"/>
                </a:lnTo>
                <a:lnTo>
                  <a:pt x="2828" y="1186"/>
                </a:lnTo>
                <a:lnTo>
                  <a:pt x="2839" y="1215"/>
                </a:lnTo>
                <a:lnTo>
                  <a:pt x="2850" y="1245"/>
                </a:lnTo>
                <a:lnTo>
                  <a:pt x="2860" y="1275"/>
                </a:lnTo>
                <a:lnTo>
                  <a:pt x="2869" y="1306"/>
                </a:lnTo>
                <a:lnTo>
                  <a:pt x="2877" y="1336"/>
                </a:lnTo>
                <a:lnTo>
                  <a:pt x="2885" y="1366"/>
                </a:lnTo>
                <a:lnTo>
                  <a:pt x="2891" y="1396"/>
                </a:lnTo>
                <a:lnTo>
                  <a:pt x="2897" y="1426"/>
                </a:lnTo>
                <a:lnTo>
                  <a:pt x="3303" y="1442"/>
                </a:lnTo>
                <a:lnTo>
                  <a:pt x="3303" y="1864"/>
                </a:lnTo>
                <a:lnTo>
                  <a:pt x="2896" y="1878"/>
                </a:lnTo>
                <a:lnTo>
                  <a:pt x="2889" y="1912"/>
                </a:lnTo>
                <a:lnTo>
                  <a:pt x="2882" y="1944"/>
                </a:lnTo>
                <a:lnTo>
                  <a:pt x="2873" y="1977"/>
                </a:lnTo>
                <a:lnTo>
                  <a:pt x="2864" y="2009"/>
                </a:lnTo>
                <a:lnTo>
                  <a:pt x="2854" y="2042"/>
                </a:lnTo>
                <a:lnTo>
                  <a:pt x="2843" y="2074"/>
                </a:lnTo>
                <a:lnTo>
                  <a:pt x="2832" y="2106"/>
                </a:lnTo>
                <a:lnTo>
                  <a:pt x="2820" y="2137"/>
                </a:lnTo>
                <a:lnTo>
                  <a:pt x="2806" y="2167"/>
                </a:lnTo>
                <a:lnTo>
                  <a:pt x="2792" y="2199"/>
                </a:lnTo>
                <a:lnTo>
                  <a:pt x="2777" y="2229"/>
                </a:lnTo>
                <a:lnTo>
                  <a:pt x="2761" y="2258"/>
                </a:lnTo>
                <a:lnTo>
                  <a:pt x="2745" y="2288"/>
                </a:lnTo>
                <a:lnTo>
                  <a:pt x="2728" y="2316"/>
                </a:lnTo>
                <a:lnTo>
                  <a:pt x="2709" y="2345"/>
                </a:lnTo>
                <a:lnTo>
                  <a:pt x="2690" y="2373"/>
                </a:lnTo>
                <a:lnTo>
                  <a:pt x="2966" y="2671"/>
                </a:lnTo>
                <a:lnTo>
                  <a:pt x="2669" y="2970"/>
                </a:lnTo>
                <a:lnTo>
                  <a:pt x="2371" y="2692"/>
                </a:lnTo>
                <a:lnTo>
                  <a:pt x="2341" y="2712"/>
                </a:lnTo>
                <a:lnTo>
                  <a:pt x="2310" y="2731"/>
                </a:lnTo>
                <a:lnTo>
                  <a:pt x="2280" y="2749"/>
                </a:lnTo>
                <a:lnTo>
                  <a:pt x="2249" y="2767"/>
                </a:lnTo>
                <a:lnTo>
                  <a:pt x="2216" y="2783"/>
                </a:lnTo>
                <a:lnTo>
                  <a:pt x="2184" y="2798"/>
                </a:lnTo>
                <a:lnTo>
                  <a:pt x="2150" y="2814"/>
                </a:lnTo>
                <a:lnTo>
                  <a:pt x="2117" y="2827"/>
                </a:lnTo>
                <a:lnTo>
                  <a:pt x="2087" y="2839"/>
                </a:lnTo>
                <a:lnTo>
                  <a:pt x="2058" y="2850"/>
                </a:lnTo>
                <a:lnTo>
                  <a:pt x="2027" y="2859"/>
                </a:lnTo>
                <a:lnTo>
                  <a:pt x="1998" y="2868"/>
                </a:lnTo>
                <a:lnTo>
                  <a:pt x="1968" y="2876"/>
                </a:lnTo>
                <a:lnTo>
                  <a:pt x="1938" y="2883"/>
                </a:lnTo>
                <a:lnTo>
                  <a:pt x="1909" y="2890"/>
                </a:lnTo>
                <a:lnTo>
                  <a:pt x="1879" y="2896"/>
                </a:lnTo>
                <a:close/>
                <a:moveTo>
                  <a:pt x="1394" y="1001"/>
                </a:moveTo>
                <a:lnTo>
                  <a:pt x="1428" y="989"/>
                </a:lnTo>
                <a:lnTo>
                  <a:pt x="1461" y="978"/>
                </a:lnTo>
                <a:lnTo>
                  <a:pt x="1496" y="970"/>
                </a:lnTo>
                <a:lnTo>
                  <a:pt x="1530" y="962"/>
                </a:lnTo>
                <a:lnTo>
                  <a:pt x="1564" y="957"/>
                </a:lnTo>
                <a:lnTo>
                  <a:pt x="1599" y="954"/>
                </a:lnTo>
                <a:lnTo>
                  <a:pt x="1633" y="952"/>
                </a:lnTo>
                <a:lnTo>
                  <a:pt x="1667" y="952"/>
                </a:lnTo>
                <a:lnTo>
                  <a:pt x="1701" y="954"/>
                </a:lnTo>
                <a:lnTo>
                  <a:pt x="1735" y="956"/>
                </a:lnTo>
                <a:lnTo>
                  <a:pt x="1768" y="962"/>
                </a:lnTo>
                <a:lnTo>
                  <a:pt x="1801" y="969"/>
                </a:lnTo>
                <a:lnTo>
                  <a:pt x="1834" y="977"/>
                </a:lnTo>
                <a:lnTo>
                  <a:pt x="1866" y="985"/>
                </a:lnTo>
                <a:lnTo>
                  <a:pt x="1898" y="997"/>
                </a:lnTo>
                <a:lnTo>
                  <a:pt x="1929" y="1010"/>
                </a:lnTo>
                <a:lnTo>
                  <a:pt x="1959" y="1024"/>
                </a:lnTo>
                <a:lnTo>
                  <a:pt x="1989" y="1039"/>
                </a:lnTo>
                <a:lnTo>
                  <a:pt x="2018" y="1056"/>
                </a:lnTo>
                <a:lnTo>
                  <a:pt x="2046" y="1074"/>
                </a:lnTo>
                <a:lnTo>
                  <a:pt x="2073" y="1094"/>
                </a:lnTo>
                <a:lnTo>
                  <a:pt x="2100" y="1115"/>
                </a:lnTo>
                <a:lnTo>
                  <a:pt x="2126" y="1138"/>
                </a:lnTo>
                <a:lnTo>
                  <a:pt x="2149" y="1161"/>
                </a:lnTo>
                <a:lnTo>
                  <a:pt x="2173" y="1186"/>
                </a:lnTo>
                <a:lnTo>
                  <a:pt x="2195" y="1213"/>
                </a:lnTo>
                <a:lnTo>
                  <a:pt x="2216" y="1239"/>
                </a:lnTo>
                <a:lnTo>
                  <a:pt x="2236" y="1269"/>
                </a:lnTo>
                <a:lnTo>
                  <a:pt x="2255" y="1298"/>
                </a:lnTo>
                <a:lnTo>
                  <a:pt x="2271" y="1329"/>
                </a:lnTo>
                <a:lnTo>
                  <a:pt x="2287" y="1360"/>
                </a:lnTo>
                <a:lnTo>
                  <a:pt x="2302" y="1394"/>
                </a:lnTo>
                <a:lnTo>
                  <a:pt x="2314" y="1427"/>
                </a:lnTo>
                <a:lnTo>
                  <a:pt x="2324" y="1461"/>
                </a:lnTo>
                <a:lnTo>
                  <a:pt x="2333" y="1496"/>
                </a:lnTo>
                <a:lnTo>
                  <a:pt x="2340" y="1530"/>
                </a:lnTo>
                <a:lnTo>
                  <a:pt x="2345" y="1564"/>
                </a:lnTo>
                <a:lnTo>
                  <a:pt x="2349" y="1599"/>
                </a:lnTo>
                <a:lnTo>
                  <a:pt x="2350" y="1633"/>
                </a:lnTo>
                <a:lnTo>
                  <a:pt x="2350" y="1667"/>
                </a:lnTo>
                <a:lnTo>
                  <a:pt x="2349" y="1701"/>
                </a:lnTo>
                <a:lnTo>
                  <a:pt x="2345" y="1734"/>
                </a:lnTo>
                <a:lnTo>
                  <a:pt x="2341" y="1768"/>
                </a:lnTo>
                <a:lnTo>
                  <a:pt x="2334" y="1801"/>
                </a:lnTo>
                <a:lnTo>
                  <a:pt x="2326" y="1834"/>
                </a:lnTo>
                <a:lnTo>
                  <a:pt x="2316" y="1866"/>
                </a:lnTo>
                <a:lnTo>
                  <a:pt x="2305" y="1897"/>
                </a:lnTo>
                <a:lnTo>
                  <a:pt x="2293" y="1929"/>
                </a:lnTo>
                <a:lnTo>
                  <a:pt x="2278" y="1959"/>
                </a:lnTo>
                <a:lnTo>
                  <a:pt x="2262" y="1989"/>
                </a:lnTo>
                <a:lnTo>
                  <a:pt x="2246" y="2018"/>
                </a:lnTo>
                <a:lnTo>
                  <a:pt x="2228" y="2046"/>
                </a:lnTo>
                <a:lnTo>
                  <a:pt x="2208" y="2073"/>
                </a:lnTo>
                <a:lnTo>
                  <a:pt x="2187" y="2100"/>
                </a:lnTo>
                <a:lnTo>
                  <a:pt x="2165" y="2126"/>
                </a:lnTo>
                <a:lnTo>
                  <a:pt x="2142" y="2149"/>
                </a:lnTo>
                <a:lnTo>
                  <a:pt x="2116" y="2173"/>
                </a:lnTo>
                <a:lnTo>
                  <a:pt x="2090" y="2195"/>
                </a:lnTo>
                <a:lnTo>
                  <a:pt x="2062" y="2216"/>
                </a:lnTo>
                <a:lnTo>
                  <a:pt x="2034" y="2235"/>
                </a:lnTo>
                <a:lnTo>
                  <a:pt x="2004" y="2254"/>
                </a:lnTo>
                <a:lnTo>
                  <a:pt x="1974" y="2271"/>
                </a:lnTo>
                <a:lnTo>
                  <a:pt x="1941" y="2287"/>
                </a:lnTo>
                <a:lnTo>
                  <a:pt x="1908" y="2301"/>
                </a:lnTo>
                <a:lnTo>
                  <a:pt x="1874" y="2314"/>
                </a:lnTo>
                <a:lnTo>
                  <a:pt x="1840" y="2324"/>
                </a:lnTo>
                <a:lnTo>
                  <a:pt x="1806" y="2333"/>
                </a:lnTo>
                <a:lnTo>
                  <a:pt x="1772" y="2340"/>
                </a:lnTo>
                <a:lnTo>
                  <a:pt x="1738" y="2345"/>
                </a:lnTo>
                <a:lnTo>
                  <a:pt x="1703" y="2348"/>
                </a:lnTo>
                <a:lnTo>
                  <a:pt x="1669" y="2350"/>
                </a:lnTo>
                <a:lnTo>
                  <a:pt x="1635" y="2350"/>
                </a:lnTo>
                <a:lnTo>
                  <a:pt x="1601" y="2348"/>
                </a:lnTo>
                <a:lnTo>
                  <a:pt x="1567" y="2345"/>
                </a:lnTo>
                <a:lnTo>
                  <a:pt x="1534" y="2341"/>
                </a:lnTo>
                <a:lnTo>
                  <a:pt x="1501" y="2334"/>
                </a:lnTo>
                <a:lnTo>
                  <a:pt x="1468" y="2326"/>
                </a:lnTo>
                <a:lnTo>
                  <a:pt x="1436" y="2316"/>
                </a:lnTo>
                <a:lnTo>
                  <a:pt x="1404" y="2305"/>
                </a:lnTo>
                <a:lnTo>
                  <a:pt x="1373" y="2293"/>
                </a:lnTo>
                <a:lnTo>
                  <a:pt x="1342" y="2278"/>
                </a:lnTo>
                <a:lnTo>
                  <a:pt x="1313" y="2262"/>
                </a:lnTo>
                <a:lnTo>
                  <a:pt x="1284" y="2246"/>
                </a:lnTo>
                <a:lnTo>
                  <a:pt x="1256" y="2228"/>
                </a:lnTo>
                <a:lnTo>
                  <a:pt x="1228" y="2207"/>
                </a:lnTo>
                <a:lnTo>
                  <a:pt x="1203" y="2187"/>
                </a:lnTo>
                <a:lnTo>
                  <a:pt x="1177" y="2165"/>
                </a:lnTo>
                <a:lnTo>
                  <a:pt x="1152" y="2140"/>
                </a:lnTo>
                <a:lnTo>
                  <a:pt x="1129" y="2116"/>
                </a:lnTo>
                <a:lnTo>
                  <a:pt x="1106" y="2090"/>
                </a:lnTo>
                <a:lnTo>
                  <a:pt x="1086" y="2062"/>
                </a:lnTo>
                <a:lnTo>
                  <a:pt x="1066" y="2034"/>
                </a:lnTo>
                <a:lnTo>
                  <a:pt x="1048" y="2004"/>
                </a:lnTo>
                <a:lnTo>
                  <a:pt x="1030" y="1974"/>
                </a:lnTo>
                <a:lnTo>
                  <a:pt x="1015" y="1941"/>
                </a:lnTo>
                <a:lnTo>
                  <a:pt x="1001" y="1908"/>
                </a:lnTo>
                <a:lnTo>
                  <a:pt x="989" y="1874"/>
                </a:lnTo>
                <a:lnTo>
                  <a:pt x="978" y="1840"/>
                </a:lnTo>
                <a:lnTo>
                  <a:pt x="970" y="1806"/>
                </a:lnTo>
                <a:lnTo>
                  <a:pt x="962" y="1772"/>
                </a:lnTo>
                <a:lnTo>
                  <a:pt x="958" y="1737"/>
                </a:lnTo>
                <a:lnTo>
                  <a:pt x="954" y="1703"/>
                </a:lnTo>
                <a:lnTo>
                  <a:pt x="952" y="1669"/>
                </a:lnTo>
                <a:lnTo>
                  <a:pt x="952" y="1635"/>
                </a:lnTo>
                <a:lnTo>
                  <a:pt x="954" y="1601"/>
                </a:lnTo>
                <a:lnTo>
                  <a:pt x="956" y="1567"/>
                </a:lnTo>
                <a:lnTo>
                  <a:pt x="962" y="1534"/>
                </a:lnTo>
                <a:lnTo>
                  <a:pt x="969" y="1500"/>
                </a:lnTo>
                <a:lnTo>
                  <a:pt x="977" y="1468"/>
                </a:lnTo>
                <a:lnTo>
                  <a:pt x="985" y="1436"/>
                </a:lnTo>
                <a:lnTo>
                  <a:pt x="997" y="1404"/>
                </a:lnTo>
                <a:lnTo>
                  <a:pt x="1010" y="1373"/>
                </a:lnTo>
                <a:lnTo>
                  <a:pt x="1024" y="1342"/>
                </a:lnTo>
                <a:lnTo>
                  <a:pt x="1039" y="1313"/>
                </a:lnTo>
                <a:lnTo>
                  <a:pt x="1056" y="1284"/>
                </a:lnTo>
                <a:lnTo>
                  <a:pt x="1074" y="1256"/>
                </a:lnTo>
                <a:lnTo>
                  <a:pt x="1094" y="1228"/>
                </a:lnTo>
                <a:lnTo>
                  <a:pt x="1115" y="1203"/>
                </a:lnTo>
                <a:lnTo>
                  <a:pt x="1138" y="1177"/>
                </a:lnTo>
                <a:lnTo>
                  <a:pt x="1161" y="1152"/>
                </a:lnTo>
                <a:lnTo>
                  <a:pt x="1186" y="1129"/>
                </a:lnTo>
                <a:lnTo>
                  <a:pt x="1213" y="1106"/>
                </a:lnTo>
                <a:lnTo>
                  <a:pt x="1240" y="1086"/>
                </a:lnTo>
                <a:lnTo>
                  <a:pt x="1269" y="1066"/>
                </a:lnTo>
                <a:lnTo>
                  <a:pt x="1298" y="1048"/>
                </a:lnTo>
                <a:lnTo>
                  <a:pt x="1329" y="1030"/>
                </a:lnTo>
                <a:lnTo>
                  <a:pt x="1360" y="1015"/>
                </a:lnTo>
                <a:lnTo>
                  <a:pt x="1394" y="1001"/>
                </a:lnTo>
                <a:close/>
              </a:path>
            </a:pathLst>
          </a:custGeom>
          <a:solidFill>
            <a:srgbClr val="3FA2CF"/>
          </a:solidFill>
          <a:ln>
            <a:noFill/>
          </a:ln>
        </p:spPr>
        <p:txBody>
          <a:bodyPr/>
          <a:lstStyle/>
          <a:p>
            <a:pPr eaLnBrk="1" fontAlgn="auto" hangingPunct="1">
              <a:spcBef>
                <a:spcPts val="0"/>
              </a:spcBef>
              <a:spcAft>
                <a:spcPts val="0"/>
              </a:spcAft>
              <a:defRPr/>
            </a:pPr>
            <a:endParaRPr lang="en-US">
              <a:solidFill>
                <a:schemeClr val="bg1">
                  <a:lumMod val="95000"/>
                </a:schemeClr>
              </a:solidFill>
              <a:latin typeface="+mn-lt"/>
            </a:endParaRPr>
          </a:p>
        </p:txBody>
      </p:sp>
      <p:sp>
        <p:nvSpPr>
          <p:cNvPr id="22" name="Freeform 21"/>
          <p:cNvSpPr/>
          <p:nvPr/>
        </p:nvSpPr>
        <p:spPr>
          <a:xfrm flipH="1" flipV="1">
            <a:off x="7481888" y="3275013"/>
            <a:ext cx="4217987" cy="503237"/>
          </a:xfrm>
          <a:custGeom>
            <a:avLst/>
            <a:gdLst>
              <a:gd name="connsiteX0" fmla="*/ 4699000 w 4699000"/>
              <a:gd name="connsiteY0" fmla="*/ 762000 h 762000"/>
              <a:gd name="connsiteX1" fmla="*/ 4241800 w 4699000"/>
              <a:gd name="connsiteY1" fmla="*/ 12700 h 762000"/>
              <a:gd name="connsiteX2" fmla="*/ 0 w 4699000"/>
              <a:gd name="connsiteY2" fmla="*/ 0 h 762000"/>
              <a:gd name="connsiteX0" fmla="*/ 4305300 w 4305300"/>
              <a:gd name="connsiteY0" fmla="*/ 749300 h 749300"/>
              <a:gd name="connsiteX1" fmla="*/ 3848100 w 4305300"/>
              <a:gd name="connsiteY1" fmla="*/ 0 h 749300"/>
              <a:gd name="connsiteX2" fmla="*/ 0 w 4305300"/>
              <a:gd name="connsiteY2" fmla="*/ 0 h 749300"/>
              <a:gd name="connsiteX0" fmla="*/ 4160157 w 4160157"/>
              <a:gd name="connsiteY0" fmla="*/ 517072 h 517072"/>
              <a:gd name="connsiteX1" fmla="*/ 3848100 w 4160157"/>
              <a:gd name="connsiteY1" fmla="*/ 0 h 517072"/>
              <a:gd name="connsiteX2" fmla="*/ 0 w 4160157"/>
              <a:gd name="connsiteY2" fmla="*/ 0 h 517072"/>
              <a:gd name="connsiteX0" fmla="*/ 4218214 w 4218214"/>
              <a:gd name="connsiteY0" fmla="*/ 502557 h 502557"/>
              <a:gd name="connsiteX1" fmla="*/ 3848100 w 4218214"/>
              <a:gd name="connsiteY1" fmla="*/ 0 h 502557"/>
              <a:gd name="connsiteX2" fmla="*/ 0 w 4218214"/>
              <a:gd name="connsiteY2" fmla="*/ 0 h 502557"/>
            </a:gdLst>
            <a:ahLst/>
            <a:cxnLst>
              <a:cxn ang="0">
                <a:pos x="connsiteX0" y="connsiteY0"/>
              </a:cxn>
              <a:cxn ang="0">
                <a:pos x="connsiteX1" y="connsiteY1"/>
              </a:cxn>
              <a:cxn ang="0">
                <a:pos x="connsiteX2" y="connsiteY2"/>
              </a:cxn>
            </a:cxnLst>
            <a:rect l="l" t="t" r="r" b="b"/>
            <a:pathLst>
              <a:path w="4218214" h="502557">
                <a:moveTo>
                  <a:pt x="4218214" y="502557"/>
                </a:moveTo>
                <a:lnTo>
                  <a:pt x="3848100" y="0"/>
                </a:lnTo>
                <a:lnTo>
                  <a:pt x="0" y="0"/>
                </a:lnTo>
              </a:path>
            </a:pathLst>
          </a:custGeom>
          <a:noFill/>
          <a:ln>
            <a:solidFill>
              <a:srgbClr val="ED7D31"/>
            </a:solidFill>
            <a:headEnd type="oval"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chemeClr val="bg1">
                  <a:lumMod val="95000"/>
                </a:schemeClr>
              </a:solidFill>
            </a:endParaRPr>
          </a:p>
        </p:txBody>
      </p:sp>
      <p:sp>
        <p:nvSpPr>
          <p:cNvPr id="20" name="Freeform 19"/>
          <p:cNvSpPr/>
          <p:nvPr/>
        </p:nvSpPr>
        <p:spPr>
          <a:xfrm flipH="1">
            <a:off x="6056313" y="2338388"/>
            <a:ext cx="5691187" cy="669925"/>
          </a:xfrm>
          <a:custGeom>
            <a:avLst/>
            <a:gdLst>
              <a:gd name="connsiteX0" fmla="*/ 4699000 w 4699000"/>
              <a:gd name="connsiteY0" fmla="*/ 762000 h 762000"/>
              <a:gd name="connsiteX1" fmla="*/ 4241800 w 4699000"/>
              <a:gd name="connsiteY1" fmla="*/ 12700 h 762000"/>
              <a:gd name="connsiteX2" fmla="*/ 0 w 4699000"/>
              <a:gd name="connsiteY2" fmla="*/ 0 h 762000"/>
              <a:gd name="connsiteX0" fmla="*/ 4699000 w 4699000"/>
              <a:gd name="connsiteY0" fmla="*/ 749300 h 749300"/>
              <a:gd name="connsiteX1" fmla="*/ 4241800 w 4699000"/>
              <a:gd name="connsiteY1" fmla="*/ 0 h 749300"/>
              <a:gd name="connsiteX2" fmla="*/ 0 w 4699000"/>
              <a:gd name="connsiteY2" fmla="*/ 0 h 749300"/>
              <a:gd name="connsiteX0" fmla="*/ 5679772 w 5679772"/>
              <a:gd name="connsiteY0" fmla="*/ 749300 h 749300"/>
              <a:gd name="connsiteX1" fmla="*/ 5222572 w 5679772"/>
              <a:gd name="connsiteY1" fmla="*/ 0 h 749300"/>
              <a:gd name="connsiteX2" fmla="*/ 0 w 5679772"/>
              <a:gd name="connsiteY2" fmla="*/ 0 h 749300"/>
              <a:gd name="connsiteX0" fmla="*/ 5615247 w 5615247"/>
              <a:gd name="connsiteY0" fmla="*/ 1322847 h 1322847"/>
              <a:gd name="connsiteX1" fmla="*/ 5222572 w 5615247"/>
              <a:gd name="connsiteY1" fmla="*/ 0 h 1322847"/>
              <a:gd name="connsiteX2" fmla="*/ 0 w 5615247"/>
              <a:gd name="connsiteY2" fmla="*/ 0 h 1322847"/>
            </a:gdLst>
            <a:ahLst/>
            <a:cxnLst>
              <a:cxn ang="0">
                <a:pos x="connsiteX0" y="connsiteY0"/>
              </a:cxn>
              <a:cxn ang="0">
                <a:pos x="connsiteX1" y="connsiteY1"/>
              </a:cxn>
              <a:cxn ang="0">
                <a:pos x="connsiteX2" y="connsiteY2"/>
              </a:cxn>
            </a:cxnLst>
            <a:rect l="l" t="t" r="r" b="b"/>
            <a:pathLst>
              <a:path w="5615247" h="1322847">
                <a:moveTo>
                  <a:pt x="5615247" y="1322847"/>
                </a:moveTo>
                <a:lnTo>
                  <a:pt x="5222572" y="0"/>
                </a:lnTo>
                <a:lnTo>
                  <a:pt x="0" y="0"/>
                </a:lnTo>
              </a:path>
            </a:pathLst>
          </a:custGeom>
          <a:noFill/>
          <a:ln>
            <a:solidFill>
              <a:srgbClr val="37B3AD"/>
            </a:solidFill>
            <a:headEnd type="oval"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chemeClr val="bg1">
                  <a:lumMod val="95000"/>
                </a:schemeClr>
              </a:solidFill>
            </a:endParaRPr>
          </a:p>
        </p:txBody>
      </p:sp>
      <p:sp>
        <p:nvSpPr>
          <p:cNvPr id="24" name="Rectangle 23"/>
          <p:cNvSpPr/>
          <p:nvPr/>
        </p:nvSpPr>
        <p:spPr>
          <a:xfrm flipH="1">
            <a:off x="7833293" y="1903413"/>
            <a:ext cx="3825307"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r" eaLnBrk="1" fontAlgn="auto" hangingPunct="1">
              <a:spcBef>
                <a:spcPts val="0"/>
              </a:spcBef>
              <a:spcAft>
                <a:spcPts val="0"/>
              </a:spcAft>
              <a:defRPr/>
            </a:pPr>
            <a:r>
              <a:rPr lang="en-US" sz="2000" b="1" spc="-150" noProof="1" smtClean="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rPr>
              <a:t>Produk atau Jasa apa yang akan dijual</a:t>
            </a:r>
            <a:endParaRPr lang="en-US" sz="2000" spc="-150" noProof="1">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Freeform 20"/>
          <p:cNvSpPr/>
          <p:nvPr/>
        </p:nvSpPr>
        <p:spPr>
          <a:xfrm flipH="1" flipV="1">
            <a:off x="4957763" y="4197350"/>
            <a:ext cx="6700837" cy="1108075"/>
          </a:xfrm>
          <a:custGeom>
            <a:avLst/>
            <a:gdLst>
              <a:gd name="connsiteX0" fmla="*/ 4699000 w 4699000"/>
              <a:gd name="connsiteY0" fmla="*/ 762000 h 762000"/>
              <a:gd name="connsiteX1" fmla="*/ 4241800 w 4699000"/>
              <a:gd name="connsiteY1" fmla="*/ 12700 h 762000"/>
              <a:gd name="connsiteX2" fmla="*/ 0 w 4699000"/>
              <a:gd name="connsiteY2" fmla="*/ 0 h 762000"/>
              <a:gd name="connsiteX0" fmla="*/ 3797300 w 3797300"/>
              <a:gd name="connsiteY0" fmla="*/ 762000 h 762000"/>
              <a:gd name="connsiteX1" fmla="*/ 3340100 w 3797300"/>
              <a:gd name="connsiteY1" fmla="*/ 12700 h 762000"/>
              <a:gd name="connsiteX2" fmla="*/ 0 w 3797300"/>
              <a:gd name="connsiteY2" fmla="*/ 0 h 762000"/>
              <a:gd name="connsiteX0" fmla="*/ 3797300 w 3797300"/>
              <a:gd name="connsiteY0" fmla="*/ 770011 h 770011"/>
              <a:gd name="connsiteX1" fmla="*/ 3619755 w 3797300"/>
              <a:gd name="connsiteY1" fmla="*/ 0 h 770011"/>
              <a:gd name="connsiteX2" fmla="*/ 0 w 3797300"/>
              <a:gd name="connsiteY2" fmla="*/ 8011 h 770011"/>
              <a:gd name="connsiteX0" fmla="*/ 3797300 w 3797300"/>
              <a:gd name="connsiteY0" fmla="*/ 790723 h 790723"/>
              <a:gd name="connsiteX1" fmla="*/ 3627980 w 3797300"/>
              <a:gd name="connsiteY1" fmla="*/ 0 h 790723"/>
              <a:gd name="connsiteX2" fmla="*/ 0 w 3797300"/>
              <a:gd name="connsiteY2" fmla="*/ 28723 h 790723"/>
            </a:gdLst>
            <a:ahLst/>
            <a:cxnLst>
              <a:cxn ang="0">
                <a:pos x="connsiteX0" y="connsiteY0"/>
              </a:cxn>
              <a:cxn ang="0">
                <a:pos x="connsiteX1" y="connsiteY1"/>
              </a:cxn>
              <a:cxn ang="0">
                <a:pos x="connsiteX2" y="connsiteY2"/>
              </a:cxn>
            </a:cxnLst>
            <a:rect l="l" t="t" r="r" b="b"/>
            <a:pathLst>
              <a:path w="3797300" h="790723">
                <a:moveTo>
                  <a:pt x="3797300" y="790723"/>
                </a:moveTo>
                <a:lnTo>
                  <a:pt x="3627980" y="0"/>
                </a:lnTo>
                <a:lnTo>
                  <a:pt x="0" y="28723"/>
                </a:lnTo>
              </a:path>
            </a:pathLst>
          </a:custGeom>
          <a:noFill/>
          <a:ln>
            <a:solidFill>
              <a:srgbClr val="3FA2CF"/>
            </a:solidFill>
            <a:headEnd type="oval"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chemeClr val="bg1">
                  <a:lumMod val="95000"/>
                </a:schemeClr>
              </a:solidFill>
            </a:endParaRPr>
          </a:p>
        </p:txBody>
      </p:sp>
      <p:sp>
        <p:nvSpPr>
          <p:cNvPr id="26" name="Rectangle 25"/>
          <p:cNvSpPr/>
          <p:nvPr/>
        </p:nvSpPr>
        <p:spPr>
          <a:xfrm flipH="1">
            <a:off x="8011236" y="4813300"/>
            <a:ext cx="3647364"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r" eaLnBrk="1" fontAlgn="auto" hangingPunct="1">
              <a:spcBef>
                <a:spcPts val="0"/>
              </a:spcBef>
              <a:spcAft>
                <a:spcPts val="0"/>
              </a:spcAft>
            </a:pPr>
            <a:r>
              <a:rPr lang="en-US" sz="2000" b="1" spc="-150" noProof="1" smtClean="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rPr>
              <a:t>Bagaimana Produk/Jasa akan Dijual</a:t>
            </a:r>
            <a:endParaRPr lang="en-US" sz="2000" b="1" spc="-150" noProof="1">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8" name="Rectangle 27"/>
          <p:cNvSpPr/>
          <p:nvPr/>
        </p:nvSpPr>
        <p:spPr>
          <a:xfrm>
            <a:off x="8624888" y="3226462"/>
            <a:ext cx="3033712"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r" eaLnBrk="1" fontAlgn="auto" hangingPunct="1">
              <a:spcBef>
                <a:spcPts val="0"/>
              </a:spcBef>
              <a:spcAft>
                <a:spcPts val="0"/>
              </a:spcAft>
            </a:pPr>
            <a:r>
              <a:rPr lang="en-US" sz="2000" b="1" spc="-150" dirty="0" err="1" smtClean="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rPr>
              <a:t>Kepada</a:t>
            </a:r>
            <a:r>
              <a:rPr lang="en-US" sz="2000" b="1" spc="-150" dirty="0" smtClean="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rPr>
              <a:t> </a:t>
            </a:r>
            <a:r>
              <a:rPr lang="en-US" sz="2000" b="1" spc="-150" dirty="0" err="1" smtClean="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rPr>
              <a:t>siapa</a:t>
            </a:r>
            <a:r>
              <a:rPr lang="en-US" sz="2000" b="1" spc="-150" dirty="0" smtClean="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rPr>
              <a:t> </a:t>
            </a:r>
            <a:r>
              <a:rPr lang="en-US" sz="2000" b="1" spc="-150" dirty="0" err="1" smtClean="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rPr>
              <a:t>Produk</a:t>
            </a:r>
            <a:r>
              <a:rPr lang="en-US" sz="2000" b="1" spc="-150" dirty="0" smtClean="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rPr>
              <a:t>/</a:t>
            </a:r>
            <a:r>
              <a:rPr lang="en-US" sz="2000" b="1" spc="-150" dirty="0" err="1" smtClean="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rPr>
              <a:t>Jasa</a:t>
            </a:r>
            <a:r>
              <a:rPr lang="en-US" sz="2000" b="1" spc="-150" dirty="0" smtClean="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rPr>
              <a:t> </a:t>
            </a:r>
            <a:r>
              <a:rPr lang="en-US" sz="2000" b="1" spc="-150" dirty="0" err="1" smtClean="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rPr>
              <a:t>akan</a:t>
            </a:r>
            <a:r>
              <a:rPr lang="en-US" sz="2000" b="1" spc="-150" dirty="0" smtClean="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rPr>
              <a:t> </a:t>
            </a:r>
            <a:r>
              <a:rPr lang="en-US" sz="2000" b="1" spc="-150" dirty="0" err="1" smtClean="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rPr>
              <a:t>dijual</a:t>
            </a:r>
            <a:endParaRPr lang="en-US" sz="2000" b="1" spc="-150" noProof="1">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9" name="Group 28"/>
          <p:cNvGrpSpPr/>
          <p:nvPr/>
        </p:nvGrpSpPr>
        <p:grpSpPr>
          <a:xfrm>
            <a:off x="6912267" y="2870037"/>
            <a:ext cx="252864" cy="252862"/>
            <a:chOff x="7171531" y="3646884"/>
            <a:chExt cx="457201" cy="457201"/>
          </a:xfrm>
          <a:solidFill>
            <a:schemeClr val="bg1">
              <a:lumMod val="85000"/>
            </a:schemeClr>
          </a:solidFill>
        </p:grpSpPr>
        <p:sp>
          <p:nvSpPr>
            <p:cNvPr id="30" name="Freeform 38"/>
            <p:cNvSpPr>
              <a:spLocks noEditPoints="1"/>
            </p:cNvSpPr>
            <p:nvPr/>
          </p:nvSpPr>
          <p:spPr bwMode="auto">
            <a:xfrm>
              <a:off x="7171531" y="3689747"/>
              <a:ext cx="415925" cy="414338"/>
            </a:xfrm>
            <a:custGeom>
              <a:avLst/>
              <a:gdLst>
                <a:gd name="T0" fmla="*/ 914 w 1049"/>
                <a:gd name="T1" fmla="*/ 435 h 1043"/>
                <a:gd name="T2" fmla="*/ 902 w 1049"/>
                <a:gd name="T3" fmla="*/ 435 h 1043"/>
                <a:gd name="T4" fmla="*/ 781 w 1049"/>
                <a:gd name="T5" fmla="*/ 497 h 1043"/>
                <a:gd name="T6" fmla="*/ 723 w 1049"/>
                <a:gd name="T7" fmla="*/ 435 h 1043"/>
                <a:gd name="T8" fmla="*/ 642 w 1049"/>
                <a:gd name="T9" fmla="*/ 391 h 1043"/>
                <a:gd name="T10" fmla="*/ 562 w 1049"/>
                <a:gd name="T11" fmla="*/ 367 h 1043"/>
                <a:gd name="T12" fmla="*/ 443 w 1049"/>
                <a:gd name="T13" fmla="*/ 349 h 1043"/>
                <a:gd name="T14" fmla="*/ 679 w 1049"/>
                <a:gd name="T15" fmla="*/ 215 h 1043"/>
                <a:gd name="T16" fmla="*/ 612 w 1049"/>
                <a:gd name="T17" fmla="*/ 144 h 1043"/>
                <a:gd name="T18" fmla="*/ 615 w 1049"/>
                <a:gd name="T19" fmla="*/ 131 h 1043"/>
                <a:gd name="T20" fmla="*/ 674 w 1049"/>
                <a:gd name="T21" fmla="*/ 73 h 1043"/>
                <a:gd name="T22" fmla="*/ 688 w 1049"/>
                <a:gd name="T23" fmla="*/ 73 h 1043"/>
                <a:gd name="T24" fmla="*/ 974 w 1049"/>
                <a:gd name="T25" fmla="*/ 357 h 1043"/>
                <a:gd name="T26" fmla="*/ 977 w 1049"/>
                <a:gd name="T27" fmla="*/ 372 h 1043"/>
                <a:gd name="T28" fmla="*/ 972 w 1049"/>
                <a:gd name="T29" fmla="*/ 380 h 1043"/>
                <a:gd name="T30" fmla="*/ 593 w 1049"/>
                <a:gd name="T31" fmla="*/ 960 h 1043"/>
                <a:gd name="T32" fmla="*/ 578 w 1049"/>
                <a:gd name="T33" fmla="*/ 970 h 1043"/>
                <a:gd name="T34" fmla="*/ 558 w 1049"/>
                <a:gd name="T35" fmla="*/ 971 h 1043"/>
                <a:gd name="T36" fmla="*/ 83 w 1049"/>
                <a:gd name="T37" fmla="*/ 508 h 1043"/>
                <a:gd name="T38" fmla="*/ 73 w 1049"/>
                <a:gd name="T39" fmla="*/ 476 h 1043"/>
                <a:gd name="T40" fmla="*/ 94 w 1049"/>
                <a:gd name="T41" fmla="*/ 449 h 1043"/>
                <a:gd name="T42" fmla="*/ 403 w 1049"/>
                <a:gd name="T43" fmla="*/ 380 h 1043"/>
                <a:gd name="T44" fmla="*/ 572 w 1049"/>
                <a:gd name="T45" fmla="*/ 406 h 1043"/>
                <a:gd name="T46" fmla="*/ 642 w 1049"/>
                <a:gd name="T47" fmla="*/ 430 h 1043"/>
                <a:gd name="T48" fmla="*/ 700 w 1049"/>
                <a:gd name="T49" fmla="*/ 461 h 1043"/>
                <a:gd name="T50" fmla="*/ 756 w 1049"/>
                <a:gd name="T51" fmla="*/ 509 h 1043"/>
                <a:gd name="T52" fmla="*/ 737 w 1049"/>
                <a:gd name="T53" fmla="*/ 21 h 1043"/>
                <a:gd name="T54" fmla="*/ 707 w 1049"/>
                <a:gd name="T55" fmla="*/ 3 h 1043"/>
                <a:gd name="T56" fmla="*/ 671 w 1049"/>
                <a:gd name="T57" fmla="*/ 0 h 1043"/>
                <a:gd name="T58" fmla="*/ 638 w 1049"/>
                <a:gd name="T59" fmla="*/ 11 h 1043"/>
                <a:gd name="T60" fmla="*/ 567 w 1049"/>
                <a:gd name="T61" fmla="*/ 77 h 1043"/>
                <a:gd name="T62" fmla="*/ 547 w 1049"/>
                <a:gd name="T63" fmla="*/ 106 h 1043"/>
                <a:gd name="T64" fmla="*/ 540 w 1049"/>
                <a:gd name="T65" fmla="*/ 140 h 1043"/>
                <a:gd name="T66" fmla="*/ 554 w 1049"/>
                <a:gd name="T67" fmla="*/ 188 h 1043"/>
                <a:gd name="T68" fmla="*/ 32 w 1049"/>
                <a:gd name="T69" fmla="*/ 406 h 1043"/>
                <a:gd name="T70" fmla="*/ 5 w 1049"/>
                <a:gd name="T71" fmla="*/ 449 h 1043"/>
                <a:gd name="T72" fmla="*/ 2 w 1049"/>
                <a:gd name="T73" fmla="*/ 502 h 1043"/>
                <a:gd name="T74" fmla="*/ 23 w 1049"/>
                <a:gd name="T75" fmla="*/ 550 h 1043"/>
                <a:gd name="T76" fmla="*/ 506 w 1049"/>
                <a:gd name="T77" fmla="*/ 1025 h 1043"/>
                <a:gd name="T78" fmla="*/ 543 w 1049"/>
                <a:gd name="T79" fmla="*/ 1041 h 1043"/>
                <a:gd name="T80" fmla="*/ 567 w 1049"/>
                <a:gd name="T81" fmla="*/ 1043 h 1043"/>
                <a:gd name="T82" fmla="*/ 613 w 1049"/>
                <a:gd name="T83" fmla="*/ 1032 h 1043"/>
                <a:gd name="T84" fmla="*/ 654 w 1049"/>
                <a:gd name="T85" fmla="*/ 999 h 1043"/>
                <a:gd name="T86" fmla="*/ 870 w 1049"/>
                <a:gd name="T87" fmla="*/ 500 h 1043"/>
                <a:gd name="T88" fmla="*/ 917 w 1049"/>
                <a:gd name="T89" fmla="*/ 509 h 1043"/>
                <a:gd name="T90" fmla="*/ 950 w 1049"/>
                <a:gd name="T91" fmla="*/ 498 h 1043"/>
                <a:gd name="T92" fmla="*/ 1022 w 1049"/>
                <a:gd name="T93" fmla="*/ 432 h 1043"/>
                <a:gd name="T94" fmla="*/ 1042 w 1049"/>
                <a:gd name="T95" fmla="*/ 403 h 1043"/>
                <a:gd name="T96" fmla="*/ 1049 w 1049"/>
                <a:gd name="T97" fmla="*/ 368 h 1043"/>
                <a:gd name="T98" fmla="*/ 1042 w 1049"/>
                <a:gd name="T99" fmla="*/ 334 h 1043"/>
                <a:gd name="T100" fmla="*/ 1022 w 1049"/>
                <a:gd name="T101" fmla="*/ 305 h 10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49" h="1043">
                  <a:moveTo>
                    <a:pt x="972" y="380"/>
                  </a:moveTo>
                  <a:lnTo>
                    <a:pt x="921" y="432"/>
                  </a:lnTo>
                  <a:lnTo>
                    <a:pt x="918" y="434"/>
                  </a:lnTo>
                  <a:lnTo>
                    <a:pt x="914" y="435"/>
                  </a:lnTo>
                  <a:lnTo>
                    <a:pt x="911" y="436"/>
                  </a:lnTo>
                  <a:lnTo>
                    <a:pt x="908" y="436"/>
                  </a:lnTo>
                  <a:lnTo>
                    <a:pt x="905" y="436"/>
                  </a:lnTo>
                  <a:lnTo>
                    <a:pt x="902" y="435"/>
                  </a:lnTo>
                  <a:lnTo>
                    <a:pt x="898" y="434"/>
                  </a:lnTo>
                  <a:lnTo>
                    <a:pt x="895" y="432"/>
                  </a:lnTo>
                  <a:lnTo>
                    <a:pt x="831" y="368"/>
                  </a:lnTo>
                  <a:lnTo>
                    <a:pt x="781" y="497"/>
                  </a:lnTo>
                  <a:lnTo>
                    <a:pt x="785" y="486"/>
                  </a:lnTo>
                  <a:lnTo>
                    <a:pt x="764" y="467"/>
                  </a:lnTo>
                  <a:lnTo>
                    <a:pt x="744" y="450"/>
                  </a:lnTo>
                  <a:lnTo>
                    <a:pt x="723" y="435"/>
                  </a:lnTo>
                  <a:lnTo>
                    <a:pt x="703" y="421"/>
                  </a:lnTo>
                  <a:lnTo>
                    <a:pt x="682" y="409"/>
                  </a:lnTo>
                  <a:lnTo>
                    <a:pt x="663" y="400"/>
                  </a:lnTo>
                  <a:lnTo>
                    <a:pt x="642" y="391"/>
                  </a:lnTo>
                  <a:lnTo>
                    <a:pt x="622" y="383"/>
                  </a:lnTo>
                  <a:lnTo>
                    <a:pt x="602" y="377"/>
                  </a:lnTo>
                  <a:lnTo>
                    <a:pt x="582" y="372"/>
                  </a:lnTo>
                  <a:lnTo>
                    <a:pt x="562" y="367"/>
                  </a:lnTo>
                  <a:lnTo>
                    <a:pt x="543" y="363"/>
                  </a:lnTo>
                  <a:lnTo>
                    <a:pt x="504" y="357"/>
                  </a:lnTo>
                  <a:lnTo>
                    <a:pt x="466" y="352"/>
                  </a:lnTo>
                  <a:lnTo>
                    <a:pt x="443" y="349"/>
                  </a:lnTo>
                  <a:lnTo>
                    <a:pt x="420" y="346"/>
                  </a:lnTo>
                  <a:lnTo>
                    <a:pt x="396" y="342"/>
                  </a:lnTo>
                  <a:lnTo>
                    <a:pt x="373" y="338"/>
                  </a:lnTo>
                  <a:lnTo>
                    <a:pt x="679" y="215"/>
                  </a:lnTo>
                  <a:lnTo>
                    <a:pt x="617" y="153"/>
                  </a:lnTo>
                  <a:lnTo>
                    <a:pt x="615" y="150"/>
                  </a:lnTo>
                  <a:lnTo>
                    <a:pt x="613" y="148"/>
                  </a:lnTo>
                  <a:lnTo>
                    <a:pt x="612" y="144"/>
                  </a:lnTo>
                  <a:lnTo>
                    <a:pt x="612" y="140"/>
                  </a:lnTo>
                  <a:lnTo>
                    <a:pt x="612" y="137"/>
                  </a:lnTo>
                  <a:lnTo>
                    <a:pt x="613" y="134"/>
                  </a:lnTo>
                  <a:lnTo>
                    <a:pt x="615" y="131"/>
                  </a:lnTo>
                  <a:lnTo>
                    <a:pt x="617" y="129"/>
                  </a:lnTo>
                  <a:lnTo>
                    <a:pt x="668" y="77"/>
                  </a:lnTo>
                  <a:lnTo>
                    <a:pt x="671" y="75"/>
                  </a:lnTo>
                  <a:lnTo>
                    <a:pt x="674" y="73"/>
                  </a:lnTo>
                  <a:lnTo>
                    <a:pt x="678" y="72"/>
                  </a:lnTo>
                  <a:lnTo>
                    <a:pt x="681" y="71"/>
                  </a:lnTo>
                  <a:lnTo>
                    <a:pt x="684" y="72"/>
                  </a:lnTo>
                  <a:lnTo>
                    <a:pt x="688" y="73"/>
                  </a:lnTo>
                  <a:lnTo>
                    <a:pt x="691" y="75"/>
                  </a:lnTo>
                  <a:lnTo>
                    <a:pt x="693" y="77"/>
                  </a:lnTo>
                  <a:lnTo>
                    <a:pt x="972" y="355"/>
                  </a:lnTo>
                  <a:lnTo>
                    <a:pt x="974" y="357"/>
                  </a:lnTo>
                  <a:lnTo>
                    <a:pt x="976" y="361"/>
                  </a:lnTo>
                  <a:lnTo>
                    <a:pt x="977" y="364"/>
                  </a:lnTo>
                  <a:lnTo>
                    <a:pt x="977" y="368"/>
                  </a:lnTo>
                  <a:lnTo>
                    <a:pt x="977" y="372"/>
                  </a:lnTo>
                  <a:lnTo>
                    <a:pt x="976" y="375"/>
                  </a:lnTo>
                  <a:lnTo>
                    <a:pt x="974" y="378"/>
                  </a:lnTo>
                  <a:lnTo>
                    <a:pt x="972" y="380"/>
                  </a:lnTo>
                  <a:lnTo>
                    <a:pt x="972" y="380"/>
                  </a:lnTo>
                  <a:close/>
                  <a:moveTo>
                    <a:pt x="600" y="949"/>
                  </a:moveTo>
                  <a:lnTo>
                    <a:pt x="598" y="953"/>
                  </a:lnTo>
                  <a:lnTo>
                    <a:pt x="596" y="957"/>
                  </a:lnTo>
                  <a:lnTo>
                    <a:pt x="593" y="960"/>
                  </a:lnTo>
                  <a:lnTo>
                    <a:pt x="589" y="963"/>
                  </a:lnTo>
                  <a:lnTo>
                    <a:pt x="586" y="966"/>
                  </a:lnTo>
                  <a:lnTo>
                    <a:pt x="582" y="968"/>
                  </a:lnTo>
                  <a:lnTo>
                    <a:pt x="578" y="970"/>
                  </a:lnTo>
                  <a:lnTo>
                    <a:pt x="573" y="971"/>
                  </a:lnTo>
                  <a:lnTo>
                    <a:pt x="569" y="972"/>
                  </a:lnTo>
                  <a:lnTo>
                    <a:pt x="566" y="972"/>
                  </a:lnTo>
                  <a:lnTo>
                    <a:pt x="558" y="971"/>
                  </a:lnTo>
                  <a:lnTo>
                    <a:pt x="552" y="969"/>
                  </a:lnTo>
                  <a:lnTo>
                    <a:pt x="546" y="966"/>
                  </a:lnTo>
                  <a:lnTo>
                    <a:pt x="541" y="961"/>
                  </a:lnTo>
                  <a:lnTo>
                    <a:pt x="83" y="508"/>
                  </a:lnTo>
                  <a:lnTo>
                    <a:pt x="77" y="501"/>
                  </a:lnTo>
                  <a:lnTo>
                    <a:pt x="73" y="494"/>
                  </a:lnTo>
                  <a:lnTo>
                    <a:pt x="72" y="485"/>
                  </a:lnTo>
                  <a:lnTo>
                    <a:pt x="73" y="476"/>
                  </a:lnTo>
                  <a:lnTo>
                    <a:pt x="75" y="468"/>
                  </a:lnTo>
                  <a:lnTo>
                    <a:pt x="80" y="460"/>
                  </a:lnTo>
                  <a:lnTo>
                    <a:pt x="86" y="454"/>
                  </a:lnTo>
                  <a:lnTo>
                    <a:pt x="94" y="449"/>
                  </a:lnTo>
                  <a:lnTo>
                    <a:pt x="317" y="360"/>
                  </a:lnTo>
                  <a:lnTo>
                    <a:pt x="345" y="368"/>
                  </a:lnTo>
                  <a:lnTo>
                    <a:pt x="374" y="375"/>
                  </a:lnTo>
                  <a:lnTo>
                    <a:pt x="403" y="380"/>
                  </a:lnTo>
                  <a:lnTo>
                    <a:pt x="431" y="384"/>
                  </a:lnTo>
                  <a:lnTo>
                    <a:pt x="487" y="391"/>
                  </a:lnTo>
                  <a:lnTo>
                    <a:pt x="544" y="400"/>
                  </a:lnTo>
                  <a:lnTo>
                    <a:pt x="572" y="406"/>
                  </a:lnTo>
                  <a:lnTo>
                    <a:pt x="600" y="414"/>
                  </a:lnTo>
                  <a:lnTo>
                    <a:pt x="614" y="418"/>
                  </a:lnTo>
                  <a:lnTo>
                    <a:pt x="628" y="423"/>
                  </a:lnTo>
                  <a:lnTo>
                    <a:pt x="642" y="430"/>
                  </a:lnTo>
                  <a:lnTo>
                    <a:pt x="656" y="436"/>
                  </a:lnTo>
                  <a:lnTo>
                    <a:pt x="670" y="444"/>
                  </a:lnTo>
                  <a:lnTo>
                    <a:pt x="686" y="453"/>
                  </a:lnTo>
                  <a:lnTo>
                    <a:pt x="700" y="461"/>
                  </a:lnTo>
                  <a:lnTo>
                    <a:pt x="714" y="472"/>
                  </a:lnTo>
                  <a:lnTo>
                    <a:pt x="728" y="483"/>
                  </a:lnTo>
                  <a:lnTo>
                    <a:pt x="742" y="495"/>
                  </a:lnTo>
                  <a:lnTo>
                    <a:pt x="756" y="509"/>
                  </a:lnTo>
                  <a:lnTo>
                    <a:pt x="770" y="523"/>
                  </a:lnTo>
                  <a:lnTo>
                    <a:pt x="600" y="949"/>
                  </a:lnTo>
                  <a:close/>
                  <a:moveTo>
                    <a:pt x="745" y="26"/>
                  </a:moveTo>
                  <a:lnTo>
                    <a:pt x="737" y="21"/>
                  </a:lnTo>
                  <a:lnTo>
                    <a:pt x="731" y="15"/>
                  </a:lnTo>
                  <a:lnTo>
                    <a:pt x="723" y="11"/>
                  </a:lnTo>
                  <a:lnTo>
                    <a:pt x="716" y="6"/>
                  </a:lnTo>
                  <a:lnTo>
                    <a:pt x="707" y="3"/>
                  </a:lnTo>
                  <a:lnTo>
                    <a:pt x="698" y="1"/>
                  </a:lnTo>
                  <a:lnTo>
                    <a:pt x="690" y="0"/>
                  </a:lnTo>
                  <a:lnTo>
                    <a:pt x="681" y="0"/>
                  </a:lnTo>
                  <a:lnTo>
                    <a:pt x="671" y="0"/>
                  </a:lnTo>
                  <a:lnTo>
                    <a:pt x="663" y="1"/>
                  </a:lnTo>
                  <a:lnTo>
                    <a:pt x="654" y="3"/>
                  </a:lnTo>
                  <a:lnTo>
                    <a:pt x="647" y="6"/>
                  </a:lnTo>
                  <a:lnTo>
                    <a:pt x="638" y="11"/>
                  </a:lnTo>
                  <a:lnTo>
                    <a:pt x="630" y="15"/>
                  </a:lnTo>
                  <a:lnTo>
                    <a:pt x="624" y="21"/>
                  </a:lnTo>
                  <a:lnTo>
                    <a:pt x="617" y="26"/>
                  </a:lnTo>
                  <a:lnTo>
                    <a:pt x="567" y="77"/>
                  </a:lnTo>
                  <a:lnTo>
                    <a:pt x="560" y="83"/>
                  </a:lnTo>
                  <a:lnTo>
                    <a:pt x="555" y="91"/>
                  </a:lnTo>
                  <a:lnTo>
                    <a:pt x="551" y="98"/>
                  </a:lnTo>
                  <a:lnTo>
                    <a:pt x="547" y="106"/>
                  </a:lnTo>
                  <a:lnTo>
                    <a:pt x="544" y="114"/>
                  </a:lnTo>
                  <a:lnTo>
                    <a:pt x="542" y="123"/>
                  </a:lnTo>
                  <a:lnTo>
                    <a:pt x="541" y="132"/>
                  </a:lnTo>
                  <a:lnTo>
                    <a:pt x="540" y="140"/>
                  </a:lnTo>
                  <a:lnTo>
                    <a:pt x="541" y="153"/>
                  </a:lnTo>
                  <a:lnTo>
                    <a:pt x="543" y="165"/>
                  </a:lnTo>
                  <a:lnTo>
                    <a:pt x="547" y="177"/>
                  </a:lnTo>
                  <a:lnTo>
                    <a:pt x="554" y="188"/>
                  </a:lnTo>
                  <a:lnTo>
                    <a:pt x="65" y="383"/>
                  </a:lnTo>
                  <a:lnTo>
                    <a:pt x="53" y="390"/>
                  </a:lnTo>
                  <a:lnTo>
                    <a:pt x="42" y="397"/>
                  </a:lnTo>
                  <a:lnTo>
                    <a:pt x="32" y="406"/>
                  </a:lnTo>
                  <a:lnTo>
                    <a:pt x="23" y="416"/>
                  </a:lnTo>
                  <a:lnTo>
                    <a:pt x="16" y="426"/>
                  </a:lnTo>
                  <a:lnTo>
                    <a:pt x="9" y="437"/>
                  </a:lnTo>
                  <a:lnTo>
                    <a:pt x="5" y="449"/>
                  </a:lnTo>
                  <a:lnTo>
                    <a:pt x="2" y="462"/>
                  </a:lnTo>
                  <a:lnTo>
                    <a:pt x="0" y="475"/>
                  </a:lnTo>
                  <a:lnTo>
                    <a:pt x="0" y="489"/>
                  </a:lnTo>
                  <a:lnTo>
                    <a:pt x="2" y="502"/>
                  </a:lnTo>
                  <a:lnTo>
                    <a:pt x="5" y="514"/>
                  </a:lnTo>
                  <a:lnTo>
                    <a:pt x="9" y="527"/>
                  </a:lnTo>
                  <a:lnTo>
                    <a:pt x="16" y="538"/>
                  </a:lnTo>
                  <a:lnTo>
                    <a:pt x="23" y="550"/>
                  </a:lnTo>
                  <a:lnTo>
                    <a:pt x="32" y="559"/>
                  </a:lnTo>
                  <a:lnTo>
                    <a:pt x="490" y="1012"/>
                  </a:lnTo>
                  <a:lnTo>
                    <a:pt x="498" y="1020"/>
                  </a:lnTo>
                  <a:lnTo>
                    <a:pt x="506" y="1025"/>
                  </a:lnTo>
                  <a:lnTo>
                    <a:pt x="515" y="1030"/>
                  </a:lnTo>
                  <a:lnTo>
                    <a:pt x="524" y="1035"/>
                  </a:lnTo>
                  <a:lnTo>
                    <a:pt x="533" y="1039"/>
                  </a:lnTo>
                  <a:lnTo>
                    <a:pt x="543" y="1041"/>
                  </a:lnTo>
                  <a:lnTo>
                    <a:pt x="553" y="1043"/>
                  </a:lnTo>
                  <a:lnTo>
                    <a:pt x="563" y="1043"/>
                  </a:lnTo>
                  <a:lnTo>
                    <a:pt x="565" y="1043"/>
                  </a:lnTo>
                  <a:lnTo>
                    <a:pt x="567" y="1043"/>
                  </a:lnTo>
                  <a:lnTo>
                    <a:pt x="578" y="1043"/>
                  </a:lnTo>
                  <a:lnTo>
                    <a:pt x="588" y="1041"/>
                  </a:lnTo>
                  <a:lnTo>
                    <a:pt x="601" y="1038"/>
                  </a:lnTo>
                  <a:lnTo>
                    <a:pt x="613" y="1032"/>
                  </a:lnTo>
                  <a:lnTo>
                    <a:pt x="625" y="1026"/>
                  </a:lnTo>
                  <a:lnTo>
                    <a:pt x="636" y="1018"/>
                  </a:lnTo>
                  <a:lnTo>
                    <a:pt x="646" y="1010"/>
                  </a:lnTo>
                  <a:lnTo>
                    <a:pt x="654" y="999"/>
                  </a:lnTo>
                  <a:lnTo>
                    <a:pt x="661" y="988"/>
                  </a:lnTo>
                  <a:lnTo>
                    <a:pt x="666" y="975"/>
                  </a:lnTo>
                  <a:lnTo>
                    <a:pt x="858" y="495"/>
                  </a:lnTo>
                  <a:lnTo>
                    <a:pt x="870" y="500"/>
                  </a:lnTo>
                  <a:lnTo>
                    <a:pt x="882" y="505"/>
                  </a:lnTo>
                  <a:lnTo>
                    <a:pt x="895" y="508"/>
                  </a:lnTo>
                  <a:lnTo>
                    <a:pt x="908" y="509"/>
                  </a:lnTo>
                  <a:lnTo>
                    <a:pt x="917" y="509"/>
                  </a:lnTo>
                  <a:lnTo>
                    <a:pt x="925" y="508"/>
                  </a:lnTo>
                  <a:lnTo>
                    <a:pt x="934" y="505"/>
                  </a:lnTo>
                  <a:lnTo>
                    <a:pt x="943" y="502"/>
                  </a:lnTo>
                  <a:lnTo>
                    <a:pt x="950" y="498"/>
                  </a:lnTo>
                  <a:lnTo>
                    <a:pt x="958" y="494"/>
                  </a:lnTo>
                  <a:lnTo>
                    <a:pt x="965" y="488"/>
                  </a:lnTo>
                  <a:lnTo>
                    <a:pt x="972" y="483"/>
                  </a:lnTo>
                  <a:lnTo>
                    <a:pt x="1022" y="432"/>
                  </a:lnTo>
                  <a:lnTo>
                    <a:pt x="1029" y="426"/>
                  </a:lnTo>
                  <a:lnTo>
                    <a:pt x="1033" y="418"/>
                  </a:lnTo>
                  <a:lnTo>
                    <a:pt x="1039" y="410"/>
                  </a:lnTo>
                  <a:lnTo>
                    <a:pt x="1042" y="403"/>
                  </a:lnTo>
                  <a:lnTo>
                    <a:pt x="1045" y="394"/>
                  </a:lnTo>
                  <a:lnTo>
                    <a:pt x="1047" y="386"/>
                  </a:lnTo>
                  <a:lnTo>
                    <a:pt x="1048" y="377"/>
                  </a:lnTo>
                  <a:lnTo>
                    <a:pt x="1049" y="368"/>
                  </a:lnTo>
                  <a:lnTo>
                    <a:pt x="1048" y="359"/>
                  </a:lnTo>
                  <a:lnTo>
                    <a:pt x="1047" y="350"/>
                  </a:lnTo>
                  <a:lnTo>
                    <a:pt x="1045" y="341"/>
                  </a:lnTo>
                  <a:lnTo>
                    <a:pt x="1042" y="334"/>
                  </a:lnTo>
                  <a:lnTo>
                    <a:pt x="1039" y="325"/>
                  </a:lnTo>
                  <a:lnTo>
                    <a:pt x="1034" y="318"/>
                  </a:lnTo>
                  <a:lnTo>
                    <a:pt x="1029" y="311"/>
                  </a:lnTo>
                  <a:lnTo>
                    <a:pt x="1022" y="305"/>
                  </a:lnTo>
                  <a:lnTo>
                    <a:pt x="745"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lumMod val="95000"/>
                  </a:schemeClr>
                </a:solidFill>
                <a:latin typeface="+mn-lt"/>
              </a:endParaRPr>
            </a:p>
          </p:txBody>
        </p:sp>
        <p:sp>
          <p:nvSpPr>
            <p:cNvPr id="31" name="Freeform 39"/>
            <p:cNvSpPr>
              <a:spLocks noEditPoints="1"/>
            </p:cNvSpPr>
            <p:nvPr/>
          </p:nvSpPr>
          <p:spPr bwMode="auto">
            <a:xfrm>
              <a:off x="7371556" y="3875484"/>
              <a:ext cx="71438" cy="71438"/>
            </a:xfrm>
            <a:custGeom>
              <a:avLst/>
              <a:gdLst>
                <a:gd name="T0" fmla="*/ 95 w 180"/>
                <a:gd name="T1" fmla="*/ 36 h 180"/>
                <a:gd name="T2" fmla="*/ 106 w 180"/>
                <a:gd name="T3" fmla="*/ 39 h 180"/>
                <a:gd name="T4" fmla="*/ 120 w 180"/>
                <a:gd name="T5" fmla="*/ 45 h 180"/>
                <a:gd name="T6" fmla="*/ 135 w 180"/>
                <a:gd name="T7" fmla="*/ 59 h 180"/>
                <a:gd name="T8" fmla="*/ 142 w 180"/>
                <a:gd name="T9" fmla="*/ 74 h 180"/>
                <a:gd name="T10" fmla="*/ 144 w 180"/>
                <a:gd name="T11" fmla="*/ 84 h 180"/>
                <a:gd name="T12" fmla="*/ 144 w 180"/>
                <a:gd name="T13" fmla="*/ 96 h 180"/>
                <a:gd name="T14" fmla="*/ 142 w 180"/>
                <a:gd name="T15" fmla="*/ 105 h 180"/>
                <a:gd name="T16" fmla="*/ 135 w 180"/>
                <a:gd name="T17" fmla="*/ 120 h 180"/>
                <a:gd name="T18" fmla="*/ 120 w 180"/>
                <a:gd name="T19" fmla="*/ 135 h 180"/>
                <a:gd name="T20" fmla="*/ 106 w 180"/>
                <a:gd name="T21" fmla="*/ 141 h 180"/>
                <a:gd name="T22" fmla="*/ 95 w 180"/>
                <a:gd name="T23" fmla="*/ 143 h 180"/>
                <a:gd name="T24" fmla="*/ 84 w 180"/>
                <a:gd name="T25" fmla="*/ 143 h 180"/>
                <a:gd name="T26" fmla="*/ 74 w 180"/>
                <a:gd name="T27" fmla="*/ 141 h 180"/>
                <a:gd name="T28" fmla="*/ 59 w 180"/>
                <a:gd name="T29" fmla="*/ 135 h 180"/>
                <a:gd name="T30" fmla="*/ 45 w 180"/>
                <a:gd name="T31" fmla="*/ 120 h 180"/>
                <a:gd name="T32" fmla="*/ 39 w 180"/>
                <a:gd name="T33" fmla="*/ 105 h 180"/>
                <a:gd name="T34" fmla="*/ 37 w 180"/>
                <a:gd name="T35" fmla="*/ 96 h 180"/>
                <a:gd name="T36" fmla="*/ 37 w 180"/>
                <a:gd name="T37" fmla="*/ 84 h 180"/>
                <a:gd name="T38" fmla="*/ 39 w 180"/>
                <a:gd name="T39" fmla="*/ 74 h 180"/>
                <a:gd name="T40" fmla="*/ 45 w 180"/>
                <a:gd name="T41" fmla="*/ 59 h 180"/>
                <a:gd name="T42" fmla="*/ 59 w 180"/>
                <a:gd name="T43" fmla="*/ 45 h 180"/>
                <a:gd name="T44" fmla="*/ 74 w 180"/>
                <a:gd name="T45" fmla="*/ 39 h 180"/>
                <a:gd name="T46" fmla="*/ 84 w 180"/>
                <a:gd name="T47" fmla="*/ 36 h 180"/>
                <a:gd name="T48" fmla="*/ 90 w 180"/>
                <a:gd name="T49" fmla="*/ 180 h 180"/>
                <a:gd name="T50" fmla="*/ 108 w 180"/>
                <a:gd name="T51" fmla="*/ 178 h 180"/>
                <a:gd name="T52" fmla="*/ 125 w 180"/>
                <a:gd name="T53" fmla="*/ 172 h 180"/>
                <a:gd name="T54" fmla="*/ 140 w 180"/>
                <a:gd name="T55" fmla="*/ 165 h 180"/>
                <a:gd name="T56" fmla="*/ 153 w 180"/>
                <a:gd name="T57" fmla="*/ 153 h 180"/>
                <a:gd name="T58" fmla="*/ 164 w 180"/>
                <a:gd name="T59" fmla="*/ 140 h 180"/>
                <a:gd name="T60" fmla="*/ 173 w 180"/>
                <a:gd name="T61" fmla="*/ 125 h 180"/>
                <a:gd name="T62" fmla="*/ 178 w 180"/>
                <a:gd name="T63" fmla="*/ 108 h 180"/>
                <a:gd name="T64" fmla="*/ 180 w 180"/>
                <a:gd name="T65" fmla="*/ 89 h 180"/>
                <a:gd name="T66" fmla="*/ 178 w 180"/>
                <a:gd name="T67" fmla="*/ 72 h 180"/>
                <a:gd name="T68" fmla="*/ 173 w 180"/>
                <a:gd name="T69" fmla="*/ 55 h 180"/>
                <a:gd name="T70" fmla="*/ 164 w 180"/>
                <a:gd name="T71" fmla="*/ 40 h 180"/>
                <a:gd name="T72" fmla="*/ 153 w 180"/>
                <a:gd name="T73" fmla="*/ 27 h 180"/>
                <a:gd name="T74" fmla="*/ 140 w 180"/>
                <a:gd name="T75" fmla="*/ 15 h 180"/>
                <a:gd name="T76" fmla="*/ 125 w 180"/>
                <a:gd name="T77" fmla="*/ 7 h 180"/>
                <a:gd name="T78" fmla="*/ 108 w 180"/>
                <a:gd name="T79" fmla="*/ 2 h 180"/>
                <a:gd name="T80" fmla="*/ 90 w 180"/>
                <a:gd name="T81" fmla="*/ 0 h 180"/>
                <a:gd name="T82" fmla="*/ 71 w 180"/>
                <a:gd name="T83" fmla="*/ 2 h 180"/>
                <a:gd name="T84" fmla="*/ 55 w 180"/>
                <a:gd name="T85" fmla="*/ 7 h 180"/>
                <a:gd name="T86" fmla="*/ 40 w 180"/>
                <a:gd name="T87" fmla="*/ 15 h 180"/>
                <a:gd name="T88" fmla="*/ 26 w 180"/>
                <a:gd name="T89" fmla="*/ 27 h 180"/>
                <a:gd name="T90" fmla="*/ 15 w 180"/>
                <a:gd name="T91" fmla="*/ 40 h 180"/>
                <a:gd name="T92" fmla="*/ 7 w 180"/>
                <a:gd name="T93" fmla="*/ 55 h 180"/>
                <a:gd name="T94" fmla="*/ 2 w 180"/>
                <a:gd name="T95" fmla="*/ 72 h 180"/>
                <a:gd name="T96" fmla="*/ 0 w 180"/>
                <a:gd name="T97" fmla="*/ 89 h 180"/>
                <a:gd name="T98" fmla="*/ 2 w 180"/>
                <a:gd name="T99" fmla="*/ 108 h 180"/>
                <a:gd name="T100" fmla="*/ 7 w 180"/>
                <a:gd name="T101" fmla="*/ 125 h 180"/>
                <a:gd name="T102" fmla="*/ 15 w 180"/>
                <a:gd name="T103" fmla="*/ 140 h 180"/>
                <a:gd name="T104" fmla="*/ 26 w 180"/>
                <a:gd name="T105" fmla="*/ 153 h 180"/>
                <a:gd name="T106" fmla="*/ 40 w 180"/>
                <a:gd name="T107" fmla="*/ 165 h 180"/>
                <a:gd name="T108" fmla="*/ 55 w 180"/>
                <a:gd name="T109" fmla="*/ 172 h 180"/>
                <a:gd name="T110" fmla="*/ 71 w 180"/>
                <a:gd name="T111" fmla="*/ 178 h 180"/>
                <a:gd name="T112" fmla="*/ 90 w 180"/>
                <a:gd name="T113"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0" h="180">
                  <a:moveTo>
                    <a:pt x="90" y="35"/>
                  </a:moveTo>
                  <a:lnTo>
                    <a:pt x="95" y="36"/>
                  </a:lnTo>
                  <a:lnTo>
                    <a:pt x="101" y="36"/>
                  </a:lnTo>
                  <a:lnTo>
                    <a:pt x="106" y="39"/>
                  </a:lnTo>
                  <a:lnTo>
                    <a:pt x="111" y="40"/>
                  </a:lnTo>
                  <a:lnTo>
                    <a:pt x="120" y="45"/>
                  </a:lnTo>
                  <a:lnTo>
                    <a:pt x="129" y="51"/>
                  </a:lnTo>
                  <a:lnTo>
                    <a:pt x="135" y="59"/>
                  </a:lnTo>
                  <a:lnTo>
                    <a:pt x="139" y="69"/>
                  </a:lnTo>
                  <a:lnTo>
                    <a:pt x="142" y="74"/>
                  </a:lnTo>
                  <a:lnTo>
                    <a:pt x="143" y="78"/>
                  </a:lnTo>
                  <a:lnTo>
                    <a:pt x="144" y="84"/>
                  </a:lnTo>
                  <a:lnTo>
                    <a:pt x="144" y="89"/>
                  </a:lnTo>
                  <a:lnTo>
                    <a:pt x="144" y="96"/>
                  </a:lnTo>
                  <a:lnTo>
                    <a:pt x="143" y="101"/>
                  </a:lnTo>
                  <a:lnTo>
                    <a:pt x="142" y="105"/>
                  </a:lnTo>
                  <a:lnTo>
                    <a:pt x="139" y="111"/>
                  </a:lnTo>
                  <a:lnTo>
                    <a:pt x="135" y="120"/>
                  </a:lnTo>
                  <a:lnTo>
                    <a:pt x="129" y="128"/>
                  </a:lnTo>
                  <a:lnTo>
                    <a:pt x="120" y="135"/>
                  </a:lnTo>
                  <a:lnTo>
                    <a:pt x="111" y="139"/>
                  </a:lnTo>
                  <a:lnTo>
                    <a:pt x="106" y="141"/>
                  </a:lnTo>
                  <a:lnTo>
                    <a:pt x="101" y="142"/>
                  </a:lnTo>
                  <a:lnTo>
                    <a:pt x="95" y="143"/>
                  </a:lnTo>
                  <a:lnTo>
                    <a:pt x="90" y="143"/>
                  </a:lnTo>
                  <a:lnTo>
                    <a:pt x="84" y="143"/>
                  </a:lnTo>
                  <a:lnTo>
                    <a:pt x="79" y="142"/>
                  </a:lnTo>
                  <a:lnTo>
                    <a:pt x="74" y="141"/>
                  </a:lnTo>
                  <a:lnTo>
                    <a:pt x="69" y="139"/>
                  </a:lnTo>
                  <a:lnTo>
                    <a:pt x="59" y="135"/>
                  </a:lnTo>
                  <a:lnTo>
                    <a:pt x="52" y="128"/>
                  </a:lnTo>
                  <a:lnTo>
                    <a:pt x="45" y="120"/>
                  </a:lnTo>
                  <a:lnTo>
                    <a:pt x="40" y="111"/>
                  </a:lnTo>
                  <a:lnTo>
                    <a:pt x="39" y="105"/>
                  </a:lnTo>
                  <a:lnTo>
                    <a:pt x="37" y="101"/>
                  </a:lnTo>
                  <a:lnTo>
                    <a:pt x="37" y="96"/>
                  </a:lnTo>
                  <a:lnTo>
                    <a:pt x="36" y="89"/>
                  </a:lnTo>
                  <a:lnTo>
                    <a:pt x="37" y="84"/>
                  </a:lnTo>
                  <a:lnTo>
                    <a:pt x="37" y="78"/>
                  </a:lnTo>
                  <a:lnTo>
                    <a:pt x="39" y="74"/>
                  </a:lnTo>
                  <a:lnTo>
                    <a:pt x="40" y="69"/>
                  </a:lnTo>
                  <a:lnTo>
                    <a:pt x="45" y="59"/>
                  </a:lnTo>
                  <a:lnTo>
                    <a:pt x="52" y="51"/>
                  </a:lnTo>
                  <a:lnTo>
                    <a:pt x="59" y="45"/>
                  </a:lnTo>
                  <a:lnTo>
                    <a:pt x="69" y="40"/>
                  </a:lnTo>
                  <a:lnTo>
                    <a:pt x="74" y="39"/>
                  </a:lnTo>
                  <a:lnTo>
                    <a:pt x="79" y="36"/>
                  </a:lnTo>
                  <a:lnTo>
                    <a:pt x="84" y="36"/>
                  </a:lnTo>
                  <a:lnTo>
                    <a:pt x="90" y="35"/>
                  </a:lnTo>
                  <a:close/>
                  <a:moveTo>
                    <a:pt x="90" y="180"/>
                  </a:moveTo>
                  <a:lnTo>
                    <a:pt x="99" y="179"/>
                  </a:lnTo>
                  <a:lnTo>
                    <a:pt x="108" y="178"/>
                  </a:lnTo>
                  <a:lnTo>
                    <a:pt x="117" y="176"/>
                  </a:lnTo>
                  <a:lnTo>
                    <a:pt x="125" y="172"/>
                  </a:lnTo>
                  <a:lnTo>
                    <a:pt x="133" y="169"/>
                  </a:lnTo>
                  <a:lnTo>
                    <a:pt x="140" y="165"/>
                  </a:lnTo>
                  <a:lnTo>
                    <a:pt x="147" y="159"/>
                  </a:lnTo>
                  <a:lnTo>
                    <a:pt x="153" y="153"/>
                  </a:lnTo>
                  <a:lnTo>
                    <a:pt x="160" y="147"/>
                  </a:lnTo>
                  <a:lnTo>
                    <a:pt x="164" y="140"/>
                  </a:lnTo>
                  <a:lnTo>
                    <a:pt x="170" y="132"/>
                  </a:lnTo>
                  <a:lnTo>
                    <a:pt x="173" y="125"/>
                  </a:lnTo>
                  <a:lnTo>
                    <a:pt x="176" y="116"/>
                  </a:lnTo>
                  <a:lnTo>
                    <a:pt x="178" y="108"/>
                  </a:lnTo>
                  <a:lnTo>
                    <a:pt x="179" y="99"/>
                  </a:lnTo>
                  <a:lnTo>
                    <a:pt x="180" y="89"/>
                  </a:lnTo>
                  <a:lnTo>
                    <a:pt x="179" y="81"/>
                  </a:lnTo>
                  <a:lnTo>
                    <a:pt x="178" y="72"/>
                  </a:lnTo>
                  <a:lnTo>
                    <a:pt x="176" y="63"/>
                  </a:lnTo>
                  <a:lnTo>
                    <a:pt x="173" y="55"/>
                  </a:lnTo>
                  <a:lnTo>
                    <a:pt x="170" y="47"/>
                  </a:lnTo>
                  <a:lnTo>
                    <a:pt x="164" y="40"/>
                  </a:lnTo>
                  <a:lnTo>
                    <a:pt x="160" y="32"/>
                  </a:lnTo>
                  <a:lnTo>
                    <a:pt x="153" y="27"/>
                  </a:lnTo>
                  <a:lnTo>
                    <a:pt x="147" y="20"/>
                  </a:lnTo>
                  <a:lnTo>
                    <a:pt x="140" y="15"/>
                  </a:lnTo>
                  <a:lnTo>
                    <a:pt x="133" y="10"/>
                  </a:lnTo>
                  <a:lnTo>
                    <a:pt x="125" y="7"/>
                  </a:lnTo>
                  <a:lnTo>
                    <a:pt x="117" y="4"/>
                  </a:lnTo>
                  <a:lnTo>
                    <a:pt x="108" y="2"/>
                  </a:lnTo>
                  <a:lnTo>
                    <a:pt x="99" y="1"/>
                  </a:lnTo>
                  <a:lnTo>
                    <a:pt x="90" y="0"/>
                  </a:lnTo>
                  <a:lnTo>
                    <a:pt x="81" y="1"/>
                  </a:lnTo>
                  <a:lnTo>
                    <a:pt x="71" y="2"/>
                  </a:lnTo>
                  <a:lnTo>
                    <a:pt x="64" y="4"/>
                  </a:lnTo>
                  <a:lnTo>
                    <a:pt x="55" y="7"/>
                  </a:lnTo>
                  <a:lnTo>
                    <a:pt x="48" y="10"/>
                  </a:lnTo>
                  <a:lnTo>
                    <a:pt x="40" y="15"/>
                  </a:lnTo>
                  <a:lnTo>
                    <a:pt x="32" y="20"/>
                  </a:lnTo>
                  <a:lnTo>
                    <a:pt x="26" y="27"/>
                  </a:lnTo>
                  <a:lnTo>
                    <a:pt x="21" y="32"/>
                  </a:lnTo>
                  <a:lnTo>
                    <a:pt x="15" y="40"/>
                  </a:lnTo>
                  <a:lnTo>
                    <a:pt x="11" y="47"/>
                  </a:lnTo>
                  <a:lnTo>
                    <a:pt x="7" y="55"/>
                  </a:lnTo>
                  <a:lnTo>
                    <a:pt x="4" y="63"/>
                  </a:lnTo>
                  <a:lnTo>
                    <a:pt x="2" y="72"/>
                  </a:lnTo>
                  <a:lnTo>
                    <a:pt x="0" y="81"/>
                  </a:lnTo>
                  <a:lnTo>
                    <a:pt x="0" y="89"/>
                  </a:lnTo>
                  <a:lnTo>
                    <a:pt x="0" y="99"/>
                  </a:lnTo>
                  <a:lnTo>
                    <a:pt x="2" y="108"/>
                  </a:lnTo>
                  <a:lnTo>
                    <a:pt x="4" y="116"/>
                  </a:lnTo>
                  <a:lnTo>
                    <a:pt x="7" y="125"/>
                  </a:lnTo>
                  <a:lnTo>
                    <a:pt x="11" y="132"/>
                  </a:lnTo>
                  <a:lnTo>
                    <a:pt x="15" y="140"/>
                  </a:lnTo>
                  <a:lnTo>
                    <a:pt x="21" y="147"/>
                  </a:lnTo>
                  <a:lnTo>
                    <a:pt x="26" y="153"/>
                  </a:lnTo>
                  <a:lnTo>
                    <a:pt x="32" y="159"/>
                  </a:lnTo>
                  <a:lnTo>
                    <a:pt x="40" y="165"/>
                  </a:lnTo>
                  <a:lnTo>
                    <a:pt x="48" y="169"/>
                  </a:lnTo>
                  <a:lnTo>
                    <a:pt x="55" y="172"/>
                  </a:lnTo>
                  <a:lnTo>
                    <a:pt x="64" y="176"/>
                  </a:lnTo>
                  <a:lnTo>
                    <a:pt x="71" y="178"/>
                  </a:lnTo>
                  <a:lnTo>
                    <a:pt x="81" y="179"/>
                  </a:lnTo>
                  <a:lnTo>
                    <a:pt x="90"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lumMod val="95000"/>
                  </a:schemeClr>
                </a:solidFill>
                <a:latin typeface="+mn-lt"/>
              </a:endParaRPr>
            </a:p>
          </p:txBody>
        </p:sp>
        <p:sp>
          <p:nvSpPr>
            <p:cNvPr id="32" name="Freeform 40"/>
            <p:cNvSpPr>
              <a:spLocks noEditPoints="1"/>
            </p:cNvSpPr>
            <p:nvPr/>
          </p:nvSpPr>
          <p:spPr bwMode="auto">
            <a:xfrm>
              <a:off x="7557294" y="3646884"/>
              <a:ext cx="71438" cy="71438"/>
            </a:xfrm>
            <a:custGeom>
              <a:avLst/>
              <a:gdLst>
                <a:gd name="T0" fmla="*/ 84 w 180"/>
                <a:gd name="T1" fmla="*/ 144 h 179"/>
                <a:gd name="T2" fmla="*/ 74 w 180"/>
                <a:gd name="T3" fmla="*/ 141 h 179"/>
                <a:gd name="T4" fmla="*/ 60 w 180"/>
                <a:gd name="T5" fmla="*/ 135 h 179"/>
                <a:gd name="T6" fmla="*/ 45 w 180"/>
                <a:gd name="T7" fmla="*/ 120 h 179"/>
                <a:gd name="T8" fmla="*/ 39 w 180"/>
                <a:gd name="T9" fmla="*/ 106 h 179"/>
                <a:gd name="T10" fmla="*/ 36 w 180"/>
                <a:gd name="T11" fmla="*/ 95 h 179"/>
                <a:gd name="T12" fmla="*/ 36 w 180"/>
                <a:gd name="T13" fmla="*/ 84 h 179"/>
                <a:gd name="T14" fmla="*/ 39 w 180"/>
                <a:gd name="T15" fmla="*/ 73 h 179"/>
                <a:gd name="T16" fmla="*/ 45 w 180"/>
                <a:gd name="T17" fmla="*/ 59 h 179"/>
                <a:gd name="T18" fmla="*/ 60 w 180"/>
                <a:gd name="T19" fmla="*/ 45 h 179"/>
                <a:gd name="T20" fmla="*/ 74 w 180"/>
                <a:gd name="T21" fmla="*/ 38 h 179"/>
                <a:gd name="T22" fmla="*/ 84 w 180"/>
                <a:gd name="T23" fmla="*/ 36 h 179"/>
                <a:gd name="T24" fmla="*/ 96 w 180"/>
                <a:gd name="T25" fmla="*/ 36 h 179"/>
                <a:gd name="T26" fmla="*/ 106 w 180"/>
                <a:gd name="T27" fmla="*/ 38 h 179"/>
                <a:gd name="T28" fmla="*/ 121 w 180"/>
                <a:gd name="T29" fmla="*/ 45 h 179"/>
                <a:gd name="T30" fmla="*/ 135 w 180"/>
                <a:gd name="T31" fmla="*/ 59 h 179"/>
                <a:gd name="T32" fmla="*/ 141 w 180"/>
                <a:gd name="T33" fmla="*/ 73 h 179"/>
                <a:gd name="T34" fmla="*/ 143 w 180"/>
                <a:gd name="T35" fmla="*/ 84 h 179"/>
                <a:gd name="T36" fmla="*/ 143 w 180"/>
                <a:gd name="T37" fmla="*/ 95 h 179"/>
                <a:gd name="T38" fmla="*/ 141 w 180"/>
                <a:gd name="T39" fmla="*/ 106 h 179"/>
                <a:gd name="T40" fmla="*/ 135 w 180"/>
                <a:gd name="T41" fmla="*/ 120 h 179"/>
                <a:gd name="T42" fmla="*/ 121 w 180"/>
                <a:gd name="T43" fmla="*/ 135 h 179"/>
                <a:gd name="T44" fmla="*/ 106 w 180"/>
                <a:gd name="T45" fmla="*/ 141 h 179"/>
                <a:gd name="T46" fmla="*/ 96 w 180"/>
                <a:gd name="T47" fmla="*/ 144 h 179"/>
                <a:gd name="T48" fmla="*/ 90 w 180"/>
                <a:gd name="T49" fmla="*/ 0 h 179"/>
                <a:gd name="T50" fmla="*/ 72 w 180"/>
                <a:gd name="T51" fmla="*/ 1 h 179"/>
                <a:gd name="T52" fmla="*/ 55 w 180"/>
                <a:gd name="T53" fmla="*/ 6 h 179"/>
                <a:gd name="T54" fmla="*/ 40 w 180"/>
                <a:gd name="T55" fmla="*/ 15 h 179"/>
                <a:gd name="T56" fmla="*/ 27 w 180"/>
                <a:gd name="T57" fmla="*/ 26 h 179"/>
                <a:gd name="T58" fmla="*/ 15 w 180"/>
                <a:gd name="T59" fmla="*/ 40 h 179"/>
                <a:gd name="T60" fmla="*/ 7 w 180"/>
                <a:gd name="T61" fmla="*/ 55 h 179"/>
                <a:gd name="T62" fmla="*/ 2 w 180"/>
                <a:gd name="T63" fmla="*/ 71 h 179"/>
                <a:gd name="T64" fmla="*/ 0 w 180"/>
                <a:gd name="T65" fmla="*/ 90 h 179"/>
                <a:gd name="T66" fmla="*/ 2 w 180"/>
                <a:gd name="T67" fmla="*/ 108 h 179"/>
                <a:gd name="T68" fmla="*/ 7 w 180"/>
                <a:gd name="T69" fmla="*/ 125 h 179"/>
                <a:gd name="T70" fmla="*/ 15 w 180"/>
                <a:gd name="T71" fmla="*/ 140 h 179"/>
                <a:gd name="T72" fmla="*/ 27 w 180"/>
                <a:gd name="T73" fmla="*/ 153 h 179"/>
                <a:gd name="T74" fmla="*/ 40 w 180"/>
                <a:gd name="T75" fmla="*/ 164 h 179"/>
                <a:gd name="T76" fmla="*/ 55 w 180"/>
                <a:gd name="T77" fmla="*/ 173 h 179"/>
                <a:gd name="T78" fmla="*/ 72 w 180"/>
                <a:gd name="T79" fmla="*/ 178 h 179"/>
                <a:gd name="T80" fmla="*/ 90 w 180"/>
                <a:gd name="T81" fmla="*/ 179 h 179"/>
                <a:gd name="T82" fmla="*/ 108 w 180"/>
                <a:gd name="T83" fmla="*/ 178 h 179"/>
                <a:gd name="T84" fmla="*/ 125 w 180"/>
                <a:gd name="T85" fmla="*/ 173 h 179"/>
                <a:gd name="T86" fmla="*/ 140 w 180"/>
                <a:gd name="T87" fmla="*/ 164 h 179"/>
                <a:gd name="T88" fmla="*/ 153 w 180"/>
                <a:gd name="T89" fmla="*/ 153 h 179"/>
                <a:gd name="T90" fmla="*/ 165 w 180"/>
                <a:gd name="T91" fmla="*/ 140 h 179"/>
                <a:gd name="T92" fmla="*/ 173 w 180"/>
                <a:gd name="T93" fmla="*/ 125 h 179"/>
                <a:gd name="T94" fmla="*/ 178 w 180"/>
                <a:gd name="T95" fmla="*/ 108 h 179"/>
                <a:gd name="T96" fmla="*/ 180 w 180"/>
                <a:gd name="T97" fmla="*/ 90 h 179"/>
                <a:gd name="T98" fmla="*/ 178 w 180"/>
                <a:gd name="T99" fmla="*/ 71 h 179"/>
                <a:gd name="T100" fmla="*/ 173 w 180"/>
                <a:gd name="T101" fmla="*/ 55 h 179"/>
                <a:gd name="T102" fmla="*/ 165 w 180"/>
                <a:gd name="T103" fmla="*/ 40 h 179"/>
                <a:gd name="T104" fmla="*/ 153 w 180"/>
                <a:gd name="T105" fmla="*/ 26 h 179"/>
                <a:gd name="T106" fmla="*/ 140 w 180"/>
                <a:gd name="T107" fmla="*/ 15 h 179"/>
                <a:gd name="T108" fmla="*/ 125 w 180"/>
                <a:gd name="T109" fmla="*/ 6 h 179"/>
                <a:gd name="T110" fmla="*/ 108 w 180"/>
                <a:gd name="T111" fmla="*/ 1 h 179"/>
                <a:gd name="T112" fmla="*/ 90 w 180"/>
                <a:gd name="T113"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0" h="179">
                  <a:moveTo>
                    <a:pt x="90" y="144"/>
                  </a:moveTo>
                  <a:lnTo>
                    <a:pt x="84" y="144"/>
                  </a:lnTo>
                  <a:lnTo>
                    <a:pt x="79" y="143"/>
                  </a:lnTo>
                  <a:lnTo>
                    <a:pt x="74" y="141"/>
                  </a:lnTo>
                  <a:lnTo>
                    <a:pt x="69" y="139"/>
                  </a:lnTo>
                  <a:lnTo>
                    <a:pt x="60" y="135"/>
                  </a:lnTo>
                  <a:lnTo>
                    <a:pt x="52" y="127"/>
                  </a:lnTo>
                  <a:lnTo>
                    <a:pt x="45" y="120"/>
                  </a:lnTo>
                  <a:lnTo>
                    <a:pt x="40" y="111"/>
                  </a:lnTo>
                  <a:lnTo>
                    <a:pt x="39" y="106"/>
                  </a:lnTo>
                  <a:lnTo>
                    <a:pt x="38" y="100"/>
                  </a:lnTo>
                  <a:lnTo>
                    <a:pt x="36" y="95"/>
                  </a:lnTo>
                  <a:lnTo>
                    <a:pt x="36" y="90"/>
                  </a:lnTo>
                  <a:lnTo>
                    <a:pt x="36" y="84"/>
                  </a:lnTo>
                  <a:lnTo>
                    <a:pt x="38" y="79"/>
                  </a:lnTo>
                  <a:lnTo>
                    <a:pt x="39" y="73"/>
                  </a:lnTo>
                  <a:lnTo>
                    <a:pt x="41" y="69"/>
                  </a:lnTo>
                  <a:lnTo>
                    <a:pt x="45" y="59"/>
                  </a:lnTo>
                  <a:lnTo>
                    <a:pt x="52" y="52"/>
                  </a:lnTo>
                  <a:lnTo>
                    <a:pt x="60" y="45"/>
                  </a:lnTo>
                  <a:lnTo>
                    <a:pt x="69" y="40"/>
                  </a:lnTo>
                  <a:lnTo>
                    <a:pt x="74" y="38"/>
                  </a:lnTo>
                  <a:lnTo>
                    <a:pt x="79" y="37"/>
                  </a:lnTo>
                  <a:lnTo>
                    <a:pt x="84" y="36"/>
                  </a:lnTo>
                  <a:lnTo>
                    <a:pt x="90" y="36"/>
                  </a:lnTo>
                  <a:lnTo>
                    <a:pt x="96" y="36"/>
                  </a:lnTo>
                  <a:lnTo>
                    <a:pt x="101" y="37"/>
                  </a:lnTo>
                  <a:lnTo>
                    <a:pt x="106" y="38"/>
                  </a:lnTo>
                  <a:lnTo>
                    <a:pt x="111" y="40"/>
                  </a:lnTo>
                  <a:lnTo>
                    <a:pt x="121" y="45"/>
                  </a:lnTo>
                  <a:lnTo>
                    <a:pt x="128" y="52"/>
                  </a:lnTo>
                  <a:lnTo>
                    <a:pt x="135" y="59"/>
                  </a:lnTo>
                  <a:lnTo>
                    <a:pt x="140" y="69"/>
                  </a:lnTo>
                  <a:lnTo>
                    <a:pt x="141" y="73"/>
                  </a:lnTo>
                  <a:lnTo>
                    <a:pt x="143" y="79"/>
                  </a:lnTo>
                  <a:lnTo>
                    <a:pt x="143" y="84"/>
                  </a:lnTo>
                  <a:lnTo>
                    <a:pt x="144" y="90"/>
                  </a:lnTo>
                  <a:lnTo>
                    <a:pt x="143" y="95"/>
                  </a:lnTo>
                  <a:lnTo>
                    <a:pt x="143" y="100"/>
                  </a:lnTo>
                  <a:lnTo>
                    <a:pt x="141" y="106"/>
                  </a:lnTo>
                  <a:lnTo>
                    <a:pt x="140" y="111"/>
                  </a:lnTo>
                  <a:lnTo>
                    <a:pt x="135" y="120"/>
                  </a:lnTo>
                  <a:lnTo>
                    <a:pt x="128" y="127"/>
                  </a:lnTo>
                  <a:lnTo>
                    <a:pt x="121" y="135"/>
                  </a:lnTo>
                  <a:lnTo>
                    <a:pt x="111" y="139"/>
                  </a:lnTo>
                  <a:lnTo>
                    <a:pt x="106" y="141"/>
                  </a:lnTo>
                  <a:lnTo>
                    <a:pt x="101" y="143"/>
                  </a:lnTo>
                  <a:lnTo>
                    <a:pt x="96" y="144"/>
                  </a:lnTo>
                  <a:lnTo>
                    <a:pt x="90" y="144"/>
                  </a:lnTo>
                  <a:close/>
                  <a:moveTo>
                    <a:pt x="90" y="0"/>
                  </a:moveTo>
                  <a:lnTo>
                    <a:pt x="81" y="0"/>
                  </a:lnTo>
                  <a:lnTo>
                    <a:pt x="72" y="1"/>
                  </a:lnTo>
                  <a:lnTo>
                    <a:pt x="63" y="4"/>
                  </a:lnTo>
                  <a:lnTo>
                    <a:pt x="55" y="6"/>
                  </a:lnTo>
                  <a:lnTo>
                    <a:pt x="47" y="11"/>
                  </a:lnTo>
                  <a:lnTo>
                    <a:pt x="40" y="15"/>
                  </a:lnTo>
                  <a:lnTo>
                    <a:pt x="33" y="21"/>
                  </a:lnTo>
                  <a:lnTo>
                    <a:pt x="27" y="26"/>
                  </a:lnTo>
                  <a:lnTo>
                    <a:pt x="20" y="32"/>
                  </a:lnTo>
                  <a:lnTo>
                    <a:pt x="15" y="40"/>
                  </a:lnTo>
                  <a:lnTo>
                    <a:pt x="11" y="46"/>
                  </a:lnTo>
                  <a:lnTo>
                    <a:pt x="7" y="55"/>
                  </a:lnTo>
                  <a:lnTo>
                    <a:pt x="4" y="63"/>
                  </a:lnTo>
                  <a:lnTo>
                    <a:pt x="2" y="71"/>
                  </a:lnTo>
                  <a:lnTo>
                    <a:pt x="1" y="81"/>
                  </a:lnTo>
                  <a:lnTo>
                    <a:pt x="0" y="90"/>
                  </a:lnTo>
                  <a:lnTo>
                    <a:pt x="1" y="99"/>
                  </a:lnTo>
                  <a:lnTo>
                    <a:pt x="2" y="108"/>
                  </a:lnTo>
                  <a:lnTo>
                    <a:pt x="4" y="117"/>
                  </a:lnTo>
                  <a:lnTo>
                    <a:pt x="7" y="125"/>
                  </a:lnTo>
                  <a:lnTo>
                    <a:pt x="11" y="133"/>
                  </a:lnTo>
                  <a:lnTo>
                    <a:pt x="15" y="140"/>
                  </a:lnTo>
                  <a:lnTo>
                    <a:pt x="20" y="147"/>
                  </a:lnTo>
                  <a:lnTo>
                    <a:pt x="27" y="153"/>
                  </a:lnTo>
                  <a:lnTo>
                    <a:pt x="33" y="159"/>
                  </a:lnTo>
                  <a:lnTo>
                    <a:pt x="40" y="164"/>
                  </a:lnTo>
                  <a:lnTo>
                    <a:pt x="47" y="168"/>
                  </a:lnTo>
                  <a:lnTo>
                    <a:pt x="55" y="173"/>
                  </a:lnTo>
                  <a:lnTo>
                    <a:pt x="63" y="176"/>
                  </a:lnTo>
                  <a:lnTo>
                    <a:pt x="72" y="178"/>
                  </a:lnTo>
                  <a:lnTo>
                    <a:pt x="81" y="179"/>
                  </a:lnTo>
                  <a:lnTo>
                    <a:pt x="90" y="179"/>
                  </a:lnTo>
                  <a:lnTo>
                    <a:pt x="99" y="179"/>
                  </a:lnTo>
                  <a:lnTo>
                    <a:pt x="108" y="178"/>
                  </a:lnTo>
                  <a:lnTo>
                    <a:pt x="116" y="176"/>
                  </a:lnTo>
                  <a:lnTo>
                    <a:pt x="125" y="173"/>
                  </a:lnTo>
                  <a:lnTo>
                    <a:pt x="133" y="168"/>
                  </a:lnTo>
                  <a:lnTo>
                    <a:pt x="140" y="164"/>
                  </a:lnTo>
                  <a:lnTo>
                    <a:pt x="148" y="159"/>
                  </a:lnTo>
                  <a:lnTo>
                    <a:pt x="153" y="153"/>
                  </a:lnTo>
                  <a:lnTo>
                    <a:pt x="160" y="147"/>
                  </a:lnTo>
                  <a:lnTo>
                    <a:pt x="165" y="140"/>
                  </a:lnTo>
                  <a:lnTo>
                    <a:pt x="169" y="133"/>
                  </a:lnTo>
                  <a:lnTo>
                    <a:pt x="173" y="125"/>
                  </a:lnTo>
                  <a:lnTo>
                    <a:pt x="176" y="117"/>
                  </a:lnTo>
                  <a:lnTo>
                    <a:pt x="178" y="108"/>
                  </a:lnTo>
                  <a:lnTo>
                    <a:pt x="179" y="99"/>
                  </a:lnTo>
                  <a:lnTo>
                    <a:pt x="180" y="90"/>
                  </a:lnTo>
                  <a:lnTo>
                    <a:pt x="179" y="81"/>
                  </a:lnTo>
                  <a:lnTo>
                    <a:pt x="178" y="71"/>
                  </a:lnTo>
                  <a:lnTo>
                    <a:pt x="176" y="63"/>
                  </a:lnTo>
                  <a:lnTo>
                    <a:pt x="173" y="55"/>
                  </a:lnTo>
                  <a:lnTo>
                    <a:pt x="169" y="46"/>
                  </a:lnTo>
                  <a:lnTo>
                    <a:pt x="165" y="40"/>
                  </a:lnTo>
                  <a:lnTo>
                    <a:pt x="160" y="32"/>
                  </a:lnTo>
                  <a:lnTo>
                    <a:pt x="153" y="26"/>
                  </a:lnTo>
                  <a:lnTo>
                    <a:pt x="148" y="21"/>
                  </a:lnTo>
                  <a:lnTo>
                    <a:pt x="140" y="15"/>
                  </a:lnTo>
                  <a:lnTo>
                    <a:pt x="133" y="11"/>
                  </a:lnTo>
                  <a:lnTo>
                    <a:pt x="125" y="6"/>
                  </a:lnTo>
                  <a:lnTo>
                    <a:pt x="116" y="4"/>
                  </a:lnTo>
                  <a:lnTo>
                    <a:pt x="108" y="1"/>
                  </a:lnTo>
                  <a:lnTo>
                    <a:pt x="99" y="0"/>
                  </a:lnTo>
                  <a:lnTo>
                    <a:pt x="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lumMod val="95000"/>
                  </a:schemeClr>
                </a:solidFill>
                <a:latin typeface="+mn-lt"/>
              </a:endParaRPr>
            </a:p>
          </p:txBody>
        </p:sp>
        <p:sp>
          <p:nvSpPr>
            <p:cNvPr id="33" name="Freeform 41"/>
            <p:cNvSpPr>
              <a:spLocks noEditPoints="1"/>
            </p:cNvSpPr>
            <p:nvPr/>
          </p:nvSpPr>
          <p:spPr bwMode="auto">
            <a:xfrm>
              <a:off x="7285831" y="3861197"/>
              <a:ext cx="57150" cy="57150"/>
            </a:xfrm>
            <a:custGeom>
              <a:avLst/>
              <a:gdLst>
                <a:gd name="T0" fmla="*/ 79 w 144"/>
                <a:gd name="T1" fmla="*/ 37 h 144"/>
                <a:gd name="T2" fmla="*/ 92 w 144"/>
                <a:gd name="T3" fmla="*/ 42 h 144"/>
                <a:gd name="T4" fmla="*/ 102 w 144"/>
                <a:gd name="T5" fmla="*/ 52 h 144"/>
                <a:gd name="T6" fmla="*/ 107 w 144"/>
                <a:gd name="T7" fmla="*/ 65 h 144"/>
                <a:gd name="T8" fmla="*/ 107 w 144"/>
                <a:gd name="T9" fmla="*/ 79 h 144"/>
                <a:gd name="T10" fmla="*/ 102 w 144"/>
                <a:gd name="T11" fmla="*/ 92 h 144"/>
                <a:gd name="T12" fmla="*/ 92 w 144"/>
                <a:gd name="T13" fmla="*/ 102 h 144"/>
                <a:gd name="T14" fmla="*/ 79 w 144"/>
                <a:gd name="T15" fmla="*/ 107 h 144"/>
                <a:gd name="T16" fmla="*/ 65 w 144"/>
                <a:gd name="T17" fmla="*/ 107 h 144"/>
                <a:gd name="T18" fmla="*/ 52 w 144"/>
                <a:gd name="T19" fmla="*/ 102 h 144"/>
                <a:gd name="T20" fmla="*/ 42 w 144"/>
                <a:gd name="T21" fmla="*/ 92 h 144"/>
                <a:gd name="T22" fmla="*/ 37 w 144"/>
                <a:gd name="T23" fmla="*/ 79 h 144"/>
                <a:gd name="T24" fmla="*/ 37 w 144"/>
                <a:gd name="T25" fmla="*/ 65 h 144"/>
                <a:gd name="T26" fmla="*/ 42 w 144"/>
                <a:gd name="T27" fmla="*/ 52 h 144"/>
                <a:gd name="T28" fmla="*/ 52 w 144"/>
                <a:gd name="T29" fmla="*/ 42 h 144"/>
                <a:gd name="T30" fmla="*/ 65 w 144"/>
                <a:gd name="T31" fmla="*/ 37 h 144"/>
                <a:gd name="T32" fmla="*/ 72 w 144"/>
                <a:gd name="T33" fmla="*/ 36 h 144"/>
                <a:gd name="T34" fmla="*/ 0 w 144"/>
                <a:gd name="T35" fmla="*/ 79 h 144"/>
                <a:gd name="T36" fmla="*/ 3 w 144"/>
                <a:gd name="T37" fmla="*/ 93 h 144"/>
                <a:gd name="T38" fmla="*/ 9 w 144"/>
                <a:gd name="T39" fmla="*/ 106 h 144"/>
                <a:gd name="T40" fmla="*/ 16 w 144"/>
                <a:gd name="T41" fmla="*/ 118 h 144"/>
                <a:gd name="T42" fmla="*/ 26 w 144"/>
                <a:gd name="T43" fmla="*/ 127 h 144"/>
                <a:gd name="T44" fmla="*/ 38 w 144"/>
                <a:gd name="T45" fmla="*/ 135 h 144"/>
                <a:gd name="T46" fmla="*/ 51 w 144"/>
                <a:gd name="T47" fmla="*/ 140 h 144"/>
                <a:gd name="T48" fmla="*/ 65 w 144"/>
                <a:gd name="T49" fmla="*/ 144 h 144"/>
                <a:gd name="T50" fmla="*/ 79 w 144"/>
                <a:gd name="T51" fmla="*/ 144 h 144"/>
                <a:gd name="T52" fmla="*/ 93 w 144"/>
                <a:gd name="T53" fmla="*/ 140 h 144"/>
                <a:gd name="T54" fmla="*/ 106 w 144"/>
                <a:gd name="T55" fmla="*/ 135 h 144"/>
                <a:gd name="T56" fmla="*/ 118 w 144"/>
                <a:gd name="T57" fmla="*/ 127 h 144"/>
                <a:gd name="T58" fmla="*/ 128 w 144"/>
                <a:gd name="T59" fmla="*/ 118 h 144"/>
                <a:gd name="T60" fmla="*/ 135 w 144"/>
                <a:gd name="T61" fmla="*/ 106 h 144"/>
                <a:gd name="T62" fmla="*/ 140 w 144"/>
                <a:gd name="T63" fmla="*/ 93 h 144"/>
                <a:gd name="T64" fmla="*/ 144 w 144"/>
                <a:gd name="T65" fmla="*/ 79 h 144"/>
                <a:gd name="T66" fmla="*/ 144 w 144"/>
                <a:gd name="T67" fmla="*/ 65 h 144"/>
                <a:gd name="T68" fmla="*/ 140 w 144"/>
                <a:gd name="T69" fmla="*/ 51 h 144"/>
                <a:gd name="T70" fmla="*/ 135 w 144"/>
                <a:gd name="T71" fmla="*/ 38 h 144"/>
                <a:gd name="T72" fmla="*/ 128 w 144"/>
                <a:gd name="T73" fmla="*/ 26 h 144"/>
                <a:gd name="T74" fmla="*/ 118 w 144"/>
                <a:gd name="T75" fmla="*/ 16 h 144"/>
                <a:gd name="T76" fmla="*/ 106 w 144"/>
                <a:gd name="T77" fmla="*/ 9 h 144"/>
                <a:gd name="T78" fmla="*/ 93 w 144"/>
                <a:gd name="T79" fmla="*/ 3 h 144"/>
                <a:gd name="T80" fmla="*/ 79 w 144"/>
                <a:gd name="T81" fmla="*/ 0 h 144"/>
                <a:gd name="T82" fmla="*/ 65 w 144"/>
                <a:gd name="T83" fmla="*/ 0 h 144"/>
                <a:gd name="T84" fmla="*/ 51 w 144"/>
                <a:gd name="T85" fmla="*/ 3 h 144"/>
                <a:gd name="T86" fmla="*/ 38 w 144"/>
                <a:gd name="T87" fmla="*/ 9 h 144"/>
                <a:gd name="T88" fmla="*/ 26 w 144"/>
                <a:gd name="T89" fmla="*/ 16 h 144"/>
                <a:gd name="T90" fmla="*/ 16 w 144"/>
                <a:gd name="T91" fmla="*/ 26 h 144"/>
                <a:gd name="T92" fmla="*/ 9 w 144"/>
                <a:gd name="T93" fmla="*/ 38 h 144"/>
                <a:gd name="T94" fmla="*/ 3 w 144"/>
                <a:gd name="T95" fmla="*/ 51 h 144"/>
                <a:gd name="T96" fmla="*/ 0 w 144"/>
                <a:gd name="T97" fmla="*/ 65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4" h="144">
                  <a:moveTo>
                    <a:pt x="72" y="36"/>
                  </a:moveTo>
                  <a:lnTo>
                    <a:pt x="79" y="37"/>
                  </a:lnTo>
                  <a:lnTo>
                    <a:pt x="86" y="39"/>
                  </a:lnTo>
                  <a:lnTo>
                    <a:pt x="92" y="42"/>
                  </a:lnTo>
                  <a:lnTo>
                    <a:pt x="97" y="46"/>
                  </a:lnTo>
                  <a:lnTo>
                    <a:pt x="102" y="52"/>
                  </a:lnTo>
                  <a:lnTo>
                    <a:pt x="105" y="57"/>
                  </a:lnTo>
                  <a:lnTo>
                    <a:pt x="107" y="65"/>
                  </a:lnTo>
                  <a:lnTo>
                    <a:pt x="108" y="71"/>
                  </a:lnTo>
                  <a:lnTo>
                    <a:pt x="107" y="79"/>
                  </a:lnTo>
                  <a:lnTo>
                    <a:pt x="105" y="85"/>
                  </a:lnTo>
                  <a:lnTo>
                    <a:pt x="102" y="92"/>
                  </a:lnTo>
                  <a:lnTo>
                    <a:pt x="97" y="97"/>
                  </a:lnTo>
                  <a:lnTo>
                    <a:pt x="92" y="102"/>
                  </a:lnTo>
                  <a:lnTo>
                    <a:pt x="86" y="105"/>
                  </a:lnTo>
                  <a:lnTo>
                    <a:pt x="79" y="107"/>
                  </a:lnTo>
                  <a:lnTo>
                    <a:pt x="72" y="108"/>
                  </a:lnTo>
                  <a:lnTo>
                    <a:pt x="65" y="107"/>
                  </a:lnTo>
                  <a:lnTo>
                    <a:pt x="58" y="105"/>
                  </a:lnTo>
                  <a:lnTo>
                    <a:pt x="52" y="102"/>
                  </a:lnTo>
                  <a:lnTo>
                    <a:pt x="47" y="97"/>
                  </a:lnTo>
                  <a:lnTo>
                    <a:pt x="42" y="92"/>
                  </a:lnTo>
                  <a:lnTo>
                    <a:pt x="39" y="85"/>
                  </a:lnTo>
                  <a:lnTo>
                    <a:pt x="37" y="79"/>
                  </a:lnTo>
                  <a:lnTo>
                    <a:pt x="36" y="71"/>
                  </a:lnTo>
                  <a:lnTo>
                    <a:pt x="37" y="65"/>
                  </a:lnTo>
                  <a:lnTo>
                    <a:pt x="39" y="57"/>
                  </a:lnTo>
                  <a:lnTo>
                    <a:pt x="42" y="52"/>
                  </a:lnTo>
                  <a:lnTo>
                    <a:pt x="47" y="46"/>
                  </a:lnTo>
                  <a:lnTo>
                    <a:pt x="52" y="42"/>
                  </a:lnTo>
                  <a:lnTo>
                    <a:pt x="58" y="39"/>
                  </a:lnTo>
                  <a:lnTo>
                    <a:pt x="65" y="37"/>
                  </a:lnTo>
                  <a:lnTo>
                    <a:pt x="72" y="36"/>
                  </a:lnTo>
                  <a:lnTo>
                    <a:pt x="72" y="36"/>
                  </a:lnTo>
                  <a:close/>
                  <a:moveTo>
                    <a:pt x="0" y="71"/>
                  </a:moveTo>
                  <a:lnTo>
                    <a:pt x="0" y="79"/>
                  </a:lnTo>
                  <a:lnTo>
                    <a:pt x="1" y="86"/>
                  </a:lnTo>
                  <a:lnTo>
                    <a:pt x="3" y="93"/>
                  </a:lnTo>
                  <a:lnTo>
                    <a:pt x="5" y="99"/>
                  </a:lnTo>
                  <a:lnTo>
                    <a:pt x="9" y="106"/>
                  </a:lnTo>
                  <a:lnTo>
                    <a:pt x="12" y="112"/>
                  </a:lnTo>
                  <a:lnTo>
                    <a:pt x="16" y="118"/>
                  </a:lnTo>
                  <a:lnTo>
                    <a:pt x="21" y="123"/>
                  </a:lnTo>
                  <a:lnTo>
                    <a:pt x="26" y="127"/>
                  </a:lnTo>
                  <a:lnTo>
                    <a:pt x="31" y="132"/>
                  </a:lnTo>
                  <a:lnTo>
                    <a:pt x="38" y="135"/>
                  </a:lnTo>
                  <a:lnTo>
                    <a:pt x="44" y="138"/>
                  </a:lnTo>
                  <a:lnTo>
                    <a:pt x="51" y="140"/>
                  </a:lnTo>
                  <a:lnTo>
                    <a:pt x="57" y="143"/>
                  </a:lnTo>
                  <a:lnTo>
                    <a:pt x="65" y="144"/>
                  </a:lnTo>
                  <a:lnTo>
                    <a:pt x="72" y="144"/>
                  </a:lnTo>
                  <a:lnTo>
                    <a:pt x="79" y="144"/>
                  </a:lnTo>
                  <a:lnTo>
                    <a:pt x="86" y="143"/>
                  </a:lnTo>
                  <a:lnTo>
                    <a:pt x="93" y="140"/>
                  </a:lnTo>
                  <a:lnTo>
                    <a:pt x="101" y="138"/>
                  </a:lnTo>
                  <a:lnTo>
                    <a:pt x="106" y="135"/>
                  </a:lnTo>
                  <a:lnTo>
                    <a:pt x="112" y="132"/>
                  </a:lnTo>
                  <a:lnTo>
                    <a:pt x="118" y="127"/>
                  </a:lnTo>
                  <a:lnTo>
                    <a:pt x="123" y="123"/>
                  </a:lnTo>
                  <a:lnTo>
                    <a:pt x="128" y="118"/>
                  </a:lnTo>
                  <a:lnTo>
                    <a:pt x="132" y="112"/>
                  </a:lnTo>
                  <a:lnTo>
                    <a:pt x="135" y="106"/>
                  </a:lnTo>
                  <a:lnTo>
                    <a:pt x="138" y="99"/>
                  </a:lnTo>
                  <a:lnTo>
                    <a:pt x="140" y="93"/>
                  </a:lnTo>
                  <a:lnTo>
                    <a:pt x="143" y="86"/>
                  </a:lnTo>
                  <a:lnTo>
                    <a:pt x="144" y="79"/>
                  </a:lnTo>
                  <a:lnTo>
                    <a:pt x="144" y="71"/>
                  </a:lnTo>
                  <a:lnTo>
                    <a:pt x="144" y="65"/>
                  </a:lnTo>
                  <a:lnTo>
                    <a:pt x="143" y="57"/>
                  </a:lnTo>
                  <a:lnTo>
                    <a:pt x="140" y="51"/>
                  </a:lnTo>
                  <a:lnTo>
                    <a:pt x="138" y="43"/>
                  </a:lnTo>
                  <a:lnTo>
                    <a:pt x="135" y="38"/>
                  </a:lnTo>
                  <a:lnTo>
                    <a:pt x="132" y="31"/>
                  </a:lnTo>
                  <a:lnTo>
                    <a:pt x="128" y="26"/>
                  </a:lnTo>
                  <a:lnTo>
                    <a:pt x="123" y="21"/>
                  </a:lnTo>
                  <a:lnTo>
                    <a:pt x="118" y="16"/>
                  </a:lnTo>
                  <a:lnTo>
                    <a:pt x="112" y="12"/>
                  </a:lnTo>
                  <a:lnTo>
                    <a:pt x="106" y="9"/>
                  </a:lnTo>
                  <a:lnTo>
                    <a:pt x="101" y="5"/>
                  </a:lnTo>
                  <a:lnTo>
                    <a:pt x="93" y="3"/>
                  </a:lnTo>
                  <a:lnTo>
                    <a:pt x="86" y="1"/>
                  </a:lnTo>
                  <a:lnTo>
                    <a:pt x="79" y="0"/>
                  </a:lnTo>
                  <a:lnTo>
                    <a:pt x="72" y="0"/>
                  </a:lnTo>
                  <a:lnTo>
                    <a:pt x="65" y="0"/>
                  </a:lnTo>
                  <a:lnTo>
                    <a:pt x="57" y="1"/>
                  </a:lnTo>
                  <a:lnTo>
                    <a:pt x="51" y="3"/>
                  </a:lnTo>
                  <a:lnTo>
                    <a:pt x="44" y="5"/>
                  </a:lnTo>
                  <a:lnTo>
                    <a:pt x="38" y="9"/>
                  </a:lnTo>
                  <a:lnTo>
                    <a:pt x="31" y="12"/>
                  </a:lnTo>
                  <a:lnTo>
                    <a:pt x="26" y="16"/>
                  </a:lnTo>
                  <a:lnTo>
                    <a:pt x="21" y="21"/>
                  </a:lnTo>
                  <a:lnTo>
                    <a:pt x="16" y="26"/>
                  </a:lnTo>
                  <a:lnTo>
                    <a:pt x="12" y="31"/>
                  </a:lnTo>
                  <a:lnTo>
                    <a:pt x="9" y="38"/>
                  </a:lnTo>
                  <a:lnTo>
                    <a:pt x="5" y="43"/>
                  </a:lnTo>
                  <a:lnTo>
                    <a:pt x="3" y="51"/>
                  </a:lnTo>
                  <a:lnTo>
                    <a:pt x="1" y="57"/>
                  </a:lnTo>
                  <a:lnTo>
                    <a:pt x="0" y="65"/>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lumMod val="95000"/>
                  </a:schemeClr>
                </a:solidFill>
                <a:latin typeface="+mn-lt"/>
              </a:endParaRPr>
            </a:p>
          </p:txBody>
        </p:sp>
        <p:sp>
          <p:nvSpPr>
            <p:cNvPr id="34" name="Freeform 42"/>
            <p:cNvSpPr>
              <a:spLocks/>
            </p:cNvSpPr>
            <p:nvPr/>
          </p:nvSpPr>
          <p:spPr bwMode="auto">
            <a:xfrm>
              <a:off x="7342981" y="3961209"/>
              <a:ext cx="28575" cy="28575"/>
            </a:xfrm>
            <a:custGeom>
              <a:avLst/>
              <a:gdLst>
                <a:gd name="T0" fmla="*/ 36 w 72"/>
                <a:gd name="T1" fmla="*/ 72 h 72"/>
                <a:gd name="T2" fmla="*/ 43 w 72"/>
                <a:gd name="T3" fmla="*/ 71 h 72"/>
                <a:gd name="T4" fmla="*/ 50 w 72"/>
                <a:gd name="T5" fmla="*/ 69 h 72"/>
                <a:gd name="T6" fmla="*/ 56 w 72"/>
                <a:gd name="T7" fmla="*/ 66 h 72"/>
                <a:gd name="T8" fmla="*/ 61 w 72"/>
                <a:gd name="T9" fmla="*/ 61 h 72"/>
                <a:gd name="T10" fmla="*/ 66 w 72"/>
                <a:gd name="T11" fmla="*/ 56 h 72"/>
                <a:gd name="T12" fmla="*/ 69 w 72"/>
                <a:gd name="T13" fmla="*/ 49 h 72"/>
                <a:gd name="T14" fmla="*/ 71 w 72"/>
                <a:gd name="T15" fmla="*/ 43 h 72"/>
                <a:gd name="T16" fmla="*/ 72 w 72"/>
                <a:gd name="T17" fmla="*/ 35 h 72"/>
                <a:gd name="T18" fmla="*/ 71 w 72"/>
                <a:gd name="T19" fmla="*/ 29 h 72"/>
                <a:gd name="T20" fmla="*/ 69 w 72"/>
                <a:gd name="T21" fmla="*/ 21 h 72"/>
                <a:gd name="T22" fmla="*/ 66 w 72"/>
                <a:gd name="T23" fmla="*/ 16 h 72"/>
                <a:gd name="T24" fmla="*/ 61 w 72"/>
                <a:gd name="T25" fmla="*/ 10 h 72"/>
                <a:gd name="T26" fmla="*/ 56 w 72"/>
                <a:gd name="T27" fmla="*/ 6 h 72"/>
                <a:gd name="T28" fmla="*/ 50 w 72"/>
                <a:gd name="T29" fmla="*/ 3 h 72"/>
                <a:gd name="T30" fmla="*/ 43 w 72"/>
                <a:gd name="T31" fmla="*/ 1 h 72"/>
                <a:gd name="T32" fmla="*/ 36 w 72"/>
                <a:gd name="T33" fmla="*/ 0 h 72"/>
                <a:gd name="T34" fmla="*/ 29 w 72"/>
                <a:gd name="T35" fmla="*/ 1 h 72"/>
                <a:gd name="T36" fmla="*/ 22 w 72"/>
                <a:gd name="T37" fmla="*/ 3 h 72"/>
                <a:gd name="T38" fmla="*/ 16 w 72"/>
                <a:gd name="T39" fmla="*/ 6 h 72"/>
                <a:gd name="T40" fmla="*/ 11 w 72"/>
                <a:gd name="T41" fmla="*/ 10 h 72"/>
                <a:gd name="T42" fmla="*/ 6 w 72"/>
                <a:gd name="T43" fmla="*/ 16 h 72"/>
                <a:gd name="T44" fmla="*/ 3 w 72"/>
                <a:gd name="T45" fmla="*/ 21 h 72"/>
                <a:gd name="T46" fmla="*/ 1 w 72"/>
                <a:gd name="T47" fmla="*/ 29 h 72"/>
                <a:gd name="T48" fmla="*/ 0 w 72"/>
                <a:gd name="T49" fmla="*/ 35 h 72"/>
                <a:gd name="T50" fmla="*/ 1 w 72"/>
                <a:gd name="T51" fmla="*/ 43 h 72"/>
                <a:gd name="T52" fmla="*/ 3 w 72"/>
                <a:gd name="T53" fmla="*/ 49 h 72"/>
                <a:gd name="T54" fmla="*/ 6 w 72"/>
                <a:gd name="T55" fmla="*/ 56 h 72"/>
                <a:gd name="T56" fmla="*/ 11 w 72"/>
                <a:gd name="T57" fmla="*/ 61 h 72"/>
                <a:gd name="T58" fmla="*/ 16 w 72"/>
                <a:gd name="T59" fmla="*/ 66 h 72"/>
                <a:gd name="T60" fmla="*/ 22 w 72"/>
                <a:gd name="T61" fmla="*/ 69 h 72"/>
                <a:gd name="T62" fmla="*/ 29 w 72"/>
                <a:gd name="T63" fmla="*/ 71 h 72"/>
                <a:gd name="T64" fmla="*/ 36 w 72"/>
                <a:gd name="T65"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72">
                  <a:moveTo>
                    <a:pt x="36" y="72"/>
                  </a:moveTo>
                  <a:lnTo>
                    <a:pt x="43" y="71"/>
                  </a:lnTo>
                  <a:lnTo>
                    <a:pt x="50" y="69"/>
                  </a:lnTo>
                  <a:lnTo>
                    <a:pt x="56" y="66"/>
                  </a:lnTo>
                  <a:lnTo>
                    <a:pt x="61" y="61"/>
                  </a:lnTo>
                  <a:lnTo>
                    <a:pt x="66" y="56"/>
                  </a:lnTo>
                  <a:lnTo>
                    <a:pt x="69" y="49"/>
                  </a:lnTo>
                  <a:lnTo>
                    <a:pt x="71" y="43"/>
                  </a:lnTo>
                  <a:lnTo>
                    <a:pt x="72" y="35"/>
                  </a:lnTo>
                  <a:lnTo>
                    <a:pt x="71" y="29"/>
                  </a:lnTo>
                  <a:lnTo>
                    <a:pt x="69" y="21"/>
                  </a:lnTo>
                  <a:lnTo>
                    <a:pt x="66" y="16"/>
                  </a:lnTo>
                  <a:lnTo>
                    <a:pt x="61" y="10"/>
                  </a:lnTo>
                  <a:lnTo>
                    <a:pt x="56" y="6"/>
                  </a:lnTo>
                  <a:lnTo>
                    <a:pt x="50" y="3"/>
                  </a:lnTo>
                  <a:lnTo>
                    <a:pt x="43" y="1"/>
                  </a:lnTo>
                  <a:lnTo>
                    <a:pt x="36" y="0"/>
                  </a:lnTo>
                  <a:lnTo>
                    <a:pt x="29" y="1"/>
                  </a:lnTo>
                  <a:lnTo>
                    <a:pt x="22" y="3"/>
                  </a:lnTo>
                  <a:lnTo>
                    <a:pt x="16" y="6"/>
                  </a:lnTo>
                  <a:lnTo>
                    <a:pt x="11" y="10"/>
                  </a:lnTo>
                  <a:lnTo>
                    <a:pt x="6" y="16"/>
                  </a:lnTo>
                  <a:lnTo>
                    <a:pt x="3" y="21"/>
                  </a:lnTo>
                  <a:lnTo>
                    <a:pt x="1" y="29"/>
                  </a:lnTo>
                  <a:lnTo>
                    <a:pt x="0" y="35"/>
                  </a:lnTo>
                  <a:lnTo>
                    <a:pt x="1" y="43"/>
                  </a:lnTo>
                  <a:lnTo>
                    <a:pt x="3" y="49"/>
                  </a:lnTo>
                  <a:lnTo>
                    <a:pt x="6" y="56"/>
                  </a:lnTo>
                  <a:lnTo>
                    <a:pt x="11" y="61"/>
                  </a:lnTo>
                  <a:lnTo>
                    <a:pt x="16" y="66"/>
                  </a:lnTo>
                  <a:lnTo>
                    <a:pt x="22" y="69"/>
                  </a:lnTo>
                  <a:lnTo>
                    <a:pt x="29" y="71"/>
                  </a:lnTo>
                  <a:lnTo>
                    <a:pt x="3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lumMod val="95000"/>
                  </a:schemeClr>
                </a:solidFill>
                <a:latin typeface="+mn-lt"/>
              </a:endParaRPr>
            </a:p>
          </p:txBody>
        </p:sp>
        <p:sp>
          <p:nvSpPr>
            <p:cNvPr id="35" name="Freeform 43"/>
            <p:cNvSpPr>
              <a:spLocks/>
            </p:cNvSpPr>
            <p:nvPr/>
          </p:nvSpPr>
          <p:spPr bwMode="auto">
            <a:xfrm>
              <a:off x="7571581" y="3746897"/>
              <a:ext cx="28575" cy="28575"/>
            </a:xfrm>
            <a:custGeom>
              <a:avLst/>
              <a:gdLst>
                <a:gd name="T0" fmla="*/ 36 w 72"/>
                <a:gd name="T1" fmla="*/ 0 h 72"/>
                <a:gd name="T2" fmla="*/ 29 w 72"/>
                <a:gd name="T3" fmla="*/ 1 h 72"/>
                <a:gd name="T4" fmla="*/ 22 w 72"/>
                <a:gd name="T5" fmla="*/ 3 h 72"/>
                <a:gd name="T6" fmla="*/ 16 w 72"/>
                <a:gd name="T7" fmla="*/ 6 h 72"/>
                <a:gd name="T8" fmla="*/ 10 w 72"/>
                <a:gd name="T9" fmla="*/ 10 h 72"/>
                <a:gd name="T10" fmla="*/ 6 w 72"/>
                <a:gd name="T11" fmla="*/ 16 h 72"/>
                <a:gd name="T12" fmla="*/ 3 w 72"/>
                <a:gd name="T13" fmla="*/ 21 h 72"/>
                <a:gd name="T14" fmla="*/ 0 w 72"/>
                <a:gd name="T15" fmla="*/ 29 h 72"/>
                <a:gd name="T16" fmla="*/ 0 w 72"/>
                <a:gd name="T17" fmla="*/ 35 h 72"/>
                <a:gd name="T18" fmla="*/ 0 w 72"/>
                <a:gd name="T19" fmla="*/ 43 h 72"/>
                <a:gd name="T20" fmla="*/ 3 w 72"/>
                <a:gd name="T21" fmla="*/ 49 h 72"/>
                <a:gd name="T22" fmla="*/ 6 w 72"/>
                <a:gd name="T23" fmla="*/ 56 h 72"/>
                <a:gd name="T24" fmla="*/ 10 w 72"/>
                <a:gd name="T25" fmla="*/ 61 h 72"/>
                <a:gd name="T26" fmla="*/ 16 w 72"/>
                <a:gd name="T27" fmla="*/ 66 h 72"/>
                <a:gd name="T28" fmla="*/ 22 w 72"/>
                <a:gd name="T29" fmla="*/ 69 h 72"/>
                <a:gd name="T30" fmla="*/ 29 w 72"/>
                <a:gd name="T31" fmla="*/ 71 h 72"/>
                <a:gd name="T32" fmla="*/ 36 w 72"/>
                <a:gd name="T33" fmla="*/ 72 h 72"/>
                <a:gd name="T34" fmla="*/ 44 w 72"/>
                <a:gd name="T35" fmla="*/ 71 h 72"/>
                <a:gd name="T36" fmla="*/ 50 w 72"/>
                <a:gd name="T37" fmla="*/ 69 h 72"/>
                <a:gd name="T38" fmla="*/ 57 w 72"/>
                <a:gd name="T39" fmla="*/ 66 h 72"/>
                <a:gd name="T40" fmla="*/ 61 w 72"/>
                <a:gd name="T41" fmla="*/ 61 h 72"/>
                <a:gd name="T42" fmla="*/ 66 w 72"/>
                <a:gd name="T43" fmla="*/ 56 h 72"/>
                <a:gd name="T44" fmla="*/ 70 w 72"/>
                <a:gd name="T45" fmla="*/ 49 h 72"/>
                <a:gd name="T46" fmla="*/ 72 w 72"/>
                <a:gd name="T47" fmla="*/ 43 h 72"/>
                <a:gd name="T48" fmla="*/ 72 w 72"/>
                <a:gd name="T49" fmla="*/ 35 h 72"/>
                <a:gd name="T50" fmla="*/ 72 w 72"/>
                <a:gd name="T51" fmla="*/ 29 h 72"/>
                <a:gd name="T52" fmla="*/ 70 w 72"/>
                <a:gd name="T53" fmla="*/ 21 h 72"/>
                <a:gd name="T54" fmla="*/ 66 w 72"/>
                <a:gd name="T55" fmla="*/ 16 h 72"/>
                <a:gd name="T56" fmla="*/ 61 w 72"/>
                <a:gd name="T57" fmla="*/ 10 h 72"/>
                <a:gd name="T58" fmla="*/ 57 w 72"/>
                <a:gd name="T59" fmla="*/ 6 h 72"/>
                <a:gd name="T60" fmla="*/ 50 w 72"/>
                <a:gd name="T61" fmla="*/ 3 h 72"/>
                <a:gd name="T62" fmla="*/ 44 w 72"/>
                <a:gd name="T63" fmla="*/ 1 h 72"/>
                <a:gd name="T64" fmla="*/ 36 w 72"/>
                <a:gd name="T65"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72">
                  <a:moveTo>
                    <a:pt x="36" y="0"/>
                  </a:moveTo>
                  <a:lnTo>
                    <a:pt x="29" y="1"/>
                  </a:lnTo>
                  <a:lnTo>
                    <a:pt x="22" y="3"/>
                  </a:lnTo>
                  <a:lnTo>
                    <a:pt x="16" y="6"/>
                  </a:lnTo>
                  <a:lnTo>
                    <a:pt x="10" y="10"/>
                  </a:lnTo>
                  <a:lnTo>
                    <a:pt x="6" y="16"/>
                  </a:lnTo>
                  <a:lnTo>
                    <a:pt x="3" y="21"/>
                  </a:lnTo>
                  <a:lnTo>
                    <a:pt x="0" y="29"/>
                  </a:lnTo>
                  <a:lnTo>
                    <a:pt x="0" y="35"/>
                  </a:lnTo>
                  <a:lnTo>
                    <a:pt x="0" y="43"/>
                  </a:lnTo>
                  <a:lnTo>
                    <a:pt x="3" y="49"/>
                  </a:lnTo>
                  <a:lnTo>
                    <a:pt x="6" y="56"/>
                  </a:lnTo>
                  <a:lnTo>
                    <a:pt x="10" y="61"/>
                  </a:lnTo>
                  <a:lnTo>
                    <a:pt x="16" y="66"/>
                  </a:lnTo>
                  <a:lnTo>
                    <a:pt x="22" y="69"/>
                  </a:lnTo>
                  <a:lnTo>
                    <a:pt x="29" y="71"/>
                  </a:lnTo>
                  <a:lnTo>
                    <a:pt x="36" y="72"/>
                  </a:lnTo>
                  <a:lnTo>
                    <a:pt x="44" y="71"/>
                  </a:lnTo>
                  <a:lnTo>
                    <a:pt x="50" y="69"/>
                  </a:lnTo>
                  <a:lnTo>
                    <a:pt x="57" y="66"/>
                  </a:lnTo>
                  <a:lnTo>
                    <a:pt x="61" y="61"/>
                  </a:lnTo>
                  <a:lnTo>
                    <a:pt x="66" y="56"/>
                  </a:lnTo>
                  <a:lnTo>
                    <a:pt x="70" y="49"/>
                  </a:lnTo>
                  <a:lnTo>
                    <a:pt x="72" y="43"/>
                  </a:lnTo>
                  <a:lnTo>
                    <a:pt x="72" y="35"/>
                  </a:lnTo>
                  <a:lnTo>
                    <a:pt x="72" y="29"/>
                  </a:lnTo>
                  <a:lnTo>
                    <a:pt x="70" y="21"/>
                  </a:lnTo>
                  <a:lnTo>
                    <a:pt x="66" y="16"/>
                  </a:lnTo>
                  <a:lnTo>
                    <a:pt x="61" y="10"/>
                  </a:lnTo>
                  <a:lnTo>
                    <a:pt x="57" y="6"/>
                  </a:lnTo>
                  <a:lnTo>
                    <a:pt x="50" y="3"/>
                  </a:lnTo>
                  <a:lnTo>
                    <a:pt x="44" y="1"/>
                  </a:lnTo>
                  <a:lnTo>
                    <a:pt x="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lumMod val="95000"/>
                  </a:schemeClr>
                </a:solidFill>
                <a:latin typeface="+mn-lt"/>
              </a:endParaRPr>
            </a:p>
          </p:txBody>
        </p:sp>
      </p:grpSp>
      <p:grpSp>
        <p:nvGrpSpPr>
          <p:cNvPr id="36" name="Group 35"/>
          <p:cNvGrpSpPr/>
          <p:nvPr/>
        </p:nvGrpSpPr>
        <p:grpSpPr>
          <a:xfrm>
            <a:off x="6148391" y="3692585"/>
            <a:ext cx="321056" cy="466990"/>
            <a:chOff x="3720306" y="3668315"/>
            <a:chExt cx="314325" cy="457200"/>
          </a:xfrm>
          <a:solidFill>
            <a:schemeClr val="bg1"/>
          </a:solidFill>
        </p:grpSpPr>
        <p:sp>
          <p:nvSpPr>
            <p:cNvPr id="37" name="Freeform 114"/>
            <p:cNvSpPr>
              <a:spLocks noEditPoints="1"/>
            </p:cNvSpPr>
            <p:nvPr/>
          </p:nvSpPr>
          <p:spPr bwMode="auto">
            <a:xfrm>
              <a:off x="3720306" y="3668315"/>
              <a:ext cx="314325" cy="457200"/>
            </a:xfrm>
            <a:custGeom>
              <a:avLst/>
              <a:gdLst>
                <a:gd name="T0" fmla="*/ 184 w 793"/>
                <a:gd name="T1" fmla="*/ 669 h 1152"/>
                <a:gd name="T2" fmla="*/ 103 w 793"/>
                <a:gd name="T3" fmla="*/ 514 h 1152"/>
                <a:gd name="T4" fmla="*/ 78 w 793"/>
                <a:gd name="T5" fmla="*/ 439 h 1152"/>
                <a:gd name="T6" fmla="*/ 75 w 793"/>
                <a:gd name="T7" fmla="*/ 363 h 1152"/>
                <a:gd name="T8" fmla="*/ 92 w 793"/>
                <a:gd name="T9" fmla="*/ 284 h 1152"/>
                <a:gd name="T10" fmla="*/ 128 w 793"/>
                <a:gd name="T11" fmla="*/ 215 h 1152"/>
                <a:gd name="T12" fmla="*/ 180 w 793"/>
                <a:gd name="T13" fmla="*/ 156 h 1152"/>
                <a:gd name="T14" fmla="*/ 242 w 793"/>
                <a:gd name="T15" fmla="*/ 112 h 1152"/>
                <a:gd name="T16" fmla="*/ 316 w 793"/>
                <a:gd name="T17" fmla="*/ 82 h 1152"/>
                <a:gd name="T18" fmla="*/ 397 w 793"/>
                <a:gd name="T19" fmla="*/ 72 h 1152"/>
                <a:gd name="T20" fmla="*/ 478 w 793"/>
                <a:gd name="T21" fmla="*/ 82 h 1152"/>
                <a:gd name="T22" fmla="*/ 551 w 793"/>
                <a:gd name="T23" fmla="*/ 112 h 1152"/>
                <a:gd name="T24" fmla="*/ 615 w 793"/>
                <a:gd name="T25" fmla="*/ 156 h 1152"/>
                <a:gd name="T26" fmla="*/ 666 w 793"/>
                <a:gd name="T27" fmla="*/ 215 h 1152"/>
                <a:gd name="T28" fmla="*/ 701 w 793"/>
                <a:gd name="T29" fmla="*/ 284 h 1152"/>
                <a:gd name="T30" fmla="*/ 720 w 793"/>
                <a:gd name="T31" fmla="*/ 363 h 1152"/>
                <a:gd name="T32" fmla="*/ 717 w 793"/>
                <a:gd name="T33" fmla="*/ 438 h 1152"/>
                <a:gd name="T34" fmla="*/ 691 w 793"/>
                <a:gd name="T35" fmla="*/ 513 h 1152"/>
                <a:gd name="T36" fmla="*/ 610 w 793"/>
                <a:gd name="T37" fmla="*/ 669 h 1152"/>
                <a:gd name="T38" fmla="*/ 397 w 793"/>
                <a:gd name="T39" fmla="*/ 1080 h 1152"/>
                <a:gd name="T40" fmla="*/ 346 w 793"/>
                <a:gd name="T41" fmla="*/ 1067 h 1152"/>
                <a:gd name="T42" fmla="*/ 469 w 793"/>
                <a:gd name="T43" fmla="*/ 1036 h 1152"/>
                <a:gd name="T44" fmla="*/ 445 w 793"/>
                <a:gd name="T45" fmla="*/ 1071 h 1152"/>
                <a:gd name="T46" fmla="*/ 412 w 793"/>
                <a:gd name="T47" fmla="*/ 1079 h 1152"/>
                <a:gd name="T48" fmla="*/ 263 w 793"/>
                <a:gd name="T49" fmla="*/ 846 h 1152"/>
                <a:gd name="T50" fmla="*/ 528 w 793"/>
                <a:gd name="T51" fmla="*/ 857 h 1152"/>
                <a:gd name="T52" fmla="*/ 307 w 793"/>
                <a:gd name="T53" fmla="*/ 986 h 1152"/>
                <a:gd name="T54" fmla="*/ 290 w 793"/>
                <a:gd name="T55" fmla="*/ 931 h 1152"/>
                <a:gd name="T56" fmla="*/ 496 w 793"/>
                <a:gd name="T57" fmla="*/ 958 h 1152"/>
                <a:gd name="T58" fmla="*/ 376 w 793"/>
                <a:gd name="T59" fmla="*/ 0 h 1152"/>
                <a:gd name="T60" fmla="*/ 279 w 793"/>
                <a:gd name="T61" fmla="*/ 18 h 1152"/>
                <a:gd name="T62" fmla="*/ 192 w 793"/>
                <a:gd name="T63" fmla="*/ 58 h 1152"/>
                <a:gd name="T64" fmla="*/ 117 w 793"/>
                <a:gd name="T65" fmla="*/ 116 h 1152"/>
                <a:gd name="T66" fmla="*/ 59 w 793"/>
                <a:gd name="T67" fmla="*/ 190 h 1152"/>
                <a:gd name="T68" fmla="*/ 19 w 793"/>
                <a:gd name="T69" fmla="*/ 278 h 1152"/>
                <a:gd name="T70" fmla="*/ 2 w 793"/>
                <a:gd name="T71" fmla="*/ 375 h 1152"/>
                <a:gd name="T72" fmla="*/ 7 w 793"/>
                <a:gd name="T73" fmla="*/ 451 h 1152"/>
                <a:gd name="T74" fmla="*/ 59 w 793"/>
                <a:gd name="T75" fmla="*/ 589 h 1152"/>
                <a:gd name="T76" fmla="*/ 160 w 793"/>
                <a:gd name="T77" fmla="*/ 778 h 1152"/>
                <a:gd name="T78" fmla="*/ 234 w 793"/>
                <a:gd name="T79" fmla="*/ 994 h 1152"/>
                <a:gd name="T80" fmla="*/ 270 w 793"/>
                <a:gd name="T81" fmla="*/ 1086 h 1152"/>
                <a:gd name="T82" fmla="*/ 302 w 793"/>
                <a:gd name="T83" fmla="*/ 1125 h 1152"/>
                <a:gd name="T84" fmla="*/ 347 w 793"/>
                <a:gd name="T85" fmla="*/ 1146 h 1152"/>
                <a:gd name="T86" fmla="*/ 411 w 793"/>
                <a:gd name="T87" fmla="*/ 1152 h 1152"/>
                <a:gd name="T88" fmla="*/ 467 w 793"/>
                <a:gd name="T89" fmla="*/ 1140 h 1152"/>
                <a:gd name="T90" fmla="*/ 507 w 793"/>
                <a:gd name="T91" fmla="*/ 1111 h 1152"/>
                <a:gd name="T92" fmla="*/ 535 w 793"/>
                <a:gd name="T93" fmla="*/ 1066 h 1152"/>
                <a:gd name="T94" fmla="*/ 578 w 793"/>
                <a:gd name="T95" fmla="*/ 935 h 1152"/>
                <a:gd name="T96" fmla="*/ 633 w 793"/>
                <a:gd name="T97" fmla="*/ 779 h 1152"/>
                <a:gd name="T98" fmla="*/ 735 w 793"/>
                <a:gd name="T99" fmla="*/ 589 h 1152"/>
                <a:gd name="T100" fmla="*/ 787 w 793"/>
                <a:gd name="T101" fmla="*/ 451 h 1152"/>
                <a:gd name="T102" fmla="*/ 792 w 793"/>
                <a:gd name="T103" fmla="*/ 375 h 1152"/>
                <a:gd name="T104" fmla="*/ 775 w 793"/>
                <a:gd name="T105" fmla="*/ 278 h 1152"/>
                <a:gd name="T106" fmla="*/ 736 w 793"/>
                <a:gd name="T107" fmla="*/ 190 h 1152"/>
                <a:gd name="T108" fmla="*/ 677 w 793"/>
                <a:gd name="T109" fmla="*/ 116 h 1152"/>
                <a:gd name="T110" fmla="*/ 602 w 793"/>
                <a:gd name="T111" fmla="*/ 58 h 1152"/>
                <a:gd name="T112" fmla="*/ 515 w 793"/>
                <a:gd name="T113" fmla="*/ 18 h 1152"/>
                <a:gd name="T114" fmla="*/ 417 w 793"/>
                <a:gd name="T115"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93" h="1152">
                  <a:moveTo>
                    <a:pt x="565" y="756"/>
                  </a:moveTo>
                  <a:lnTo>
                    <a:pt x="229" y="756"/>
                  </a:lnTo>
                  <a:lnTo>
                    <a:pt x="215" y="727"/>
                  </a:lnTo>
                  <a:lnTo>
                    <a:pt x="200" y="698"/>
                  </a:lnTo>
                  <a:lnTo>
                    <a:pt x="184" y="669"/>
                  </a:lnTo>
                  <a:lnTo>
                    <a:pt x="169" y="640"/>
                  </a:lnTo>
                  <a:lnTo>
                    <a:pt x="151" y="608"/>
                  </a:lnTo>
                  <a:lnTo>
                    <a:pt x="133" y="577"/>
                  </a:lnTo>
                  <a:lnTo>
                    <a:pt x="117" y="545"/>
                  </a:lnTo>
                  <a:lnTo>
                    <a:pt x="103" y="514"/>
                  </a:lnTo>
                  <a:lnTo>
                    <a:pt x="97" y="498"/>
                  </a:lnTo>
                  <a:lnTo>
                    <a:pt x="91" y="483"/>
                  </a:lnTo>
                  <a:lnTo>
                    <a:pt x="86" y="468"/>
                  </a:lnTo>
                  <a:lnTo>
                    <a:pt x="81" y="453"/>
                  </a:lnTo>
                  <a:lnTo>
                    <a:pt x="78" y="439"/>
                  </a:lnTo>
                  <a:lnTo>
                    <a:pt x="75" y="424"/>
                  </a:lnTo>
                  <a:lnTo>
                    <a:pt x="74" y="410"/>
                  </a:lnTo>
                  <a:lnTo>
                    <a:pt x="73" y="396"/>
                  </a:lnTo>
                  <a:lnTo>
                    <a:pt x="74" y="379"/>
                  </a:lnTo>
                  <a:lnTo>
                    <a:pt x="75" y="363"/>
                  </a:lnTo>
                  <a:lnTo>
                    <a:pt x="77" y="347"/>
                  </a:lnTo>
                  <a:lnTo>
                    <a:pt x="79" y="331"/>
                  </a:lnTo>
                  <a:lnTo>
                    <a:pt x="84" y="315"/>
                  </a:lnTo>
                  <a:lnTo>
                    <a:pt x="88" y="300"/>
                  </a:lnTo>
                  <a:lnTo>
                    <a:pt x="92" y="284"/>
                  </a:lnTo>
                  <a:lnTo>
                    <a:pt x="99" y="270"/>
                  </a:lnTo>
                  <a:lnTo>
                    <a:pt x="105" y="255"/>
                  </a:lnTo>
                  <a:lnTo>
                    <a:pt x="112" y="241"/>
                  </a:lnTo>
                  <a:lnTo>
                    <a:pt x="120" y="228"/>
                  </a:lnTo>
                  <a:lnTo>
                    <a:pt x="128" y="215"/>
                  </a:lnTo>
                  <a:lnTo>
                    <a:pt x="138" y="202"/>
                  </a:lnTo>
                  <a:lnTo>
                    <a:pt x="147" y="190"/>
                  </a:lnTo>
                  <a:lnTo>
                    <a:pt x="157" y="179"/>
                  </a:lnTo>
                  <a:lnTo>
                    <a:pt x="168" y="167"/>
                  </a:lnTo>
                  <a:lnTo>
                    <a:pt x="180" y="156"/>
                  </a:lnTo>
                  <a:lnTo>
                    <a:pt x="191" y="146"/>
                  </a:lnTo>
                  <a:lnTo>
                    <a:pt x="204" y="136"/>
                  </a:lnTo>
                  <a:lnTo>
                    <a:pt x="216" y="128"/>
                  </a:lnTo>
                  <a:lnTo>
                    <a:pt x="229" y="119"/>
                  </a:lnTo>
                  <a:lnTo>
                    <a:pt x="242" y="112"/>
                  </a:lnTo>
                  <a:lnTo>
                    <a:pt x="256" y="104"/>
                  </a:lnTo>
                  <a:lnTo>
                    <a:pt x="270" y="98"/>
                  </a:lnTo>
                  <a:lnTo>
                    <a:pt x="286" y="91"/>
                  </a:lnTo>
                  <a:lnTo>
                    <a:pt x="301" y="87"/>
                  </a:lnTo>
                  <a:lnTo>
                    <a:pt x="316" y="82"/>
                  </a:lnTo>
                  <a:lnTo>
                    <a:pt x="332" y="78"/>
                  </a:lnTo>
                  <a:lnTo>
                    <a:pt x="348" y="76"/>
                  </a:lnTo>
                  <a:lnTo>
                    <a:pt x="364" y="74"/>
                  </a:lnTo>
                  <a:lnTo>
                    <a:pt x="381" y="73"/>
                  </a:lnTo>
                  <a:lnTo>
                    <a:pt x="397" y="72"/>
                  </a:lnTo>
                  <a:lnTo>
                    <a:pt x="414" y="73"/>
                  </a:lnTo>
                  <a:lnTo>
                    <a:pt x="430" y="74"/>
                  </a:lnTo>
                  <a:lnTo>
                    <a:pt x="447" y="76"/>
                  </a:lnTo>
                  <a:lnTo>
                    <a:pt x="463" y="78"/>
                  </a:lnTo>
                  <a:lnTo>
                    <a:pt x="478" y="82"/>
                  </a:lnTo>
                  <a:lnTo>
                    <a:pt x="493" y="87"/>
                  </a:lnTo>
                  <a:lnTo>
                    <a:pt x="508" y="91"/>
                  </a:lnTo>
                  <a:lnTo>
                    <a:pt x="523" y="98"/>
                  </a:lnTo>
                  <a:lnTo>
                    <a:pt x="537" y="104"/>
                  </a:lnTo>
                  <a:lnTo>
                    <a:pt x="551" y="112"/>
                  </a:lnTo>
                  <a:lnTo>
                    <a:pt x="565" y="119"/>
                  </a:lnTo>
                  <a:lnTo>
                    <a:pt x="578" y="128"/>
                  </a:lnTo>
                  <a:lnTo>
                    <a:pt x="591" y="136"/>
                  </a:lnTo>
                  <a:lnTo>
                    <a:pt x="603" y="146"/>
                  </a:lnTo>
                  <a:lnTo>
                    <a:pt x="615" y="156"/>
                  </a:lnTo>
                  <a:lnTo>
                    <a:pt x="626" y="167"/>
                  </a:lnTo>
                  <a:lnTo>
                    <a:pt x="637" y="179"/>
                  </a:lnTo>
                  <a:lnTo>
                    <a:pt x="647" y="190"/>
                  </a:lnTo>
                  <a:lnTo>
                    <a:pt x="656" y="202"/>
                  </a:lnTo>
                  <a:lnTo>
                    <a:pt x="666" y="215"/>
                  </a:lnTo>
                  <a:lnTo>
                    <a:pt x="674" y="228"/>
                  </a:lnTo>
                  <a:lnTo>
                    <a:pt x="682" y="241"/>
                  </a:lnTo>
                  <a:lnTo>
                    <a:pt x="688" y="255"/>
                  </a:lnTo>
                  <a:lnTo>
                    <a:pt x="696" y="270"/>
                  </a:lnTo>
                  <a:lnTo>
                    <a:pt x="701" y="284"/>
                  </a:lnTo>
                  <a:lnTo>
                    <a:pt x="707" y="300"/>
                  </a:lnTo>
                  <a:lnTo>
                    <a:pt x="711" y="315"/>
                  </a:lnTo>
                  <a:lnTo>
                    <a:pt x="714" y="331"/>
                  </a:lnTo>
                  <a:lnTo>
                    <a:pt x="718" y="347"/>
                  </a:lnTo>
                  <a:lnTo>
                    <a:pt x="720" y="363"/>
                  </a:lnTo>
                  <a:lnTo>
                    <a:pt x="721" y="379"/>
                  </a:lnTo>
                  <a:lnTo>
                    <a:pt x="721" y="396"/>
                  </a:lnTo>
                  <a:lnTo>
                    <a:pt x="721" y="410"/>
                  </a:lnTo>
                  <a:lnTo>
                    <a:pt x="719" y="424"/>
                  </a:lnTo>
                  <a:lnTo>
                    <a:pt x="717" y="438"/>
                  </a:lnTo>
                  <a:lnTo>
                    <a:pt x="712" y="453"/>
                  </a:lnTo>
                  <a:lnTo>
                    <a:pt x="708" y="468"/>
                  </a:lnTo>
                  <a:lnTo>
                    <a:pt x="704" y="483"/>
                  </a:lnTo>
                  <a:lnTo>
                    <a:pt x="697" y="498"/>
                  </a:lnTo>
                  <a:lnTo>
                    <a:pt x="691" y="513"/>
                  </a:lnTo>
                  <a:lnTo>
                    <a:pt x="677" y="545"/>
                  </a:lnTo>
                  <a:lnTo>
                    <a:pt x="660" y="577"/>
                  </a:lnTo>
                  <a:lnTo>
                    <a:pt x="643" y="608"/>
                  </a:lnTo>
                  <a:lnTo>
                    <a:pt x="626" y="641"/>
                  </a:lnTo>
                  <a:lnTo>
                    <a:pt x="610" y="669"/>
                  </a:lnTo>
                  <a:lnTo>
                    <a:pt x="594" y="698"/>
                  </a:lnTo>
                  <a:lnTo>
                    <a:pt x="579" y="727"/>
                  </a:lnTo>
                  <a:lnTo>
                    <a:pt x="565" y="756"/>
                  </a:lnTo>
                  <a:lnTo>
                    <a:pt x="565" y="756"/>
                  </a:lnTo>
                  <a:close/>
                  <a:moveTo>
                    <a:pt x="397" y="1080"/>
                  </a:moveTo>
                  <a:lnTo>
                    <a:pt x="384" y="1079"/>
                  </a:lnTo>
                  <a:lnTo>
                    <a:pt x="373" y="1078"/>
                  </a:lnTo>
                  <a:lnTo>
                    <a:pt x="363" y="1076"/>
                  </a:lnTo>
                  <a:lnTo>
                    <a:pt x="355" y="1073"/>
                  </a:lnTo>
                  <a:lnTo>
                    <a:pt x="346" y="1067"/>
                  </a:lnTo>
                  <a:lnTo>
                    <a:pt x="339" y="1059"/>
                  </a:lnTo>
                  <a:lnTo>
                    <a:pt x="332" y="1049"/>
                  </a:lnTo>
                  <a:lnTo>
                    <a:pt x="326" y="1035"/>
                  </a:lnTo>
                  <a:lnTo>
                    <a:pt x="478" y="1016"/>
                  </a:lnTo>
                  <a:lnTo>
                    <a:pt x="469" y="1036"/>
                  </a:lnTo>
                  <a:lnTo>
                    <a:pt x="462" y="1051"/>
                  </a:lnTo>
                  <a:lnTo>
                    <a:pt x="457" y="1057"/>
                  </a:lnTo>
                  <a:lnTo>
                    <a:pt x="454" y="1062"/>
                  </a:lnTo>
                  <a:lnTo>
                    <a:pt x="450" y="1066"/>
                  </a:lnTo>
                  <a:lnTo>
                    <a:pt x="445" y="1071"/>
                  </a:lnTo>
                  <a:lnTo>
                    <a:pt x="440" y="1073"/>
                  </a:lnTo>
                  <a:lnTo>
                    <a:pt x="436" y="1075"/>
                  </a:lnTo>
                  <a:lnTo>
                    <a:pt x="430" y="1077"/>
                  </a:lnTo>
                  <a:lnTo>
                    <a:pt x="425" y="1078"/>
                  </a:lnTo>
                  <a:lnTo>
                    <a:pt x="412" y="1079"/>
                  </a:lnTo>
                  <a:lnTo>
                    <a:pt x="397" y="1080"/>
                  </a:lnTo>
                  <a:close/>
                  <a:moveTo>
                    <a:pt x="279" y="897"/>
                  </a:moveTo>
                  <a:lnTo>
                    <a:pt x="275" y="881"/>
                  </a:lnTo>
                  <a:lnTo>
                    <a:pt x="269" y="863"/>
                  </a:lnTo>
                  <a:lnTo>
                    <a:pt x="263" y="846"/>
                  </a:lnTo>
                  <a:lnTo>
                    <a:pt x="258" y="828"/>
                  </a:lnTo>
                  <a:lnTo>
                    <a:pt x="537" y="828"/>
                  </a:lnTo>
                  <a:lnTo>
                    <a:pt x="534" y="837"/>
                  </a:lnTo>
                  <a:lnTo>
                    <a:pt x="531" y="847"/>
                  </a:lnTo>
                  <a:lnTo>
                    <a:pt x="528" y="857"/>
                  </a:lnTo>
                  <a:lnTo>
                    <a:pt x="524" y="867"/>
                  </a:lnTo>
                  <a:lnTo>
                    <a:pt x="279" y="897"/>
                  </a:lnTo>
                  <a:close/>
                  <a:moveTo>
                    <a:pt x="491" y="978"/>
                  </a:moveTo>
                  <a:lnTo>
                    <a:pt x="312" y="1000"/>
                  </a:lnTo>
                  <a:lnTo>
                    <a:pt x="307" y="986"/>
                  </a:lnTo>
                  <a:lnTo>
                    <a:pt x="302" y="970"/>
                  </a:lnTo>
                  <a:lnTo>
                    <a:pt x="296" y="952"/>
                  </a:lnTo>
                  <a:lnTo>
                    <a:pt x="290" y="932"/>
                  </a:lnTo>
                  <a:lnTo>
                    <a:pt x="290" y="931"/>
                  </a:lnTo>
                  <a:lnTo>
                    <a:pt x="290" y="931"/>
                  </a:lnTo>
                  <a:lnTo>
                    <a:pt x="512" y="903"/>
                  </a:lnTo>
                  <a:lnTo>
                    <a:pt x="508" y="919"/>
                  </a:lnTo>
                  <a:lnTo>
                    <a:pt x="504" y="936"/>
                  </a:lnTo>
                  <a:lnTo>
                    <a:pt x="499" y="946"/>
                  </a:lnTo>
                  <a:lnTo>
                    <a:pt x="496" y="958"/>
                  </a:lnTo>
                  <a:lnTo>
                    <a:pt x="493" y="968"/>
                  </a:lnTo>
                  <a:lnTo>
                    <a:pt x="491" y="978"/>
                  </a:lnTo>
                  <a:lnTo>
                    <a:pt x="491" y="978"/>
                  </a:lnTo>
                  <a:close/>
                  <a:moveTo>
                    <a:pt x="397" y="0"/>
                  </a:moveTo>
                  <a:lnTo>
                    <a:pt x="376" y="0"/>
                  </a:lnTo>
                  <a:lnTo>
                    <a:pt x="357" y="1"/>
                  </a:lnTo>
                  <a:lnTo>
                    <a:pt x="336" y="5"/>
                  </a:lnTo>
                  <a:lnTo>
                    <a:pt x="317" y="8"/>
                  </a:lnTo>
                  <a:lnTo>
                    <a:pt x="299" y="12"/>
                  </a:lnTo>
                  <a:lnTo>
                    <a:pt x="279" y="18"/>
                  </a:lnTo>
                  <a:lnTo>
                    <a:pt x="261" y="24"/>
                  </a:lnTo>
                  <a:lnTo>
                    <a:pt x="242" y="31"/>
                  </a:lnTo>
                  <a:lnTo>
                    <a:pt x="225" y="39"/>
                  </a:lnTo>
                  <a:lnTo>
                    <a:pt x="208" y="48"/>
                  </a:lnTo>
                  <a:lnTo>
                    <a:pt x="192" y="58"/>
                  </a:lnTo>
                  <a:lnTo>
                    <a:pt x="175" y="67"/>
                  </a:lnTo>
                  <a:lnTo>
                    <a:pt x="160" y="78"/>
                  </a:lnTo>
                  <a:lnTo>
                    <a:pt x="145" y="90"/>
                  </a:lnTo>
                  <a:lnTo>
                    <a:pt x="131" y="103"/>
                  </a:lnTo>
                  <a:lnTo>
                    <a:pt x="117" y="116"/>
                  </a:lnTo>
                  <a:lnTo>
                    <a:pt x="104" y="130"/>
                  </a:lnTo>
                  <a:lnTo>
                    <a:pt x="91" y="144"/>
                  </a:lnTo>
                  <a:lnTo>
                    <a:pt x="79" y="159"/>
                  </a:lnTo>
                  <a:lnTo>
                    <a:pt x="69" y="174"/>
                  </a:lnTo>
                  <a:lnTo>
                    <a:pt x="59" y="190"/>
                  </a:lnTo>
                  <a:lnTo>
                    <a:pt x="49" y="207"/>
                  </a:lnTo>
                  <a:lnTo>
                    <a:pt x="40" y="224"/>
                  </a:lnTo>
                  <a:lnTo>
                    <a:pt x="32" y="242"/>
                  </a:lnTo>
                  <a:lnTo>
                    <a:pt x="25" y="260"/>
                  </a:lnTo>
                  <a:lnTo>
                    <a:pt x="19" y="278"/>
                  </a:lnTo>
                  <a:lnTo>
                    <a:pt x="13" y="297"/>
                  </a:lnTo>
                  <a:lnTo>
                    <a:pt x="9" y="316"/>
                  </a:lnTo>
                  <a:lnTo>
                    <a:pt x="6" y="335"/>
                  </a:lnTo>
                  <a:lnTo>
                    <a:pt x="3" y="356"/>
                  </a:lnTo>
                  <a:lnTo>
                    <a:pt x="2" y="375"/>
                  </a:lnTo>
                  <a:lnTo>
                    <a:pt x="0" y="396"/>
                  </a:lnTo>
                  <a:lnTo>
                    <a:pt x="2" y="410"/>
                  </a:lnTo>
                  <a:lnTo>
                    <a:pt x="3" y="424"/>
                  </a:lnTo>
                  <a:lnTo>
                    <a:pt x="5" y="437"/>
                  </a:lnTo>
                  <a:lnTo>
                    <a:pt x="7" y="451"/>
                  </a:lnTo>
                  <a:lnTo>
                    <a:pt x="13" y="479"/>
                  </a:lnTo>
                  <a:lnTo>
                    <a:pt x="22" y="506"/>
                  </a:lnTo>
                  <a:lnTo>
                    <a:pt x="33" y="534"/>
                  </a:lnTo>
                  <a:lnTo>
                    <a:pt x="46" y="561"/>
                  </a:lnTo>
                  <a:lnTo>
                    <a:pt x="59" y="589"/>
                  </a:lnTo>
                  <a:lnTo>
                    <a:pt x="74" y="617"/>
                  </a:lnTo>
                  <a:lnTo>
                    <a:pt x="103" y="671"/>
                  </a:lnTo>
                  <a:lnTo>
                    <a:pt x="133" y="725"/>
                  </a:lnTo>
                  <a:lnTo>
                    <a:pt x="147" y="752"/>
                  </a:lnTo>
                  <a:lnTo>
                    <a:pt x="160" y="778"/>
                  </a:lnTo>
                  <a:lnTo>
                    <a:pt x="172" y="804"/>
                  </a:lnTo>
                  <a:lnTo>
                    <a:pt x="182" y="830"/>
                  </a:lnTo>
                  <a:lnTo>
                    <a:pt x="206" y="901"/>
                  </a:lnTo>
                  <a:lnTo>
                    <a:pt x="225" y="965"/>
                  </a:lnTo>
                  <a:lnTo>
                    <a:pt x="234" y="994"/>
                  </a:lnTo>
                  <a:lnTo>
                    <a:pt x="242" y="1020"/>
                  </a:lnTo>
                  <a:lnTo>
                    <a:pt x="251" y="1045"/>
                  </a:lnTo>
                  <a:lnTo>
                    <a:pt x="260" y="1066"/>
                  </a:lnTo>
                  <a:lnTo>
                    <a:pt x="265" y="1076"/>
                  </a:lnTo>
                  <a:lnTo>
                    <a:pt x="270" y="1086"/>
                  </a:lnTo>
                  <a:lnTo>
                    <a:pt x="276" y="1094"/>
                  </a:lnTo>
                  <a:lnTo>
                    <a:pt x="281" y="1103"/>
                  </a:lnTo>
                  <a:lnTo>
                    <a:pt x="288" y="1111"/>
                  </a:lnTo>
                  <a:lnTo>
                    <a:pt x="295" y="1118"/>
                  </a:lnTo>
                  <a:lnTo>
                    <a:pt x="302" y="1125"/>
                  </a:lnTo>
                  <a:lnTo>
                    <a:pt x="310" y="1130"/>
                  </a:lnTo>
                  <a:lnTo>
                    <a:pt x="318" y="1135"/>
                  </a:lnTo>
                  <a:lnTo>
                    <a:pt x="328" y="1140"/>
                  </a:lnTo>
                  <a:lnTo>
                    <a:pt x="337" y="1143"/>
                  </a:lnTo>
                  <a:lnTo>
                    <a:pt x="347" y="1146"/>
                  </a:lnTo>
                  <a:lnTo>
                    <a:pt x="359" y="1148"/>
                  </a:lnTo>
                  <a:lnTo>
                    <a:pt x="371" y="1151"/>
                  </a:lnTo>
                  <a:lnTo>
                    <a:pt x="383" y="1152"/>
                  </a:lnTo>
                  <a:lnTo>
                    <a:pt x="397" y="1152"/>
                  </a:lnTo>
                  <a:lnTo>
                    <a:pt x="411" y="1152"/>
                  </a:lnTo>
                  <a:lnTo>
                    <a:pt x="424" y="1151"/>
                  </a:lnTo>
                  <a:lnTo>
                    <a:pt x="436" y="1148"/>
                  </a:lnTo>
                  <a:lnTo>
                    <a:pt x="448" y="1146"/>
                  </a:lnTo>
                  <a:lnTo>
                    <a:pt x="457" y="1143"/>
                  </a:lnTo>
                  <a:lnTo>
                    <a:pt x="467" y="1140"/>
                  </a:lnTo>
                  <a:lnTo>
                    <a:pt x="477" y="1135"/>
                  </a:lnTo>
                  <a:lnTo>
                    <a:pt x="485" y="1130"/>
                  </a:lnTo>
                  <a:lnTo>
                    <a:pt x="493" y="1125"/>
                  </a:lnTo>
                  <a:lnTo>
                    <a:pt x="501" y="1118"/>
                  </a:lnTo>
                  <a:lnTo>
                    <a:pt x="507" y="1111"/>
                  </a:lnTo>
                  <a:lnTo>
                    <a:pt x="513" y="1103"/>
                  </a:lnTo>
                  <a:lnTo>
                    <a:pt x="519" y="1095"/>
                  </a:lnTo>
                  <a:lnTo>
                    <a:pt x="524" y="1086"/>
                  </a:lnTo>
                  <a:lnTo>
                    <a:pt x="530" y="1077"/>
                  </a:lnTo>
                  <a:lnTo>
                    <a:pt x="535" y="1066"/>
                  </a:lnTo>
                  <a:lnTo>
                    <a:pt x="544" y="1045"/>
                  </a:lnTo>
                  <a:lnTo>
                    <a:pt x="552" y="1021"/>
                  </a:lnTo>
                  <a:lnTo>
                    <a:pt x="561" y="994"/>
                  </a:lnTo>
                  <a:lnTo>
                    <a:pt x="570" y="966"/>
                  </a:lnTo>
                  <a:lnTo>
                    <a:pt x="578" y="935"/>
                  </a:lnTo>
                  <a:lnTo>
                    <a:pt x="588" y="902"/>
                  </a:lnTo>
                  <a:lnTo>
                    <a:pt x="599" y="868"/>
                  </a:lnTo>
                  <a:lnTo>
                    <a:pt x="612" y="831"/>
                  </a:lnTo>
                  <a:lnTo>
                    <a:pt x="621" y="805"/>
                  </a:lnTo>
                  <a:lnTo>
                    <a:pt x="633" y="779"/>
                  </a:lnTo>
                  <a:lnTo>
                    <a:pt x="646" y="753"/>
                  </a:lnTo>
                  <a:lnTo>
                    <a:pt x="660" y="726"/>
                  </a:lnTo>
                  <a:lnTo>
                    <a:pt x="691" y="672"/>
                  </a:lnTo>
                  <a:lnTo>
                    <a:pt x="721" y="617"/>
                  </a:lnTo>
                  <a:lnTo>
                    <a:pt x="735" y="589"/>
                  </a:lnTo>
                  <a:lnTo>
                    <a:pt x="749" y="561"/>
                  </a:lnTo>
                  <a:lnTo>
                    <a:pt x="761" y="533"/>
                  </a:lnTo>
                  <a:lnTo>
                    <a:pt x="772" y="506"/>
                  </a:lnTo>
                  <a:lnTo>
                    <a:pt x="780" y="478"/>
                  </a:lnTo>
                  <a:lnTo>
                    <a:pt x="787" y="451"/>
                  </a:lnTo>
                  <a:lnTo>
                    <a:pt x="790" y="437"/>
                  </a:lnTo>
                  <a:lnTo>
                    <a:pt x="791" y="423"/>
                  </a:lnTo>
                  <a:lnTo>
                    <a:pt x="792" y="410"/>
                  </a:lnTo>
                  <a:lnTo>
                    <a:pt x="793" y="396"/>
                  </a:lnTo>
                  <a:lnTo>
                    <a:pt x="792" y="375"/>
                  </a:lnTo>
                  <a:lnTo>
                    <a:pt x="791" y="356"/>
                  </a:lnTo>
                  <a:lnTo>
                    <a:pt x="789" y="335"/>
                  </a:lnTo>
                  <a:lnTo>
                    <a:pt x="785" y="316"/>
                  </a:lnTo>
                  <a:lnTo>
                    <a:pt x="780" y="297"/>
                  </a:lnTo>
                  <a:lnTo>
                    <a:pt x="775" y="278"/>
                  </a:lnTo>
                  <a:lnTo>
                    <a:pt x="769" y="260"/>
                  </a:lnTo>
                  <a:lnTo>
                    <a:pt x="762" y="242"/>
                  </a:lnTo>
                  <a:lnTo>
                    <a:pt x="754" y="224"/>
                  </a:lnTo>
                  <a:lnTo>
                    <a:pt x="746" y="207"/>
                  </a:lnTo>
                  <a:lnTo>
                    <a:pt x="736" y="190"/>
                  </a:lnTo>
                  <a:lnTo>
                    <a:pt x="725" y="174"/>
                  </a:lnTo>
                  <a:lnTo>
                    <a:pt x="714" y="159"/>
                  </a:lnTo>
                  <a:lnTo>
                    <a:pt x="703" y="144"/>
                  </a:lnTo>
                  <a:lnTo>
                    <a:pt x="691" y="130"/>
                  </a:lnTo>
                  <a:lnTo>
                    <a:pt x="677" y="116"/>
                  </a:lnTo>
                  <a:lnTo>
                    <a:pt x="664" y="103"/>
                  </a:lnTo>
                  <a:lnTo>
                    <a:pt x="648" y="90"/>
                  </a:lnTo>
                  <a:lnTo>
                    <a:pt x="633" y="78"/>
                  </a:lnTo>
                  <a:lnTo>
                    <a:pt x="618" y="67"/>
                  </a:lnTo>
                  <a:lnTo>
                    <a:pt x="602" y="58"/>
                  </a:lnTo>
                  <a:lnTo>
                    <a:pt x="586" y="48"/>
                  </a:lnTo>
                  <a:lnTo>
                    <a:pt x="569" y="39"/>
                  </a:lnTo>
                  <a:lnTo>
                    <a:pt x="551" y="31"/>
                  </a:lnTo>
                  <a:lnTo>
                    <a:pt x="533" y="24"/>
                  </a:lnTo>
                  <a:lnTo>
                    <a:pt x="515" y="18"/>
                  </a:lnTo>
                  <a:lnTo>
                    <a:pt x="496" y="12"/>
                  </a:lnTo>
                  <a:lnTo>
                    <a:pt x="477" y="8"/>
                  </a:lnTo>
                  <a:lnTo>
                    <a:pt x="457" y="5"/>
                  </a:lnTo>
                  <a:lnTo>
                    <a:pt x="438" y="1"/>
                  </a:lnTo>
                  <a:lnTo>
                    <a:pt x="417" y="0"/>
                  </a:lnTo>
                  <a:lnTo>
                    <a:pt x="39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lumMod val="95000"/>
                  </a:schemeClr>
                </a:solidFill>
                <a:latin typeface="+mn-lt"/>
              </a:endParaRPr>
            </a:p>
          </p:txBody>
        </p:sp>
        <p:sp>
          <p:nvSpPr>
            <p:cNvPr id="38" name="Freeform 115"/>
            <p:cNvSpPr>
              <a:spLocks/>
            </p:cNvSpPr>
            <p:nvPr/>
          </p:nvSpPr>
          <p:spPr bwMode="auto">
            <a:xfrm>
              <a:off x="3791743" y="3739753"/>
              <a:ext cx="93663" cy="93663"/>
            </a:xfrm>
            <a:custGeom>
              <a:avLst/>
              <a:gdLst>
                <a:gd name="T0" fmla="*/ 205 w 234"/>
                <a:gd name="T1" fmla="*/ 1 h 234"/>
                <a:gd name="T2" fmla="*/ 183 w 234"/>
                <a:gd name="T3" fmla="*/ 3 h 234"/>
                <a:gd name="T4" fmla="*/ 152 w 234"/>
                <a:gd name="T5" fmla="*/ 9 h 234"/>
                <a:gd name="T6" fmla="*/ 113 w 234"/>
                <a:gd name="T7" fmla="*/ 26 h 234"/>
                <a:gd name="T8" fmla="*/ 79 w 234"/>
                <a:gd name="T9" fmla="*/ 49 h 234"/>
                <a:gd name="T10" fmla="*/ 50 w 234"/>
                <a:gd name="T11" fmla="*/ 78 h 234"/>
                <a:gd name="T12" fmla="*/ 26 w 234"/>
                <a:gd name="T13" fmla="*/ 113 h 234"/>
                <a:gd name="T14" fmla="*/ 10 w 234"/>
                <a:gd name="T15" fmla="*/ 152 h 234"/>
                <a:gd name="T16" fmla="*/ 2 w 234"/>
                <a:gd name="T17" fmla="*/ 183 h 234"/>
                <a:gd name="T18" fmla="*/ 0 w 234"/>
                <a:gd name="T19" fmla="*/ 205 h 234"/>
                <a:gd name="T20" fmla="*/ 0 w 234"/>
                <a:gd name="T21" fmla="*/ 220 h 234"/>
                <a:gd name="T22" fmla="*/ 3 w 234"/>
                <a:gd name="T23" fmla="*/ 226 h 234"/>
                <a:gd name="T24" fmla="*/ 7 w 234"/>
                <a:gd name="T25" fmla="*/ 231 h 234"/>
                <a:gd name="T26" fmla="*/ 14 w 234"/>
                <a:gd name="T27" fmla="*/ 234 h 234"/>
                <a:gd name="T28" fmla="*/ 21 w 234"/>
                <a:gd name="T29" fmla="*/ 234 h 234"/>
                <a:gd name="T30" fmla="*/ 28 w 234"/>
                <a:gd name="T31" fmla="*/ 231 h 234"/>
                <a:gd name="T32" fmla="*/ 33 w 234"/>
                <a:gd name="T33" fmla="*/ 226 h 234"/>
                <a:gd name="T34" fmla="*/ 35 w 234"/>
                <a:gd name="T35" fmla="*/ 220 h 234"/>
                <a:gd name="T36" fmla="*/ 37 w 234"/>
                <a:gd name="T37" fmla="*/ 197 h 234"/>
                <a:gd name="T38" fmla="*/ 44 w 234"/>
                <a:gd name="T39" fmla="*/ 163 h 234"/>
                <a:gd name="T40" fmla="*/ 58 w 234"/>
                <a:gd name="T41" fmla="*/ 130 h 234"/>
                <a:gd name="T42" fmla="*/ 78 w 234"/>
                <a:gd name="T43" fmla="*/ 101 h 234"/>
                <a:gd name="T44" fmla="*/ 101 w 234"/>
                <a:gd name="T45" fmla="*/ 77 h 234"/>
                <a:gd name="T46" fmla="*/ 131 w 234"/>
                <a:gd name="T47" fmla="*/ 58 h 234"/>
                <a:gd name="T48" fmla="*/ 163 w 234"/>
                <a:gd name="T49" fmla="*/ 44 h 234"/>
                <a:gd name="T50" fmla="*/ 197 w 234"/>
                <a:gd name="T51" fmla="*/ 36 h 234"/>
                <a:gd name="T52" fmla="*/ 219 w 234"/>
                <a:gd name="T53" fmla="*/ 35 h 234"/>
                <a:gd name="T54" fmla="*/ 226 w 234"/>
                <a:gd name="T55" fmla="*/ 33 h 234"/>
                <a:gd name="T56" fmla="*/ 231 w 234"/>
                <a:gd name="T57" fmla="*/ 28 h 234"/>
                <a:gd name="T58" fmla="*/ 233 w 234"/>
                <a:gd name="T59" fmla="*/ 21 h 234"/>
                <a:gd name="T60" fmla="*/ 233 w 234"/>
                <a:gd name="T61" fmla="*/ 15 h 234"/>
                <a:gd name="T62" fmla="*/ 231 w 234"/>
                <a:gd name="T63" fmla="*/ 8 h 234"/>
                <a:gd name="T64" fmla="*/ 226 w 234"/>
                <a:gd name="T65" fmla="*/ 3 h 234"/>
                <a:gd name="T66" fmla="*/ 219 w 234"/>
                <a:gd name="T67" fmla="*/ 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4" h="234">
                  <a:moveTo>
                    <a:pt x="216" y="0"/>
                  </a:moveTo>
                  <a:lnTo>
                    <a:pt x="205" y="1"/>
                  </a:lnTo>
                  <a:lnTo>
                    <a:pt x="194" y="1"/>
                  </a:lnTo>
                  <a:lnTo>
                    <a:pt x="183" y="3"/>
                  </a:lnTo>
                  <a:lnTo>
                    <a:pt x="173" y="4"/>
                  </a:lnTo>
                  <a:lnTo>
                    <a:pt x="152" y="9"/>
                  </a:lnTo>
                  <a:lnTo>
                    <a:pt x="132" y="17"/>
                  </a:lnTo>
                  <a:lnTo>
                    <a:pt x="113" y="26"/>
                  </a:lnTo>
                  <a:lnTo>
                    <a:pt x="95" y="36"/>
                  </a:lnTo>
                  <a:lnTo>
                    <a:pt x="79" y="49"/>
                  </a:lnTo>
                  <a:lnTo>
                    <a:pt x="64" y="63"/>
                  </a:lnTo>
                  <a:lnTo>
                    <a:pt x="50" y="78"/>
                  </a:lnTo>
                  <a:lnTo>
                    <a:pt x="37" y="95"/>
                  </a:lnTo>
                  <a:lnTo>
                    <a:pt x="26" y="113"/>
                  </a:lnTo>
                  <a:lnTo>
                    <a:pt x="17" y="131"/>
                  </a:lnTo>
                  <a:lnTo>
                    <a:pt x="10" y="152"/>
                  </a:lnTo>
                  <a:lnTo>
                    <a:pt x="4" y="172"/>
                  </a:lnTo>
                  <a:lnTo>
                    <a:pt x="2" y="183"/>
                  </a:lnTo>
                  <a:lnTo>
                    <a:pt x="1" y="194"/>
                  </a:lnTo>
                  <a:lnTo>
                    <a:pt x="0" y="205"/>
                  </a:lnTo>
                  <a:lnTo>
                    <a:pt x="0" y="216"/>
                  </a:lnTo>
                  <a:lnTo>
                    <a:pt x="0" y="220"/>
                  </a:lnTo>
                  <a:lnTo>
                    <a:pt x="1" y="223"/>
                  </a:lnTo>
                  <a:lnTo>
                    <a:pt x="3" y="226"/>
                  </a:lnTo>
                  <a:lnTo>
                    <a:pt x="5" y="229"/>
                  </a:lnTo>
                  <a:lnTo>
                    <a:pt x="7" y="231"/>
                  </a:lnTo>
                  <a:lnTo>
                    <a:pt x="11" y="233"/>
                  </a:lnTo>
                  <a:lnTo>
                    <a:pt x="14" y="234"/>
                  </a:lnTo>
                  <a:lnTo>
                    <a:pt x="18" y="234"/>
                  </a:lnTo>
                  <a:lnTo>
                    <a:pt x="21" y="234"/>
                  </a:lnTo>
                  <a:lnTo>
                    <a:pt x="25" y="233"/>
                  </a:lnTo>
                  <a:lnTo>
                    <a:pt x="28" y="231"/>
                  </a:lnTo>
                  <a:lnTo>
                    <a:pt x="31" y="229"/>
                  </a:lnTo>
                  <a:lnTo>
                    <a:pt x="33" y="226"/>
                  </a:lnTo>
                  <a:lnTo>
                    <a:pt x="34" y="223"/>
                  </a:lnTo>
                  <a:lnTo>
                    <a:pt x="35" y="220"/>
                  </a:lnTo>
                  <a:lnTo>
                    <a:pt x="35" y="216"/>
                  </a:lnTo>
                  <a:lnTo>
                    <a:pt x="37" y="197"/>
                  </a:lnTo>
                  <a:lnTo>
                    <a:pt x="40" y="180"/>
                  </a:lnTo>
                  <a:lnTo>
                    <a:pt x="44" y="163"/>
                  </a:lnTo>
                  <a:lnTo>
                    <a:pt x="51" y="145"/>
                  </a:lnTo>
                  <a:lnTo>
                    <a:pt x="58" y="130"/>
                  </a:lnTo>
                  <a:lnTo>
                    <a:pt x="67" y="115"/>
                  </a:lnTo>
                  <a:lnTo>
                    <a:pt x="78" y="101"/>
                  </a:lnTo>
                  <a:lnTo>
                    <a:pt x="88" y="88"/>
                  </a:lnTo>
                  <a:lnTo>
                    <a:pt x="101" y="77"/>
                  </a:lnTo>
                  <a:lnTo>
                    <a:pt x="115" y="67"/>
                  </a:lnTo>
                  <a:lnTo>
                    <a:pt x="131" y="58"/>
                  </a:lnTo>
                  <a:lnTo>
                    <a:pt x="146" y="50"/>
                  </a:lnTo>
                  <a:lnTo>
                    <a:pt x="163" y="44"/>
                  </a:lnTo>
                  <a:lnTo>
                    <a:pt x="180" y="40"/>
                  </a:lnTo>
                  <a:lnTo>
                    <a:pt x="197" y="36"/>
                  </a:lnTo>
                  <a:lnTo>
                    <a:pt x="216" y="36"/>
                  </a:lnTo>
                  <a:lnTo>
                    <a:pt x="219" y="35"/>
                  </a:lnTo>
                  <a:lnTo>
                    <a:pt x="223" y="34"/>
                  </a:lnTo>
                  <a:lnTo>
                    <a:pt x="226" y="33"/>
                  </a:lnTo>
                  <a:lnTo>
                    <a:pt x="229" y="31"/>
                  </a:lnTo>
                  <a:lnTo>
                    <a:pt x="231" y="28"/>
                  </a:lnTo>
                  <a:lnTo>
                    <a:pt x="232" y="24"/>
                  </a:lnTo>
                  <a:lnTo>
                    <a:pt x="233" y="21"/>
                  </a:lnTo>
                  <a:lnTo>
                    <a:pt x="234" y="18"/>
                  </a:lnTo>
                  <a:lnTo>
                    <a:pt x="233" y="15"/>
                  </a:lnTo>
                  <a:lnTo>
                    <a:pt x="232" y="10"/>
                  </a:lnTo>
                  <a:lnTo>
                    <a:pt x="231" y="8"/>
                  </a:lnTo>
                  <a:lnTo>
                    <a:pt x="229" y="5"/>
                  </a:lnTo>
                  <a:lnTo>
                    <a:pt x="226" y="3"/>
                  </a:lnTo>
                  <a:lnTo>
                    <a:pt x="223" y="2"/>
                  </a:lnTo>
                  <a:lnTo>
                    <a:pt x="219" y="1"/>
                  </a:lnTo>
                  <a:lnTo>
                    <a:pt x="2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lumMod val="95000"/>
                  </a:schemeClr>
                </a:solidFill>
                <a:latin typeface="+mn-lt"/>
              </a:endParaRPr>
            </a:p>
          </p:txBody>
        </p:sp>
      </p:grpSp>
      <p:grpSp>
        <p:nvGrpSpPr>
          <p:cNvPr id="57" name="Group 56"/>
          <p:cNvGrpSpPr/>
          <p:nvPr/>
        </p:nvGrpSpPr>
        <p:grpSpPr>
          <a:xfrm>
            <a:off x="4962787" y="3249986"/>
            <a:ext cx="296688" cy="296688"/>
            <a:chOff x="3648868" y="2753915"/>
            <a:chExt cx="457200" cy="457200"/>
          </a:xfrm>
          <a:solidFill>
            <a:schemeClr val="bg1">
              <a:lumMod val="85000"/>
            </a:schemeClr>
          </a:solidFill>
        </p:grpSpPr>
        <p:sp>
          <p:nvSpPr>
            <p:cNvPr id="58" name="Freeform 127"/>
            <p:cNvSpPr>
              <a:spLocks noEditPoints="1"/>
            </p:cNvSpPr>
            <p:nvPr/>
          </p:nvSpPr>
          <p:spPr bwMode="auto">
            <a:xfrm>
              <a:off x="3648868" y="2753915"/>
              <a:ext cx="457200" cy="457200"/>
            </a:xfrm>
            <a:custGeom>
              <a:avLst/>
              <a:gdLst>
                <a:gd name="T0" fmla="*/ 630 w 1152"/>
                <a:gd name="T1" fmla="*/ 780 h 1152"/>
                <a:gd name="T2" fmla="*/ 534 w 1152"/>
                <a:gd name="T3" fmla="*/ 739 h 1152"/>
                <a:gd name="T4" fmla="*/ 454 w 1152"/>
                <a:gd name="T5" fmla="*/ 674 h 1152"/>
                <a:gd name="T6" fmla="*/ 395 w 1152"/>
                <a:gd name="T7" fmla="*/ 588 h 1152"/>
                <a:gd name="T8" fmla="*/ 364 w 1152"/>
                <a:gd name="T9" fmla="*/ 487 h 1152"/>
                <a:gd name="T10" fmla="*/ 364 w 1152"/>
                <a:gd name="T11" fmla="*/ 378 h 1152"/>
                <a:gd name="T12" fmla="*/ 395 w 1152"/>
                <a:gd name="T13" fmla="*/ 276 h 1152"/>
                <a:gd name="T14" fmla="*/ 454 w 1152"/>
                <a:gd name="T15" fmla="*/ 190 h 1152"/>
                <a:gd name="T16" fmla="*/ 534 w 1152"/>
                <a:gd name="T17" fmla="*/ 124 h 1152"/>
                <a:gd name="T18" fmla="*/ 630 w 1152"/>
                <a:gd name="T19" fmla="*/ 83 h 1152"/>
                <a:gd name="T20" fmla="*/ 739 w 1152"/>
                <a:gd name="T21" fmla="*/ 72 h 1152"/>
                <a:gd name="T22" fmla="*/ 844 w 1152"/>
                <a:gd name="T23" fmla="*/ 94 h 1152"/>
                <a:gd name="T24" fmla="*/ 936 w 1152"/>
                <a:gd name="T25" fmla="*/ 143 h 1152"/>
                <a:gd name="T26" fmla="*/ 1009 w 1152"/>
                <a:gd name="T27" fmla="*/ 217 h 1152"/>
                <a:gd name="T28" fmla="*/ 1059 w 1152"/>
                <a:gd name="T29" fmla="*/ 309 h 1152"/>
                <a:gd name="T30" fmla="*/ 1079 w 1152"/>
                <a:gd name="T31" fmla="*/ 413 h 1152"/>
                <a:gd name="T32" fmla="*/ 1068 w 1152"/>
                <a:gd name="T33" fmla="*/ 522 h 1152"/>
                <a:gd name="T34" fmla="*/ 1028 w 1152"/>
                <a:gd name="T35" fmla="*/ 618 h 1152"/>
                <a:gd name="T36" fmla="*/ 963 w 1152"/>
                <a:gd name="T37" fmla="*/ 698 h 1152"/>
                <a:gd name="T38" fmla="*/ 876 w 1152"/>
                <a:gd name="T39" fmla="*/ 757 h 1152"/>
                <a:gd name="T40" fmla="*/ 775 w 1152"/>
                <a:gd name="T41" fmla="*/ 788 h 1152"/>
                <a:gd name="T42" fmla="*/ 163 w 1152"/>
                <a:gd name="T43" fmla="*/ 1077 h 1152"/>
                <a:gd name="T44" fmla="*/ 127 w 1152"/>
                <a:gd name="T45" fmla="*/ 1088 h 1152"/>
                <a:gd name="T46" fmla="*/ 92 w 1152"/>
                <a:gd name="T47" fmla="*/ 1077 h 1152"/>
                <a:gd name="T48" fmla="*/ 68 w 1152"/>
                <a:gd name="T49" fmla="*/ 1049 h 1152"/>
                <a:gd name="T50" fmla="*/ 65 w 1152"/>
                <a:gd name="T51" fmla="*/ 1012 h 1152"/>
                <a:gd name="T52" fmla="*/ 83 w 1152"/>
                <a:gd name="T53" fmla="*/ 979 h 1152"/>
                <a:gd name="T54" fmla="*/ 415 w 1152"/>
                <a:gd name="T55" fmla="*/ 737 h 1152"/>
                <a:gd name="T56" fmla="*/ 719 w 1152"/>
                <a:gd name="T57" fmla="*/ 0 h 1152"/>
                <a:gd name="T58" fmla="*/ 592 w 1152"/>
                <a:gd name="T59" fmla="*/ 19 h 1152"/>
                <a:gd name="T60" fmla="*/ 479 w 1152"/>
                <a:gd name="T61" fmla="*/ 74 h 1152"/>
                <a:gd name="T62" fmla="*/ 387 w 1152"/>
                <a:gd name="T63" fmla="*/ 157 h 1152"/>
                <a:gd name="T64" fmla="*/ 322 w 1152"/>
                <a:gd name="T65" fmla="*/ 264 h 1152"/>
                <a:gd name="T66" fmla="*/ 291 w 1152"/>
                <a:gd name="T67" fmla="*/ 387 h 1152"/>
                <a:gd name="T68" fmla="*/ 302 w 1152"/>
                <a:gd name="T69" fmla="*/ 537 h 1152"/>
                <a:gd name="T70" fmla="*/ 38 w 1152"/>
                <a:gd name="T71" fmla="*/ 934 h 1152"/>
                <a:gd name="T72" fmla="*/ 2 w 1152"/>
                <a:gd name="T73" fmla="*/ 999 h 1152"/>
                <a:gd name="T74" fmla="*/ 10 w 1152"/>
                <a:gd name="T75" fmla="*/ 1074 h 1152"/>
                <a:gd name="T76" fmla="*/ 56 w 1152"/>
                <a:gd name="T77" fmla="*/ 1130 h 1152"/>
                <a:gd name="T78" fmla="*/ 127 w 1152"/>
                <a:gd name="T79" fmla="*/ 1152 h 1152"/>
                <a:gd name="T80" fmla="*/ 199 w 1152"/>
                <a:gd name="T81" fmla="*/ 1129 h 1152"/>
                <a:gd name="T82" fmla="*/ 565 w 1152"/>
                <a:gd name="T83" fmla="*/ 834 h 1152"/>
                <a:gd name="T84" fmla="*/ 719 w 1152"/>
                <a:gd name="T85" fmla="*/ 864 h 1152"/>
                <a:gd name="T86" fmla="*/ 848 w 1152"/>
                <a:gd name="T87" fmla="*/ 844 h 1152"/>
                <a:gd name="T88" fmla="*/ 961 w 1152"/>
                <a:gd name="T89" fmla="*/ 790 h 1152"/>
                <a:gd name="T90" fmla="*/ 1053 w 1152"/>
                <a:gd name="T91" fmla="*/ 707 h 1152"/>
                <a:gd name="T92" fmla="*/ 1118 w 1152"/>
                <a:gd name="T93" fmla="*/ 600 h 1152"/>
                <a:gd name="T94" fmla="*/ 1149 w 1152"/>
                <a:gd name="T95" fmla="*/ 476 h 1152"/>
                <a:gd name="T96" fmla="*/ 1143 w 1152"/>
                <a:gd name="T97" fmla="*/ 345 h 1152"/>
                <a:gd name="T98" fmla="*/ 1100 w 1152"/>
                <a:gd name="T99" fmla="*/ 226 h 1152"/>
                <a:gd name="T100" fmla="*/ 1025 w 1152"/>
                <a:gd name="T101" fmla="*/ 126 h 1152"/>
                <a:gd name="T102" fmla="*/ 926 w 1152"/>
                <a:gd name="T103" fmla="*/ 53 h 1152"/>
                <a:gd name="T104" fmla="*/ 807 w 1152"/>
                <a:gd name="T105" fmla="*/ 8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52" h="1152">
                  <a:moveTo>
                    <a:pt x="719" y="792"/>
                  </a:moveTo>
                  <a:lnTo>
                    <a:pt x="701" y="791"/>
                  </a:lnTo>
                  <a:lnTo>
                    <a:pt x="683" y="790"/>
                  </a:lnTo>
                  <a:lnTo>
                    <a:pt x="665" y="788"/>
                  </a:lnTo>
                  <a:lnTo>
                    <a:pt x="647" y="785"/>
                  </a:lnTo>
                  <a:lnTo>
                    <a:pt x="630" y="780"/>
                  </a:lnTo>
                  <a:lnTo>
                    <a:pt x="613" y="776"/>
                  </a:lnTo>
                  <a:lnTo>
                    <a:pt x="596" y="770"/>
                  </a:lnTo>
                  <a:lnTo>
                    <a:pt x="580" y="763"/>
                  </a:lnTo>
                  <a:lnTo>
                    <a:pt x="564" y="757"/>
                  </a:lnTo>
                  <a:lnTo>
                    <a:pt x="549" y="748"/>
                  </a:lnTo>
                  <a:lnTo>
                    <a:pt x="534" y="739"/>
                  </a:lnTo>
                  <a:lnTo>
                    <a:pt x="519" y="731"/>
                  </a:lnTo>
                  <a:lnTo>
                    <a:pt x="505" y="720"/>
                  </a:lnTo>
                  <a:lnTo>
                    <a:pt x="491" y="709"/>
                  </a:lnTo>
                  <a:lnTo>
                    <a:pt x="478" y="698"/>
                  </a:lnTo>
                  <a:lnTo>
                    <a:pt x="466" y="687"/>
                  </a:lnTo>
                  <a:lnTo>
                    <a:pt x="454" y="674"/>
                  </a:lnTo>
                  <a:lnTo>
                    <a:pt x="442" y="661"/>
                  </a:lnTo>
                  <a:lnTo>
                    <a:pt x="431" y="648"/>
                  </a:lnTo>
                  <a:lnTo>
                    <a:pt x="421" y="634"/>
                  </a:lnTo>
                  <a:lnTo>
                    <a:pt x="412" y="618"/>
                  </a:lnTo>
                  <a:lnTo>
                    <a:pt x="403" y="603"/>
                  </a:lnTo>
                  <a:lnTo>
                    <a:pt x="395" y="588"/>
                  </a:lnTo>
                  <a:lnTo>
                    <a:pt x="388" y="572"/>
                  </a:lnTo>
                  <a:lnTo>
                    <a:pt x="381" y="556"/>
                  </a:lnTo>
                  <a:lnTo>
                    <a:pt x="376" y="539"/>
                  </a:lnTo>
                  <a:lnTo>
                    <a:pt x="372" y="522"/>
                  </a:lnTo>
                  <a:lnTo>
                    <a:pt x="367" y="504"/>
                  </a:lnTo>
                  <a:lnTo>
                    <a:pt x="364" y="487"/>
                  </a:lnTo>
                  <a:lnTo>
                    <a:pt x="362" y="468"/>
                  </a:lnTo>
                  <a:lnTo>
                    <a:pt x="361" y="450"/>
                  </a:lnTo>
                  <a:lnTo>
                    <a:pt x="360" y="432"/>
                  </a:lnTo>
                  <a:lnTo>
                    <a:pt x="361" y="413"/>
                  </a:lnTo>
                  <a:lnTo>
                    <a:pt x="362" y="395"/>
                  </a:lnTo>
                  <a:lnTo>
                    <a:pt x="364" y="378"/>
                  </a:lnTo>
                  <a:lnTo>
                    <a:pt x="367" y="359"/>
                  </a:lnTo>
                  <a:lnTo>
                    <a:pt x="372" y="342"/>
                  </a:lnTo>
                  <a:lnTo>
                    <a:pt x="376" y="325"/>
                  </a:lnTo>
                  <a:lnTo>
                    <a:pt x="381" y="309"/>
                  </a:lnTo>
                  <a:lnTo>
                    <a:pt x="388" y="292"/>
                  </a:lnTo>
                  <a:lnTo>
                    <a:pt x="395" y="276"/>
                  </a:lnTo>
                  <a:lnTo>
                    <a:pt x="403" y="260"/>
                  </a:lnTo>
                  <a:lnTo>
                    <a:pt x="412" y="245"/>
                  </a:lnTo>
                  <a:lnTo>
                    <a:pt x="421" y="231"/>
                  </a:lnTo>
                  <a:lnTo>
                    <a:pt x="431" y="217"/>
                  </a:lnTo>
                  <a:lnTo>
                    <a:pt x="442" y="203"/>
                  </a:lnTo>
                  <a:lnTo>
                    <a:pt x="454" y="190"/>
                  </a:lnTo>
                  <a:lnTo>
                    <a:pt x="466" y="178"/>
                  </a:lnTo>
                  <a:lnTo>
                    <a:pt x="478" y="166"/>
                  </a:lnTo>
                  <a:lnTo>
                    <a:pt x="491" y="154"/>
                  </a:lnTo>
                  <a:lnTo>
                    <a:pt x="505" y="143"/>
                  </a:lnTo>
                  <a:lnTo>
                    <a:pt x="519" y="134"/>
                  </a:lnTo>
                  <a:lnTo>
                    <a:pt x="534" y="124"/>
                  </a:lnTo>
                  <a:lnTo>
                    <a:pt x="549" y="115"/>
                  </a:lnTo>
                  <a:lnTo>
                    <a:pt x="564" y="108"/>
                  </a:lnTo>
                  <a:lnTo>
                    <a:pt x="580" y="100"/>
                  </a:lnTo>
                  <a:lnTo>
                    <a:pt x="596" y="94"/>
                  </a:lnTo>
                  <a:lnTo>
                    <a:pt x="613" y="88"/>
                  </a:lnTo>
                  <a:lnTo>
                    <a:pt x="630" y="83"/>
                  </a:lnTo>
                  <a:lnTo>
                    <a:pt x="647" y="80"/>
                  </a:lnTo>
                  <a:lnTo>
                    <a:pt x="665" y="76"/>
                  </a:lnTo>
                  <a:lnTo>
                    <a:pt x="683" y="74"/>
                  </a:lnTo>
                  <a:lnTo>
                    <a:pt x="701" y="72"/>
                  </a:lnTo>
                  <a:lnTo>
                    <a:pt x="719" y="72"/>
                  </a:lnTo>
                  <a:lnTo>
                    <a:pt x="739" y="72"/>
                  </a:lnTo>
                  <a:lnTo>
                    <a:pt x="757" y="74"/>
                  </a:lnTo>
                  <a:lnTo>
                    <a:pt x="775" y="76"/>
                  </a:lnTo>
                  <a:lnTo>
                    <a:pt x="793" y="80"/>
                  </a:lnTo>
                  <a:lnTo>
                    <a:pt x="810" y="83"/>
                  </a:lnTo>
                  <a:lnTo>
                    <a:pt x="827" y="88"/>
                  </a:lnTo>
                  <a:lnTo>
                    <a:pt x="844" y="94"/>
                  </a:lnTo>
                  <a:lnTo>
                    <a:pt x="860" y="100"/>
                  </a:lnTo>
                  <a:lnTo>
                    <a:pt x="876" y="108"/>
                  </a:lnTo>
                  <a:lnTo>
                    <a:pt x="891" y="115"/>
                  </a:lnTo>
                  <a:lnTo>
                    <a:pt x="906" y="124"/>
                  </a:lnTo>
                  <a:lnTo>
                    <a:pt x="921" y="134"/>
                  </a:lnTo>
                  <a:lnTo>
                    <a:pt x="936" y="143"/>
                  </a:lnTo>
                  <a:lnTo>
                    <a:pt x="948" y="154"/>
                  </a:lnTo>
                  <a:lnTo>
                    <a:pt x="963" y="166"/>
                  </a:lnTo>
                  <a:lnTo>
                    <a:pt x="974" y="178"/>
                  </a:lnTo>
                  <a:lnTo>
                    <a:pt x="986" y="190"/>
                  </a:lnTo>
                  <a:lnTo>
                    <a:pt x="998" y="203"/>
                  </a:lnTo>
                  <a:lnTo>
                    <a:pt x="1009" y="217"/>
                  </a:lnTo>
                  <a:lnTo>
                    <a:pt x="1019" y="231"/>
                  </a:lnTo>
                  <a:lnTo>
                    <a:pt x="1028" y="245"/>
                  </a:lnTo>
                  <a:lnTo>
                    <a:pt x="1037" y="260"/>
                  </a:lnTo>
                  <a:lnTo>
                    <a:pt x="1045" y="276"/>
                  </a:lnTo>
                  <a:lnTo>
                    <a:pt x="1052" y="292"/>
                  </a:lnTo>
                  <a:lnTo>
                    <a:pt x="1059" y="309"/>
                  </a:lnTo>
                  <a:lnTo>
                    <a:pt x="1064" y="325"/>
                  </a:lnTo>
                  <a:lnTo>
                    <a:pt x="1068" y="342"/>
                  </a:lnTo>
                  <a:lnTo>
                    <a:pt x="1073" y="359"/>
                  </a:lnTo>
                  <a:lnTo>
                    <a:pt x="1076" y="378"/>
                  </a:lnTo>
                  <a:lnTo>
                    <a:pt x="1078" y="395"/>
                  </a:lnTo>
                  <a:lnTo>
                    <a:pt x="1079" y="413"/>
                  </a:lnTo>
                  <a:lnTo>
                    <a:pt x="1080" y="432"/>
                  </a:lnTo>
                  <a:lnTo>
                    <a:pt x="1079" y="450"/>
                  </a:lnTo>
                  <a:lnTo>
                    <a:pt x="1078" y="468"/>
                  </a:lnTo>
                  <a:lnTo>
                    <a:pt x="1076" y="487"/>
                  </a:lnTo>
                  <a:lnTo>
                    <a:pt x="1073" y="504"/>
                  </a:lnTo>
                  <a:lnTo>
                    <a:pt x="1068" y="522"/>
                  </a:lnTo>
                  <a:lnTo>
                    <a:pt x="1064" y="539"/>
                  </a:lnTo>
                  <a:lnTo>
                    <a:pt x="1059" y="556"/>
                  </a:lnTo>
                  <a:lnTo>
                    <a:pt x="1052" y="572"/>
                  </a:lnTo>
                  <a:lnTo>
                    <a:pt x="1045" y="588"/>
                  </a:lnTo>
                  <a:lnTo>
                    <a:pt x="1037" y="603"/>
                  </a:lnTo>
                  <a:lnTo>
                    <a:pt x="1028" y="618"/>
                  </a:lnTo>
                  <a:lnTo>
                    <a:pt x="1019" y="634"/>
                  </a:lnTo>
                  <a:lnTo>
                    <a:pt x="1009" y="648"/>
                  </a:lnTo>
                  <a:lnTo>
                    <a:pt x="998" y="661"/>
                  </a:lnTo>
                  <a:lnTo>
                    <a:pt x="986" y="674"/>
                  </a:lnTo>
                  <a:lnTo>
                    <a:pt x="974" y="687"/>
                  </a:lnTo>
                  <a:lnTo>
                    <a:pt x="963" y="698"/>
                  </a:lnTo>
                  <a:lnTo>
                    <a:pt x="948" y="709"/>
                  </a:lnTo>
                  <a:lnTo>
                    <a:pt x="936" y="720"/>
                  </a:lnTo>
                  <a:lnTo>
                    <a:pt x="921" y="731"/>
                  </a:lnTo>
                  <a:lnTo>
                    <a:pt x="906" y="739"/>
                  </a:lnTo>
                  <a:lnTo>
                    <a:pt x="891" y="748"/>
                  </a:lnTo>
                  <a:lnTo>
                    <a:pt x="876" y="757"/>
                  </a:lnTo>
                  <a:lnTo>
                    <a:pt x="860" y="763"/>
                  </a:lnTo>
                  <a:lnTo>
                    <a:pt x="844" y="770"/>
                  </a:lnTo>
                  <a:lnTo>
                    <a:pt x="827" y="776"/>
                  </a:lnTo>
                  <a:lnTo>
                    <a:pt x="810" y="780"/>
                  </a:lnTo>
                  <a:lnTo>
                    <a:pt x="793" y="785"/>
                  </a:lnTo>
                  <a:lnTo>
                    <a:pt x="775" y="788"/>
                  </a:lnTo>
                  <a:lnTo>
                    <a:pt x="757" y="790"/>
                  </a:lnTo>
                  <a:lnTo>
                    <a:pt x="739" y="791"/>
                  </a:lnTo>
                  <a:lnTo>
                    <a:pt x="719" y="792"/>
                  </a:lnTo>
                  <a:close/>
                  <a:moveTo>
                    <a:pt x="173" y="1069"/>
                  </a:moveTo>
                  <a:lnTo>
                    <a:pt x="168" y="1073"/>
                  </a:lnTo>
                  <a:lnTo>
                    <a:pt x="163" y="1077"/>
                  </a:lnTo>
                  <a:lnTo>
                    <a:pt x="158" y="1081"/>
                  </a:lnTo>
                  <a:lnTo>
                    <a:pt x="152" y="1083"/>
                  </a:lnTo>
                  <a:lnTo>
                    <a:pt x="146" y="1085"/>
                  </a:lnTo>
                  <a:lnTo>
                    <a:pt x="141" y="1087"/>
                  </a:lnTo>
                  <a:lnTo>
                    <a:pt x="134" y="1088"/>
                  </a:lnTo>
                  <a:lnTo>
                    <a:pt x="127" y="1088"/>
                  </a:lnTo>
                  <a:lnTo>
                    <a:pt x="120" y="1088"/>
                  </a:lnTo>
                  <a:lnTo>
                    <a:pt x="115" y="1087"/>
                  </a:lnTo>
                  <a:lnTo>
                    <a:pt x="108" y="1085"/>
                  </a:lnTo>
                  <a:lnTo>
                    <a:pt x="103" y="1083"/>
                  </a:lnTo>
                  <a:lnTo>
                    <a:pt x="96" y="1081"/>
                  </a:lnTo>
                  <a:lnTo>
                    <a:pt x="92" y="1077"/>
                  </a:lnTo>
                  <a:lnTo>
                    <a:pt x="87" y="1074"/>
                  </a:lnTo>
                  <a:lnTo>
                    <a:pt x="82" y="1070"/>
                  </a:lnTo>
                  <a:lnTo>
                    <a:pt x="78" y="1066"/>
                  </a:lnTo>
                  <a:lnTo>
                    <a:pt x="75" y="1060"/>
                  </a:lnTo>
                  <a:lnTo>
                    <a:pt x="71" y="1055"/>
                  </a:lnTo>
                  <a:lnTo>
                    <a:pt x="68" y="1049"/>
                  </a:lnTo>
                  <a:lnTo>
                    <a:pt x="66" y="1044"/>
                  </a:lnTo>
                  <a:lnTo>
                    <a:pt x="65" y="1038"/>
                  </a:lnTo>
                  <a:lnTo>
                    <a:pt x="64" y="1031"/>
                  </a:lnTo>
                  <a:lnTo>
                    <a:pt x="64" y="1025"/>
                  </a:lnTo>
                  <a:lnTo>
                    <a:pt x="64" y="1018"/>
                  </a:lnTo>
                  <a:lnTo>
                    <a:pt x="65" y="1012"/>
                  </a:lnTo>
                  <a:lnTo>
                    <a:pt x="66" y="1006"/>
                  </a:lnTo>
                  <a:lnTo>
                    <a:pt x="69" y="1000"/>
                  </a:lnTo>
                  <a:lnTo>
                    <a:pt x="71" y="994"/>
                  </a:lnTo>
                  <a:lnTo>
                    <a:pt x="75" y="989"/>
                  </a:lnTo>
                  <a:lnTo>
                    <a:pt x="79" y="984"/>
                  </a:lnTo>
                  <a:lnTo>
                    <a:pt x="83" y="979"/>
                  </a:lnTo>
                  <a:lnTo>
                    <a:pt x="82" y="979"/>
                  </a:lnTo>
                  <a:lnTo>
                    <a:pt x="373" y="689"/>
                  </a:lnTo>
                  <a:lnTo>
                    <a:pt x="383" y="702"/>
                  </a:lnTo>
                  <a:lnTo>
                    <a:pt x="393" y="714"/>
                  </a:lnTo>
                  <a:lnTo>
                    <a:pt x="404" y="725"/>
                  </a:lnTo>
                  <a:lnTo>
                    <a:pt x="415" y="737"/>
                  </a:lnTo>
                  <a:lnTo>
                    <a:pt x="426" y="748"/>
                  </a:lnTo>
                  <a:lnTo>
                    <a:pt x="438" y="759"/>
                  </a:lnTo>
                  <a:lnTo>
                    <a:pt x="451" y="769"/>
                  </a:lnTo>
                  <a:lnTo>
                    <a:pt x="462" y="778"/>
                  </a:lnTo>
                  <a:lnTo>
                    <a:pt x="173" y="1069"/>
                  </a:lnTo>
                  <a:close/>
                  <a:moveTo>
                    <a:pt x="719" y="0"/>
                  </a:moveTo>
                  <a:lnTo>
                    <a:pt x="698" y="1"/>
                  </a:lnTo>
                  <a:lnTo>
                    <a:pt x="676" y="2"/>
                  </a:lnTo>
                  <a:lnTo>
                    <a:pt x="655" y="5"/>
                  </a:lnTo>
                  <a:lnTo>
                    <a:pt x="633" y="8"/>
                  </a:lnTo>
                  <a:lnTo>
                    <a:pt x="611" y="14"/>
                  </a:lnTo>
                  <a:lnTo>
                    <a:pt x="592" y="19"/>
                  </a:lnTo>
                  <a:lnTo>
                    <a:pt x="572" y="27"/>
                  </a:lnTo>
                  <a:lnTo>
                    <a:pt x="552" y="34"/>
                  </a:lnTo>
                  <a:lnTo>
                    <a:pt x="533" y="43"/>
                  </a:lnTo>
                  <a:lnTo>
                    <a:pt x="514" y="53"/>
                  </a:lnTo>
                  <a:lnTo>
                    <a:pt x="496" y="62"/>
                  </a:lnTo>
                  <a:lnTo>
                    <a:pt x="479" y="74"/>
                  </a:lnTo>
                  <a:lnTo>
                    <a:pt x="461" y="86"/>
                  </a:lnTo>
                  <a:lnTo>
                    <a:pt x="445" y="99"/>
                  </a:lnTo>
                  <a:lnTo>
                    <a:pt x="430" y="112"/>
                  </a:lnTo>
                  <a:lnTo>
                    <a:pt x="415" y="126"/>
                  </a:lnTo>
                  <a:lnTo>
                    <a:pt x="400" y="141"/>
                  </a:lnTo>
                  <a:lnTo>
                    <a:pt x="387" y="157"/>
                  </a:lnTo>
                  <a:lnTo>
                    <a:pt x="374" y="174"/>
                  </a:lnTo>
                  <a:lnTo>
                    <a:pt x="362" y="191"/>
                  </a:lnTo>
                  <a:lnTo>
                    <a:pt x="350" y="208"/>
                  </a:lnTo>
                  <a:lnTo>
                    <a:pt x="340" y="226"/>
                  </a:lnTo>
                  <a:lnTo>
                    <a:pt x="331" y="245"/>
                  </a:lnTo>
                  <a:lnTo>
                    <a:pt x="322" y="264"/>
                  </a:lnTo>
                  <a:lnTo>
                    <a:pt x="314" y="284"/>
                  </a:lnTo>
                  <a:lnTo>
                    <a:pt x="307" y="303"/>
                  </a:lnTo>
                  <a:lnTo>
                    <a:pt x="302" y="324"/>
                  </a:lnTo>
                  <a:lnTo>
                    <a:pt x="297" y="345"/>
                  </a:lnTo>
                  <a:lnTo>
                    <a:pt x="293" y="366"/>
                  </a:lnTo>
                  <a:lnTo>
                    <a:pt x="291" y="387"/>
                  </a:lnTo>
                  <a:lnTo>
                    <a:pt x="289" y="410"/>
                  </a:lnTo>
                  <a:lnTo>
                    <a:pt x="287" y="432"/>
                  </a:lnTo>
                  <a:lnTo>
                    <a:pt x="289" y="459"/>
                  </a:lnTo>
                  <a:lnTo>
                    <a:pt x="292" y="486"/>
                  </a:lnTo>
                  <a:lnTo>
                    <a:pt x="295" y="512"/>
                  </a:lnTo>
                  <a:lnTo>
                    <a:pt x="302" y="537"/>
                  </a:lnTo>
                  <a:lnTo>
                    <a:pt x="308" y="562"/>
                  </a:lnTo>
                  <a:lnTo>
                    <a:pt x="317" y="587"/>
                  </a:lnTo>
                  <a:lnTo>
                    <a:pt x="326" y="611"/>
                  </a:lnTo>
                  <a:lnTo>
                    <a:pt x="338" y="634"/>
                  </a:lnTo>
                  <a:lnTo>
                    <a:pt x="38" y="934"/>
                  </a:lnTo>
                  <a:lnTo>
                    <a:pt x="38" y="934"/>
                  </a:lnTo>
                  <a:lnTo>
                    <a:pt x="29" y="944"/>
                  </a:lnTo>
                  <a:lnTo>
                    <a:pt x="22" y="953"/>
                  </a:lnTo>
                  <a:lnTo>
                    <a:pt x="15" y="964"/>
                  </a:lnTo>
                  <a:lnTo>
                    <a:pt x="10" y="975"/>
                  </a:lnTo>
                  <a:lnTo>
                    <a:pt x="6" y="987"/>
                  </a:lnTo>
                  <a:lnTo>
                    <a:pt x="2" y="999"/>
                  </a:lnTo>
                  <a:lnTo>
                    <a:pt x="0" y="1012"/>
                  </a:lnTo>
                  <a:lnTo>
                    <a:pt x="0" y="1025"/>
                  </a:lnTo>
                  <a:lnTo>
                    <a:pt x="0" y="1038"/>
                  </a:lnTo>
                  <a:lnTo>
                    <a:pt x="2" y="1050"/>
                  </a:lnTo>
                  <a:lnTo>
                    <a:pt x="6" y="1062"/>
                  </a:lnTo>
                  <a:lnTo>
                    <a:pt x="10" y="1074"/>
                  </a:lnTo>
                  <a:lnTo>
                    <a:pt x="15" y="1085"/>
                  </a:lnTo>
                  <a:lnTo>
                    <a:pt x="22" y="1096"/>
                  </a:lnTo>
                  <a:lnTo>
                    <a:pt x="29" y="1106"/>
                  </a:lnTo>
                  <a:lnTo>
                    <a:pt x="37" y="1114"/>
                  </a:lnTo>
                  <a:lnTo>
                    <a:pt x="47" y="1123"/>
                  </a:lnTo>
                  <a:lnTo>
                    <a:pt x="56" y="1130"/>
                  </a:lnTo>
                  <a:lnTo>
                    <a:pt x="66" y="1137"/>
                  </a:lnTo>
                  <a:lnTo>
                    <a:pt x="78" y="1142"/>
                  </a:lnTo>
                  <a:lnTo>
                    <a:pt x="89" y="1147"/>
                  </a:lnTo>
                  <a:lnTo>
                    <a:pt x="102" y="1150"/>
                  </a:lnTo>
                  <a:lnTo>
                    <a:pt x="114" y="1151"/>
                  </a:lnTo>
                  <a:lnTo>
                    <a:pt x="127" y="1152"/>
                  </a:lnTo>
                  <a:lnTo>
                    <a:pt x="141" y="1151"/>
                  </a:lnTo>
                  <a:lnTo>
                    <a:pt x="152" y="1149"/>
                  </a:lnTo>
                  <a:lnTo>
                    <a:pt x="165" y="1147"/>
                  </a:lnTo>
                  <a:lnTo>
                    <a:pt x="177" y="1141"/>
                  </a:lnTo>
                  <a:lnTo>
                    <a:pt x="188" y="1136"/>
                  </a:lnTo>
                  <a:lnTo>
                    <a:pt x="199" y="1129"/>
                  </a:lnTo>
                  <a:lnTo>
                    <a:pt x="209" y="1122"/>
                  </a:lnTo>
                  <a:lnTo>
                    <a:pt x="217" y="1114"/>
                  </a:lnTo>
                  <a:lnTo>
                    <a:pt x="217" y="1114"/>
                  </a:lnTo>
                  <a:lnTo>
                    <a:pt x="518" y="814"/>
                  </a:lnTo>
                  <a:lnTo>
                    <a:pt x="541" y="825"/>
                  </a:lnTo>
                  <a:lnTo>
                    <a:pt x="565" y="834"/>
                  </a:lnTo>
                  <a:lnTo>
                    <a:pt x="589" y="843"/>
                  </a:lnTo>
                  <a:lnTo>
                    <a:pt x="614" y="851"/>
                  </a:lnTo>
                  <a:lnTo>
                    <a:pt x="640" y="856"/>
                  </a:lnTo>
                  <a:lnTo>
                    <a:pt x="667" y="860"/>
                  </a:lnTo>
                  <a:lnTo>
                    <a:pt x="692" y="864"/>
                  </a:lnTo>
                  <a:lnTo>
                    <a:pt x="719" y="864"/>
                  </a:lnTo>
                  <a:lnTo>
                    <a:pt x="742" y="864"/>
                  </a:lnTo>
                  <a:lnTo>
                    <a:pt x="764" y="861"/>
                  </a:lnTo>
                  <a:lnTo>
                    <a:pt x="785" y="859"/>
                  </a:lnTo>
                  <a:lnTo>
                    <a:pt x="807" y="855"/>
                  </a:lnTo>
                  <a:lnTo>
                    <a:pt x="827" y="851"/>
                  </a:lnTo>
                  <a:lnTo>
                    <a:pt x="848" y="844"/>
                  </a:lnTo>
                  <a:lnTo>
                    <a:pt x="869" y="838"/>
                  </a:lnTo>
                  <a:lnTo>
                    <a:pt x="888" y="830"/>
                  </a:lnTo>
                  <a:lnTo>
                    <a:pt x="907" y="822"/>
                  </a:lnTo>
                  <a:lnTo>
                    <a:pt x="926" y="812"/>
                  </a:lnTo>
                  <a:lnTo>
                    <a:pt x="944" y="801"/>
                  </a:lnTo>
                  <a:lnTo>
                    <a:pt x="961" y="790"/>
                  </a:lnTo>
                  <a:lnTo>
                    <a:pt x="979" y="778"/>
                  </a:lnTo>
                  <a:lnTo>
                    <a:pt x="995" y="765"/>
                  </a:lnTo>
                  <a:lnTo>
                    <a:pt x="1010" y="751"/>
                  </a:lnTo>
                  <a:lnTo>
                    <a:pt x="1025" y="737"/>
                  </a:lnTo>
                  <a:lnTo>
                    <a:pt x="1040" y="722"/>
                  </a:lnTo>
                  <a:lnTo>
                    <a:pt x="1053" y="707"/>
                  </a:lnTo>
                  <a:lnTo>
                    <a:pt x="1066" y="691"/>
                  </a:lnTo>
                  <a:lnTo>
                    <a:pt x="1078" y="674"/>
                  </a:lnTo>
                  <a:lnTo>
                    <a:pt x="1090" y="656"/>
                  </a:lnTo>
                  <a:lnTo>
                    <a:pt x="1100" y="638"/>
                  </a:lnTo>
                  <a:lnTo>
                    <a:pt x="1109" y="620"/>
                  </a:lnTo>
                  <a:lnTo>
                    <a:pt x="1118" y="600"/>
                  </a:lnTo>
                  <a:lnTo>
                    <a:pt x="1126" y="581"/>
                  </a:lnTo>
                  <a:lnTo>
                    <a:pt x="1132" y="560"/>
                  </a:lnTo>
                  <a:lnTo>
                    <a:pt x="1139" y="540"/>
                  </a:lnTo>
                  <a:lnTo>
                    <a:pt x="1143" y="519"/>
                  </a:lnTo>
                  <a:lnTo>
                    <a:pt x="1147" y="498"/>
                  </a:lnTo>
                  <a:lnTo>
                    <a:pt x="1149" y="476"/>
                  </a:lnTo>
                  <a:lnTo>
                    <a:pt x="1152" y="454"/>
                  </a:lnTo>
                  <a:lnTo>
                    <a:pt x="1152" y="432"/>
                  </a:lnTo>
                  <a:lnTo>
                    <a:pt x="1152" y="410"/>
                  </a:lnTo>
                  <a:lnTo>
                    <a:pt x="1149" y="387"/>
                  </a:lnTo>
                  <a:lnTo>
                    <a:pt x="1147" y="366"/>
                  </a:lnTo>
                  <a:lnTo>
                    <a:pt x="1143" y="345"/>
                  </a:lnTo>
                  <a:lnTo>
                    <a:pt x="1139" y="324"/>
                  </a:lnTo>
                  <a:lnTo>
                    <a:pt x="1132" y="303"/>
                  </a:lnTo>
                  <a:lnTo>
                    <a:pt x="1126" y="284"/>
                  </a:lnTo>
                  <a:lnTo>
                    <a:pt x="1118" y="264"/>
                  </a:lnTo>
                  <a:lnTo>
                    <a:pt x="1109" y="245"/>
                  </a:lnTo>
                  <a:lnTo>
                    <a:pt x="1100" y="226"/>
                  </a:lnTo>
                  <a:lnTo>
                    <a:pt x="1090" y="208"/>
                  </a:lnTo>
                  <a:lnTo>
                    <a:pt x="1078" y="191"/>
                  </a:lnTo>
                  <a:lnTo>
                    <a:pt x="1066" y="174"/>
                  </a:lnTo>
                  <a:lnTo>
                    <a:pt x="1053" y="157"/>
                  </a:lnTo>
                  <a:lnTo>
                    <a:pt x="1040" y="141"/>
                  </a:lnTo>
                  <a:lnTo>
                    <a:pt x="1025" y="126"/>
                  </a:lnTo>
                  <a:lnTo>
                    <a:pt x="1010" y="112"/>
                  </a:lnTo>
                  <a:lnTo>
                    <a:pt x="995" y="99"/>
                  </a:lnTo>
                  <a:lnTo>
                    <a:pt x="979" y="86"/>
                  </a:lnTo>
                  <a:lnTo>
                    <a:pt x="961" y="74"/>
                  </a:lnTo>
                  <a:lnTo>
                    <a:pt x="944" y="62"/>
                  </a:lnTo>
                  <a:lnTo>
                    <a:pt x="926" y="53"/>
                  </a:lnTo>
                  <a:lnTo>
                    <a:pt x="907" y="43"/>
                  </a:lnTo>
                  <a:lnTo>
                    <a:pt x="888" y="34"/>
                  </a:lnTo>
                  <a:lnTo>
                    <a:pt x="869" y="27"/>
                  </a:lnTo>
                  <a:lnTo>
                    <a:pt x="848" y="19"/>
                  </a:lnTo>
                  <a:lnTo>
                    <a:pt x="827" y="14"/>
                  </a:lnTo>
                  <a:lnTo>
                    <a:pt x="807" y="8"/>
                  </a:lnTo>
                  <a:lnTo>
                    <a:pt x="785" y="5"/>
                  </a:lnTo>
                  <a:lnTo>
                    <a:pt x="764" y="2"/>
                  </a:lnTo>
                  <a:lnTo>
                    <a:pt x="742" y="1"/>
                  </a:lnTo>
                  <a:lnTo>
                    <a:pt x="7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lumMod val="95000"/>
                  </a:schemeClr>
                </a:solidFill>
                <a:latin typeface="+mn-lt"/>
              </a:endParaRPr>
            </a:p>
          </p:txBody>
        </p:sp>
        <p:sp>
          <p:nvSpPr>
            <p:cNvPr id="59" name="Freeform 128"/>
            <p:cNvSpPr>
              <a:spLocks/>
            </p:cNvSpPr>
            <p:nvPr/>
          </p:nvSpPr>
          <p:spPr bwMode="auto">
            <a:xfrm>
              <a:off x="3834606" y="2825353"/>
              <a:ext cx="106363" cy="107950"/>
            </a:xfrm>
            <a:custGeom>
              <a:avLst/>
              <a:gdLst>
                <a:gd name="T0" fmla="*/ 239 w 270"/>
                <a:gd name="T1" fmla="*/ 0 h 270"/>
                <a:gd name="T2" fmla="*/ 214 w 270"/>
                <a:gd name="T3" fmla="*/ 3 h 270"/>
                <a:gd name="T4" fmla="*/ 189 w 270"/>
                <a:gd name="T5" fmla="*/ 8 h 270"/>
                <a:gd name="T6" fmla="*/ 165 w 270"/>
                <a:gd name="T7" fmla="*/ 15 h 270"/>
                <a:gd name="T8" fmla="*/ 142 w 270"/>
                <a:gd name="T9" fmla="*/ 25 h 270"/>
                <a:gd name="T10" fmla="*/ 121 w 270"/>
                <a:gd name="T11" fmla="*/ 37 h 270"/>
                <a:gd name="T12" fmla="*/ 101 w 270"/>
                <a:gd name="T13" fmla="*/ 50 h 270"/>
                <a:gd name="T14" fmla="*/ 83 w 270"/>
                <a:gd name="T15" fmla="*/ 66 h 270"/>
                <a:gd name="T16" fmla="*/ 66 w 270"/>
                <a:gd name="T17" fmla="*/ 82 h 270"/>
                <a:gd name="T18" fmla="*/ 50 w 270"/>
                <a:gd name="T19" fmla="*/ 102 h 270"/>
                <a:gd name="T20" fmla="*/ 37 w 270"/>
                <a:gd name="T21" fmla="*/ 121 h 270"/>
                <a:gd name="T22" fmla="*/ 25 w 270"/>
                <a:gd name="T23" fmla="*/ 143 h 270"/>
                <a:gd name="T24" fmla="*/ 15 w 270"/>
                <a:gd name="T25" fmla="*/ 165 h 270"/>
                <a:gd name="T26" fmla="*/ 7 w 270"/>
                <a:gd name="T27" fmla="*/ 189 h 270"/>
                <a:gd name="T28" fmla="*/ 3 w 270"/>
                <a:gd name="T29" fmla="*/ 214 h 270"/>
                <a:gd name="T30" fmla="*/ 0 w 270"/>
                <a:gd name="T31" fmla="*/ 239 h 270"/>
                <a:gd name="T32" fmla="*/ 0 w 270"/>
                <a:gd name="T33" fmla="*/ 256 h 270"/>
                <a:gd name="T34" fmla="*/ 3 w 270"/>
                <a:gd name="T35" fmla="*/ 262 h 270"/>
                <a:gd name="T36" fmla="*/ 7 w 270"/>
                <a:gd name="T37" fmla="*/ 267 h 270"/>
                <a:gd name="T38" fmla="*/ 14 w 270"/>
                <a:gd name="T39" fmla="*/ 270 h 270"/>
                <a:gd name="T40" fmla="*/ 21 w 270"/>
                <a:gd name="T41" fmla="*/ 270 h 270"/>
                <a:gd name="T42" fmla="*/ 28 w 270"/>
                <a:gd name="T43" fmla="*/ 267 h 270"/>
                <a:gd name="T44" fmla="*/ 33 w 270"/>
                <a:gd name="T45" fmla="*/ 262 h 270"/>
                <a:gd name="T46" fmla="*/ 35 w 270"/>
                <a:gd name="T47" fmla="*/ 256 h 270"/>
                <a:gd name="T48" fmla="*/ 37 w 270"/>
                <a:gd name="T49" fmla="*/ 241 h 270"/>
                <a:gd name="T50" fmla="*/ 39 w 270"/>
                <a:gd name="T51" fmla="*/ 219 h 270"/>
                <a:gd name="T52" fmla="*/ 45 w 270"/>
                <a:gd name="T53" fmla="*/ 188 h 270"/>
                <a:gd name="T54" fmla="*/ 62 w 270"/>
                <a:gd name="T55" fmla="*/ 149 h 270"/>
                <a:gd name="T56" fmla="*/ 85 w 270"/>
                <a:gd name="T57" fmla="*/ 114 h 270"/>
                <a:gd name="T58" fmla="*/ 114 w 270"/>
                <a:gd name="T59" fmla="*/ 85 h 270"/>
                <a:gd name="T60" fmla="*/ 149 w 270"/>
                <a:gd name="T61" fmla="*/ 62 h 270"/>
                <a:gd name="T62" fmla="*/ 188 w 270"/>
                <a:gd name="T63" fmla="*/ 45 h 270"/>
                <a:gd name="T64" fmla="*/ 219 w 270"/>
                <a:gd name="T65" fmla="*/ 39 h 270"/>
                <a:gd name="T66" fmla="*/ 241 w 270"/>
                <a:gd name="T67" fmla="*/ 37 h 270"/>
                <a:gd name="T68" fmla="*/ 256 w 270"/>
                <a:gd name="T69" fmla="*/ 36 h 270"/>
                <a:gd name="T70" fmla="*/ 262 w 270"/>
                <a:gd name="T71" fmla="*/ 32 h 270"/>
                <a:gd name="T72" fmla="*/ 267 w 270"/>
                <a:gd name="T73" fmla="*/ 28 h 270"/>
                <a:gd name="T74" fmla="*/ 270 w 270"/>
                <a:gd name="T75" fmla="*/ 22 h 270"/>
                <a:gd name="T76" fmla="*/ 270 w 270"/>
                <a:gd name="T77" fmla="*/ 14 h 270"/>
                <a:gd name="T78" fmla="*/ 267 w 270"/>
                <a:gd name="T79" fmla="*/ 8 h 270"/>
                <a:gd name="T80" fmla="*/ 262 w 270"/>
                <a:gd name="T81" fmla="*/ 3 h 270"/>
                <a:gd name="T82" fmla="*/ 256 w 270"/>
                <a:gd name="T83"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0" h="270">
                  <a:moveTo>
                    <a:pt x="251" y="0"/>
                  </a:moveTo>
                  <a:lnTo>
                    <a:pt x="239" y="0"/>
                  </a:lnTo>
                  <a:lnTo>
                    <a:pt x="227" y="1"/>
                  </a:lnTo>
                  <a:lnTo>
                    <a:pt x="214" y="3"/>
                  </a:lnTo>
                  <a:lnTo>
                    <a:pt x="201" y="5"/>
                  </a:lnTo>
                  <a:lnTo>
                    <a:pt x="189" y="8"/>
                  </a:lnTo>
                  <a:lnTo>
                    <a:pt x="177" y="11"/>
                  </a:lnTo>
                  <a:lnTo>
                    <a:pt x="165" y="15"/>
                  </a:lnTo>
                  <a:lnTo>
                    <a:pt x="154" y="19"/>
                  </a:lnTo>
                  <a:lnTo>
                    <a:pt x="142" y="25"/>
                  </a:lnTo>
                  <a:lnTo>
                    <a:pt x="132" y="30"/>
                  </a:lnTo>
                  <a:lnTo>
                    <a:pt x="121" y="37"/>
                  </a:lnTo>
                  <a:lnTo>
                    <a:pt x="111" y="43"/>
                  </a:lnTo>
                  <a:lnTo>
                    <a:pt x="101" y="50"/>
                  </a:lnTo>
                  <a:lnTo>
                    <a:pt x="92" y="57"/>
                  </a:lnTo>
                  <a:lnTo>
                    <a:pt x="83" y="66"/>
                  </a:lnTo>
                  <a:lnTo>
                    <a:pt x="73" y="73"/>
                  </a:lnTo>
                  <a:lnTo>
                    <a:pt x="66" y="82"/>
                  </a:lnTo>
                  <a:lnTo>
                    <a:pt x="57" y="92"/>
                  </a:lnTo>
                  <a:lnTo>
                    <a:pt x="50" y="102"/>
                  </a:lnTo>
                  <a:lnTo>
                    <a:pt x="43" y="111"/>
                  </a:lnTo>
                  <a:lnTo>
                    <a:pt x="37" y="121"/>
                  </a:lnTo>
                  <a:lnTo>
                    <a:pt x="30" y="132"/>
                  </a:lnTo>
                  <a:lnTo>
                    <a:pt x="25" y="143"/>
                  </a:lnTo>
                  <a:lnTo>
                    <a:pt x="19" y="153"/>
                  </a:lnTo>
                  <a:lnTo>
                    <a:pt x="15" y="165"/>
                  </a:lnTo>
                  <a:lnTo>
                    <a:pt x="12" y="177"/>
                  </a:lnTo>
                  <a:lnTo>
                    <a:pt x="7" y="189"/>
                  </a:lnTo>
                  <a:lnTo>
                    <a:pt x="5" y="201"/>
                  </a:lnTo>
                  <a:lnTo>
                    <a:pt x="3" y="214"/>
                  </a:lnTo>
                  <a:lnTo>
                    <a:pt x="1" y="226"/>
                  </a:lnTo>
                  <a:lnTo>
                    <a:pt x="0" y="239"/>
                  </a:lnTo>
                  <a:lnTo>
                    <a:pt x="0" y="252"/>
                  </a:lnTo>
                  <a:lnTo>
                    <a:pt x="0" y="256"/>
                  </a:lnTo>
                  <a:lnTo>
                    <a:pt x="1" y="259"/>
                  </a:lnTo>
                  <a:lnTo>
                    <a:pt x="3" y="262"/>
                  </a:lnTo>
                  <a:lnTo>
                    <a:pt x="5" y="265"/>
                  </a:lnTo>
                  <a:lnTo>
                    <a:pt x="7" y="267"/>
                  </a:lnTo>
                  <a:lnTo>
                    <a:pt x="11" y="269"/>
                  </a:lnTo>
                  <a:lnTo>
                    <a:pt x="14" y="270"/>
                  </a:lnTo>
                  <a:lnTo>
                    <a:pt x="18" y="270"/>
                  </a:lnTo>
                  <a:lnTo>
                    <a:pt x="21" y="270"/>
                  </a:lnTo>
                  <a:lnTo>
                    <a:pt x="25" y="269"/>
                  </a:lnTo>
                  <a:lnTo>
                    <a:pt x="28" y="267"/>
                  </a:lnTo>
                  <a:lnTo>
                    <a:pt x="31" y="265"/>
                  </a:lnTo>
                  <a:lnTo>
                    <a:pt x="33" y="262"/>
                  </a:lnTo>
                  <a:lnTo>
                    <a:pt x="34" y="259"/>
                  </a:lnTo>
                  <a:lnTo>
                    <a:pt x="35" y="256"/>
                  </a:lnTo>
                  <a:lnTo>
                    <a:pt x="35" y="252"/>
                  </a:lnTo>
                  <a:lnTo>
                    <a:pt x="37" y="241"/>
                  </a:lnTo>
                  <a:lnTo>
                    <a:pt x="37" y="230"/>
                  </a:lnTo>
                  <a:lnTo>
                    <a:pt x="39" y="219"/>
                  </a:lnTo>
                  <a:lnTo>
                    <a:pt x="41" y="208"/>
                  </a:lnTo>
                  <a:lnTo>
                    <a:pt x="45" y="188"/>
                  </a:lnTo>
                  <a:lnTo>
                    <a:pt x="53" y="167"/>
                  </a:lnTo>
                  <a:lnTo>
                    <a:pt x="62" y="149"/>
                  </a:lnTo>
                  <a:lnTo>
                    <a:pt x="73" y="131"/>
                  </a:lnTo>
                  <a:lnTo>
                    <a:pt x="85" y="114"/>
                  </a:lnTo>
                  <a:lnTo>
                    <a:pt x="99" y="99"/>
                  </a:lnTo>
                  <a:lnTo>
                    <a:pt x="114" y="85"/>
                  </a:lnTo>
                  <a:lnTo>
                    <a:pt x="132" y="72"/>
                  </a:lnTo>
                  <a:lnTo>
                    <a:pt x="149" y="62"/>
                  </a:lnTo>
                  <a:lnTo>
                    <a:pt x="168" y="53"/>
                  </a:lnTo>
                  <a:lnTo>
                    <a:pt x="188" y="45"/>
                  </a:lnTo>
                  <a:lnTo>
                    <a:pt x="208" y="40"/>
                  </a:lnTo>
                  <a:lnTo>
                    <a:pt x="219" y="39"/>
                  </a:lnTo>
                  <a:lnTo>
                    <a:pt x="230" y="37"/>
                  </a:lnTo>
                  <a:lnTo>
                    <a:pt x="241" y="37"/>
                  </a:lnTo>
                  <a:lnTo>
                    <a:pt x="251" y="36"/>
                  </a:lnTo>
                  <a:lnTo>
                    <a:pt x="256" y="36"/>
                  </a:lnTo>
                  <a:lnTo>
                    <a:pt x="259" y="35"/>
                  </a:lnTo>
                  <a:lnTo>
                    <a:pt x="262" y="32"/>
                  </a:lnTo>
                  <a:lnTo>
                    <a:pt x="264" y="30"/>
                  </a:lnTo>
                  <a:lnTo>
                    <a:pt x="267" y="28"/>
                  </a:lnTo>
                  <a:lnTo>
                    <a:pt x="269" y="25"/>
                  </a:lnTo>
                  <a:lnTo>
                    <a:pt x="270" y="22"/>
                  </a:lnTo>
                  <a:lnTo>
                    <a:pt x="270" y="18"/>
                  </a:lnTo>
                  <a:lnTo>
                    <a:pt x="270" y="14"/>
                  </a:lnTo>
                  <a:lnTo>
                    <a:pt x="269" y="11"/>
                  </a:lnTo>
                  <a:lnTo>
                    <a:pt x="267" y="8"/>
                  </a:lnTo>
                  <a:lnTo>
                    <a:pt x="264" y="5"/>
                  </a:lnTo>
                  <a:lnTo>
                    <a:pt x="262" y="3"/>
                  </a:lnTo>
                  <a:lnTo>
                    <a:pt x="259" y="1"/>
                  </a:lnTo>
                  <a:lnTo>
                    <a:pt x="256" y="0"/>
                  </a:lnTo>
                  <a:lnTo>
                    <a:pt x="2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lumMod val="95000"/>
                  </a:schemeClr>
                </a:solidFill>
                <a:latin typeface="+mn-lt"/>
              </a:endParaRPr>
            </a:p>
          </p:txBody>
        </p:sp>
      </p:grpSp>
      <p:sp>
        <p:nvSpPr>
          <p:cNvPr id="43" name="Freeform 42"/>
          <p:cNvSpPr/>
          <p:nvPr/>
        </p:nvSpPr>
        <p:spPr>
          <a:xfrm>
            <a:off x="1073150" y="2074460"/>
            <a:ext cx="3629820" cy="573830"/>
          </a:xfrm>
          <a:custGeom>
            <a:avLst/>
            <a:gdLst>
              <a:gd name="connsiteX0" fmla="*/ 4699000 w 4699000"/>
              <a:gd name="connsiteY0" fmla="*/ 762000 h 762000"/>
              <a:gd name="connsiteX1" fmla="*/ 4241800 w 4699000"/>
              <a:gd name="connsiteY1" fmla="*/ 12700 h 762000"/>
              <a:gd name="connsiteX2" fmla="*/ 0 w 4699000"/>
              <a:gd name="connsiteY2" fmla="*/ 0 h 762000"/>
              <a:gd name="connsiteX0" fmla="*/ 3797300 w 3797300"/>
              <a:gd name="connsiteY0" fmla="*/ 762000 h 762000"/>
              <a:gd name="connsiteX1" fmla="*/ 3340100 w 3797300"/>
              <a:gd name="connsiteY1" fmla="*/ 12700 h 762000"/>
              <a:gd name="connsiteX2" fmla="*/ 0 w 3797300"/>
              <a:gd name="connsiteY2" fmla="*/ 0 h 762000"/>
              <a:gd name="connsiteX0" fmla="*/ 3797300 w 3797300"/>
              <a:gd name="connsiteY0" fmla="*/ 770011 h 770011"/>
              <a:gd name="connsiteX1" fmla="*/ 3619755 w 3797300"/>
              <a:gd name="connsiteY1" fmla="*/ 0 h 770011"/>
              <a:gd name="connsiteX2" fmla="*/ 0 w 3797300"/>
              <a:gd name="connsiteY2" fmla="*/ 8011 h 770011"/>
              <a:gd name="connsiteX0" fmla="*/ 3797300 w 3797300"/>
              <a:gd name="connsiteY0" fmla="*/ 790723 h 790723"/>
              <a:gd name="connsiteX1" fmla="*/ 3627980 w 3797300"/>
              <a:gd name="connsiteY1" fmla="*/ 0 h 790723"/>
              <a:gd name="connsiteX2" fmla="*/ 0 w 3797300"/>
              <a:gd name="connsiteY2" fmla="*/ 28723 h 790723"/>
            </a:gdLst>
            <a:ahLst/>
            <a:cxnLst>
              <a:cxn ang="0">
                <a:pos x="connsiteX0" y="connsiteY0"/>
              </a:cxn>
              <a:cxn ang="0">
                <a:pos x="connsiteX1" y="connsiteY1"/>
              </a:cxn>
              <a:cxn ang="0">
                <a:pos x="connsiteX2" y="connsiteY2"/>
              </a:cxn>
            </a:cxnLst>
            <a:rect l="l" t="t" r="r" b="b"/>
            <a:pathLst>
              <a:path w="3797300" h="790723">
                <a:moveTo>
                  <a:pt x="3797300" y="790723"/>
                </a:moveTo>
                <a:lnTo>
                  <a:pt x="3627980" y="0"/>
                </a:lnTo>
                <a:lnTo>
                  <a:pt x="0" y="28723"/>
                </a:lnTo>
              </a:path>
            </a:pathLst>
          </a:custGeom>
          <a:noFill/>
          <a:ln>
            <a:solidFill>
              <a:srgbClr val="3FA2CF"/>
            </a:solidFill>
            <a:headEnd type="oval"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chemeClr val="bg1">
                  <a:lumMod val="95000"/>
                </a:schemeClr>
              </a:solidFill>
            </a:endParaRPr>
          </a:p>
        </p:txBody>
      </p:sp>
      <p:sp>
        <p:nvSpPr>
          <p:cNvPr id="6" name="TextBox 5"/>
          <p:cNvSpPr txBox="1"/>
          <p:nvPr/>
        </p:nvSpPr>
        <p:spPr>
          <a:xfrm>
            <a:off x="702841" y="1014949"/>
            <a:ext cx="3008731"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defPPr>
              <a:defRPr lang="en-US"/>
            </a:defPPr>
            <a:lvl1pPr algn="r" eaLnBrk="1" fontAlgn="auto" hangingPunct="1">
              <a:spcBef>
                <a:spcPts val="0"/>
              </a:spcBef>
              <a:spcAft>
                <a:spcPts val="0"/>
              </a:spcAft>
              <a:defRPr sz="2000" b="1" spc="-15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err="1"/>
              <a:t>Kebutuhan</a:t>
            </a:r>
            <a:r>
              <a:rPr lang="en-US" dirty="0"/>
              <a:t> </a:t>
            </a:r>
            <a:r>
              <a:rPr lang="en-US" dirty="0" err="1"/>
              <a:t>pelanggan</a:t>
            </a:r>
            <a:r>
              <a:rPr lang="en-US" dirty="0"/>
              <a:t> yang </a:t>
            </a:r>
            <a:r>
              <a:rPr lang="en-US" dirty="0" err="1"/>
              <a:t>seperti</a:t>
            </a:r>
            <a:r>
              <a:rPr lang="en-US" dirty="0"/>
              <a:t> </a:t>
            </a:r>
            <a:r>
              <a:rPr lang="en-US" dirty="0" err="1"/>
              <a:t>apa</a:t>
            </a:r>
            <a:r>
              <a:rPr lang="en-US" dirty="0"/>
              <a:t> yang </a:t>
            </a:r>
            <a:r>
              <a:rPr lang="en-US" dirty="0" err="1"/>
              <a:t>terpenuhi</a:t>
            </a:r>
            <a:r>
              <a:rPr lang="en-US" dirty="0"/>
              <a:t> </a:t>
            </a:r>
          </a:p>
        </p:txBody>
      </p:sp>
      <p:grpSp>
        <p:nvGrpSpPr>
          <p:cNvPr id="47" name="Group 46"/>
          <p:cNvGrpSpPr/>
          <p:nvPr/>
        </p:nvGrpSpPr>
        <p:grpSpPr>
          <a:xfrm>
            <a:off x="5412464" y="2125522"/>
            <a:ext cx="449902" cy="449902"/>
            <a:chOff x="1260653" y="5164541"/>
            <a:chExt cx="449902" cy="449902"/>
          </a:xfrm>
          <a:solidFill>
            <a:schemeClr val="bg1"/>
          </a:solidFill>
        </p:grpSpPr>
        <p:sp>
          <p:nvSpPr>
            <p:cNvPr id="48" name="Freeform 439"/>
            <p:cNvSpPr>
              <a:spLocks noEditPoints="1"/>
            </p:cNvSpPr>
            <p:nvPr/>
          </p:nvSpPr>
          <p:spPr bwMode="auto">
            <a:xfrm>
              <a:off x="1317437" y="5538731"/>
              <a:ext cx="75712" cy="75712"/>
            </a:xfrm>
            <a:custGeom>
              <a:avLst/>
              <a:gdLst>
                <a:gd name="T0" fmla="*/ 69 w 154"/>
                <a:gd name="T1" fmla="*/ 39 h 155"/>
                <a:gd name="T2" fmla="*/ 54 w 154"/>
                <a:gd name="T3" fmla="*/ 46 h 155"/>
                <a:gd name="T4" fmla="*/ 44 w 154"/>
                <a:gd name="T5" fmla="*/ 57 h 155"/>
                <a:gd name="T6" fmla="*/ 39 w 154"/>
                <a:gd name="T7" fmla="*/ 70 h 155"/>
                <a:gd name="T8" fmla="*/ 39 w 154"/>
                <a:gd name="T9" fmla="*/ 85 h 155"/>
                <a:gd name="T10" fmla="*/ 44 w 154"/>
                <a:gd name="T11" fmla="*/ 100 h 155"/>
                <a:gd name="T12" fmla="*/ 54 w 154"/>
                <a:gd name="T13" fmla="*/ 110 h 155"/>
                <a:gd name="T14" fmla="*/ 69 w 154"/>
                <a:gd name="T15" fmla="*/ 116 h 155"/>
                <a:gd name="T16" fmla="*/ 85 w 154"/>
                <a:gd name="T17" fmla="*/ 116 h 155"/>
                <a:gd name="T18" fmla="*/ 98 w 154"/>
                <a:gd name="T19" fmla="*/ 110 h 155"/>
                <a:gd name="T20" fmla="*/ 109 w 154"/>
                <a:gd name="T21" fmla="*/ 100 h 155"/>
                <a:gd name="T22" fmla="*/ 115 w 154"/>
                <a:gd name="T23" fmla="*/ 85 h 155"/>
                <a:gd name="T24" fmla="*/ 115 w 154"/>
                <a:gd name="T25" fmla="*/ 70 h 155"/>
                <a:gd name="T26" fmla="*/ 109 w 154"/>
                <a:gd name="T27" fmla="*/ 57 h 155"/>
                <a:gd name="T28" fmla="*/ 98 w 154"/>
                <a:gd name="T29" fmla="*/ 46 h 155"/>
                <a:gd name="T30" fmla="*/ 85 w 154"/>
                <a:gd name="T31" fmla="*/ 39 h 155"/>
                <a:gd name="T32" fmla="*/ 76 w 154"/>
                <a:gd name="T33" fmla="*/ 155 h 155"/>
                <a:gd name="T34" fmla="*/ 62 w 154"/>
                <a:gd name="T35" fmla="*/ 153 h 155"/>
                <a:gd name="T36" fmla="*/ 46 w 154"/>
                <a:gd name="T37" fmla="*/ 149 h 155"/>
                <a:gd name="T38" fmla="*/ 21 w 154"/>
                <a:gd name="T39" fmla="*/ 133 h 155"/>
                <a:gd name="T40" fmla="*/ 5 w 154"/>
                <a:gd name="T41" fmla="*/ 108 h 155"/>
                <a:gd name="T42" fmla="*/ 1 w 154"/>
                <a:gd name="T43" fmla="*/ 94 h 155"/>
                <a:gd name="T44" fmla="*/ 0 w 154"/>
                <a:gd name="T45" fmla="*/ 78 h 155"/>
                <a:gd name="T46" fmla="*/ 1 w 154"/>
                <a:gd name="T47" fmla="*/ 62 h 155"/>
                <a:gd name="T48" fmla="*/ 5 w 154"/>
                <a:gd name="T49" fmla="*/ 48 h 155"/>
                <a:gd name="T50" fmla="*/ 21 w 154"/>
                <a:gd name="T51" fmla="*/ 23 h 155"/>
                <a:gd name="T52" fmla="*/ 46 w 154"/>
                <a:gd name="T53" fmla="*/ 6 h 155"/>
                <a:gd name="T54" fmla="*/ 62 w 154"/>
                <a:gd name="T55" fmla="*/ 2 h 155"/>
                <a:gd name="T56" fmla="*/ 76 w 154"/>
                <a:gd name="T57" fmla="*/ 0 h 155"/>
                <a:gd name="T58" fmla="*/ 92 w 154"/>
                <a:gd name="T59" fmla="*/ 2 h 155"/>
                <a:gd name="T60" fmla="*/ 106 w 154"/>
                <a:gd name="T61" fmla="*/ 6 h 155"/>
                <a:gd name="T62" fmla="*/ 131 w 154"/>
                <a:gd name="T63" fmla="*/ 23 h 155"/>
                <a:gd name="T64" fmla="*/ 148 w 154"/>
                <a:gd name="T65" fmla="*/ 48 h 155"/>
                <a:gd name="T66" fmla="*/ 152 w 154"/>
                <a:gd name="T67" fmla="*/ 62 h 155"/>
                <a:gd name="T68" fmla="*/ 154 w 154"/>
                <a:gd name="T69" fmla="*/ 78 h 155"/>
                <a:gd name="T70" fmla="*/ 152 w 154"/>
                <a:gd name="T71" fmla="*/ 94 h 155"/>
                <a:gd name="T72" fmla="*/ 148 w 154"/>
                <a:gd name="T73" fmla="*/ 108 h 155"/>
                <a:gd name="T74" fmla="*/ 131 w 154"/>
                <a:gd name="T75" fmla="*/ 133 h 155"/>
                <a:gd name="T76" fmla="*/ 106 w 154"/>
                <a:gd name="T77" fmla="*/ 149 h 155"/>
                <a:gd name="T78" fmla="*/ 92 w 154"/>
                <a:gd name="T79" fmla="*/ 153 h 155"/>
                <a:gd name="T80" fmla="*/ 76 w 154"/>
                <a:gd name="T81"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4" h="155">
                  <a:moveTo>
                    <a:pt x="76" y="39"/>
                  </a:moveTo>
                  <a:lnTo>
                    <a:pt x="69" y="39"/>
                  </a:lnTo>
                  <a:lnTo>
                    <a:pt x="62" y="42"/>
                  </a:lnTo>
                  <a:lnTo>
                    <a:pt x="54" y="46"/>
                  </a:lnTo>
                  <a:lnTo>
                    <a:pt x="49" y="51"/>
                  </a:lnTo>
                  <a:lnTo>
                    <a:pt x="44" y="57"/>
                  </a:lnTo>
                  <a:lnTo>
                    <a:pt x="41" y="62"/>
                  </a:lnTo>
                  <a:lnTo>
                    <a:pt x="39" y="70"/>
                  </a:lnTo>
                  <a:lnTo>
                    <a:pt x="39" y="78"/>
                  </a:lnTo>
                  <a:lnTo>
                    <a:pt x="39" y="85"/>
                  </a:lnTo>
                  <a:lnTo>
                    <a:pt x="41" y="93"/>
                  </a:lnTo>
                  <a:lnTo>
                    <a:pt x="44" y="100"/>
                  </a:lnTo>
                  <a:lnTo>
                    <a:pt x="49" y="106"/>
                  </a:lnTo>
                  <a:lnTo>
                    <a:pt x="54" y="110"/>
                  </a:lnTo>
                  <a:lnTo>
                    <a:pt x="62" y="113"/>
                  </a:lnTo>
                  <a:lnTo>
                    <a:pt x="69" y="116"/>
                  </a:lnTo>
                  <a:lnTo>
                    <a:pt x="76" y="117"/>
                  </a:lnTo>
                  <a:lnTo>
                    <a:pt x="85" y="116"/>
                  </a:lnTo>
                  <a:lnTo>
                    <a:pt x="92" y="113"/>
                  </a:lnTo>
                  <a:lnTo>
                    <a:pt x="98" y="110"/>
                  </a:lnTo>
                  <a:lnTo>
                    <a:pt x="103" y="106"/>
                  </a:lnTo>
                  <a:lnTo>
                    <a:pt x="109" y="100"/>
                  </a:lnTo>
                  <a:lnTo>
                    <a:pt x="112" y="93"/>
                  </a:lnTo>
                  <a:lnTo>
                    <a:pt x="115" y="85"/>
                  </a:lnTo>
                  <a:lnTo>
                    <a:pt x="115" y="78"/>
                  </a:lnTo>
                  <a:lnTo>
                    <a:pt x="115" y="70"/>
                  </a:lnTo>
                  <a:lnTo>
                    <a:pt x="112" y="62"/>
                  </a:lnTo>
                  <a:lnTo>
                    <a:pt x="109" y="57"/>
                  </a:lnTo>
                  <a:lnTo>
                    <a:pt x="103" y="51"/>
                  </a:lnTo>
                  <a:lnTo>
                    <a:pt x="98" y="46"/>
                  </a:lnTo>
                  <a:lnTo>
                    <a:pt x="92" y="42"/>
                  </a:lnTo>
                  <a:lnTo>
                    <a:pt x="85" y="39"/>
                  </a:lnTo>
                  <a:lnTo>
                    <a:pt x="76" y="39"/>
                  </a:lnTo>
                  <a:close/>
                  <a:moveTo>
                    <a:pt x="76" y="155"/>
                  </a:moveTo>
                  <a:lnTo>
                    <a:pt x="69" y="155"/>
                  </a:lnTo>
                  <a:lnTo>
                    <a:pt x="62" y="153"/>
                  </a:lnTo>
                  <a:lnTo>
                    <a:pt x="53" y="152"/>
                  </a:lnTo>
                  <a:lnTo>
                    <a:pt x="46" y="149"/>
                  </a:lnTo>
                  <a:lnTo>
                    <a:pt x="33" y="142"/>
                  </a:lnTo>
                  <a:lnTo>
                    <a:pt x="21" y="133"/>
                  </a:lnTo>
                  <a:lnTo>
                    <a:pt x="13" y="121"/>
                  </a:lnTo>
                  <a:lnTo>
                    <a:pt x="5" y="108"/>
                  </a:lnTo>
                  <a:lnTo>
                    <a:pt x="3" y="101"/>
                  </a:lnTo>
                  <a:lnTo>
                    <a:pt x="1" y="94"/>
                  </a:lnTo>
                  <a:lnTo>
                    <a:pt x="0" y="85"/>
                  </a:lnTo>
                  <a:lnTo>
                    <a:pt x="0" y="78"/>
                  </a:lnTo>
                  <a:lnTo>
                    <a:pt x="0" y="70"/>
                  </a:lnTo>
                  <a:lnTo>
                    <a:pt x="1" y="62"/>
                  </a:lnTo>
                  <a:lnTo>
                    <a:pt x="3" y="55"/>
                  </a:lnTo>
                  <a:lnTo>
                    <a:pt x="5" y="48"/>
                  </a:lnTo>
                  <a:lnTo>
                    <a:pt x="13" y="35"/>
                  </a:lnTo>
                  <a:lnTo>
                    <a:pt x="21" y="23"/>
                  </a:lnTo>
                  <a:lnTo>
                    <a:pt x="33" y="13"/>
                  </a:lnTo>
                  <a:lnTo>
                    <a:pt x="46" y="6"/>
                  </a:lnTo>
                  <a:lnTo>
                    <a:pt x="53" y="5"/>
                  </a:lnTo>
                  <a:lnTo>
                    <a:pt x="62" y="2"/>
                  </a:lnTo>
                  <a:lnTo>
                    <a:pt x="69" y="0"/>
                  </a:lnTo>
                  <a:lnTo>
                    <a:pt x="76" y="0"/>
                  </a:lnTo>
                  <a:lnTo>
                    <a:pt x="85" y="0"/>
                  </a:lnTo>
                  <a:lnTo>
                    <a:pt x="92" y="2"/>
                  </a:lnTo>
                  <a:lnTo>
                    <a:pt x="99" y="5"/>
                  </a:lnTo>
                  <a:lnTo>
                    <a:pt x="106" y="6"/>
                  </a:lnTo>
                  <a:lnTo>
                    <a:pt x="119" y="13"/>
                  </a:lnTo>
                  <a:lnTo>
                    <a:pt x="131" y="23"/>
                  </a:lnTo>
                  <a:lnTo>
                    <a:pt x="141" y="35"/>
                  </a:lnTo>
                  <a:lnTo>
                    <a:pt x="148" y="48"/>
                  </a:lnTo>
                  <a:lnTo>
                    <a:pt x="151" y="55"/>
                  </a:lnTo>
                  <a:lnTo>
                    <a:pt x="152" y="62"/>
                  </a:lnTo>
                  <a:lnTo>
                    <a:pt x="154" y="70"/>
                  </a:lnTo>
                  <a:lnTo>
                    <a:pt x="154" y="78"/>
                  </a:lnTo>
                  <a:lnTo>
                    <a:pt x="154" y="85"/>
                  </a:lnTo>
                  <a:lnTo>
                    <a:pt x="152" y="94"/>
                  </a:lnTo>
                  <a:lnTo>
                    <a:pt x="151" y="101"/>
                  </a:lnTo>
                  <a:lnTo>
                    <a:pt x="148" y="108"/>
                  </a:lnTo>
                  <a:lnTo>
                    <a:pt x="141" y="121"/>
                  </a:lnTo>
                  <a:lnTo>
                    <a:pt x="131" y="133"/>
                  </a:lnTo>
                  <a:lnTo>
                    <a:pt x="119" y="142"/>
                  </a:lnTo>
                  <a:lnTo>
                    <a:pt x="106" y="149"/>
                  </a:lnTo>
                  <a:lnTo>
                    <a:pt x="99" y="152"/>
                  </a:lnTo>
                  <a:lnTo>
                    <a:pt x="92" y="153"/>
                  </a:lnTo>
                  <a:lnTo>
                    <a:pt x="85" y="155"/>
                  </a:lnTo>
                  <a:lnTo>
                    <a:pt x="76" y="1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latin typeface="+mn-lt"/>
              </a:endParaRPr>
            </a:p>
          </p:txBody>
        </p:sp>
        <p:sp>
          <p:nvSpPr>
            <p:cNvPr id="49" name="Freeform 440"/>
            <p:cNvSpPr>
              <a:spLocks noEditPoints="1"/>
            </p:cNvSpPr>
            <p:nvPr/>
          </p:nvSpPr>
          <p:spPr bwMode="auto">
            <a:xfrm>
              <a:off x="1524188" y="5538731"/>
              <a:ext cx="74256" cy="75712"/>
            </a:xfrm>
            <a:custGeom>
              <a:avLst/>
              <a:gdLst>
                <a:gd name="T0" fmla="*/ 69 w 154"/>
                <a:gd name="T1" fmla="*/ 39 h 155"/>
                <a:gd name="T2" fmla="*/ 54 w 154"/>
                <a:gd name="T3" fmla="*/ 46 h 155"/>
                <a:gd name="T4" fmla="*/ 44 w 154"/>
                <a:gd name="T5" fmla="*/ 57 h 155"/>
                <a:gd name="T6" fmla="*/ 38 w 154"/>
                <a:gd name="T7" fmla="*/ 70 h 155"/>
                <a:gd name="T8" fmla="*/ 38 w 154"/>
                <a:gd name="T9" fmla="*/ 85 h 155"/>
                <a:gd name="T10" fmla="*/ 44 w 154"/>
                <a:gd name="T11" fmla="*/ 100 h 155"/>
                <a:gd name="T12" fmla="*/ 54 w 154"/>
                <a:gd name="T13" fmla="*/ 110 h 155"/>
                <a:gd name="T14" fmla="*/ 69 w 154"/>
                <a:gd name="T15" fmla="*/ 116 h 155"/>
                <a:gd name="T16" fmla="*/ 84 w 154"/>
                <a:gd name="T17" fmla="*/ 116 h 155"/>
                <a:gd name="T18" fmla="*/ 97 w 154"/>
                <a:gd name="T19" fmla="*/ 110 h 155"/>
                <a:gd name="T20" fmla="*/ 109 w 154"/>
                <a:gd name="T21" fmla="*/ 100 h 155"/>
                <a:gd name="T22" fmla="*/ 115 w 154"/>
                <a:gd name="T23" fmla="*/ 85 h 155"/>
                <a:gd name="T24" fmla="*/ 115 w 154"/>
                <a:gd name="T25" fmla="*/ 70 h 155"/>
                <a:gd name="T26" fmla="*/ 109 w 154"/>
                <a:gd name="T27" fmla="*/ 57 h 155"/>
                <a:gd name="T28" fmla="*/ 97 w 154"/>
                <a:gd name="T29" fmla="*/ 46 h 155"/>
                <a:gd name="T30" fmla="*/ 84 w 154"/>
                <a:gd name="T31" fmla="*/ 39 h 155"/>
                <a:gd name="T32" fmla="*/ 76 w 154"/>
                <a:gd name="T33" fmla="*/ 155 h 155"/>
                <a:gd name="T34" fmla="*/ 61 w 154"/>
                <a:gd name="T35" fmla="*/ 153 h 155"/>
                <a:gd name="T36" fmla="*/ 46 w 154"/>
                <a:gd name="T37" fmla="*/ 149 h 155"/>
                <a:gd name="T38" fmla="*/ 21 w 154"/>
                <a:gd name="T39" fmla="*/ 133 h 155"/>
                <a:gd name="T40" fmla="*/ 5 w 154"/>
                <a:gd name="T41" fmla="*/ 108 h 155"/>
                <a:gd name="T42" fmla="*/ 1 w 154"/>
                <a:gd name="T43" fmla="*/ 94 h 155"/>
                <a:gd name="T44" fmla="*/ 0 w 154"/>
                <a:gd name="T45" fmla="*/ 78 h 155"/>
                <a:gd name="T46" fmla="*/ 1 w 154"/>
                <a:gd name="T47" fmla="*/ 62 h 155"/>
                <a:gd name="T48" fmla="*/ 5 w 154"/>
                <a:gd name="T49" fmla="*/ 48 h 155"/>
                <a:gd name="T50" fmla="*/ 21 w 154"/>
                <a:gd name="T51" fmla="*/ 23 h 155"/>
                <a:gd name="T52" fmla="*/ 46 w 154"/>
                <a:gd name="T53" fmla="*/ 6 h 155"/>
                <a:gd name="T54" fmla="*/ 61 w 154"/>
                <a:gd name="T55" fmla="*/ 2 h 155"/>
                <a:gd name="T56" fmla="*/ 76 w 154"/>
                <a:gd name="T57" fmla="*/ 0 h 155"/>
                <a:gd name="T58" fmla="*/ 92 w 154"/>
                <a:gd name="T59" fmla="*/ 2 h 155"/>
                <a:gd name="T60" fmla="*/ 106 w 154"/>
                <a:gd name="T61" fmla="*/ 6 h 155"/>
                <a:gd name="T62" fmla="*/ 131 w 154"/>
                <a:gd name="T63" fmla="*/ 23 h 155"/>
                <a:gd name="T64" fmla="*/ 148 w 154"/>
                <a:gd name="T65" fmla="*/ 48 h 155"/>
                <a:gd name="T66" fmla="*/ 152 w 154"/>
                <a:gd name="T67" fmla="*/ 62 h 155"/>
                <a:gd name="T68" fmla="*/ 154 w 154"/>
                <a:gd name="T69" fmla="*/ 78 h 155"/>
                <a:gd name="T70" fmla="*/ 152 w 154"/>
                <a:gd name="T71" fmla="*/ 94 h 155"/>
                <a:gd name="T72" fmla="*/ 148 w 154"/>
                <a:gd name="T73" fmla="*/ 108 h 155"/>
                <a:gd name="T74" fmla="*/ 131 w 154"/>
                <a:gd name="T75" fmla="*/ 133 h 155"/>
                <a:gd name="T76" fmla="*/ 106 w 154"/>
                <a:gd name="T77" fmla="*/ 149 h 155"/>
                <a:gd name="T78" fmla="*/ 92 w 154"/>
                <a:gd name="T79" fmla="*/ 153 h 155"/>
                <a:gd name="T80" fmla="*/ 76 w 154"/>
                <a:gd name="T81"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4" h="155">
                  <a:moveTo>
                    <a:pt x="76" y="39"/>
                  </a:moveTo>
                  <a:lnTo>
                    <a:pt x="69" y="39"/>
                  </a:lnTo>
                  <a:lnTo>
                    <a:pt x="61" y="42"/>
                  </a:lnTo>
                  <a:lnTo>
                    <a:pt x="54" y="46"/>
                  </a:lnTo>
                  <a:lnTo>
                    <a:pt x="48" y="51"/>
                  </a:lnTo>
                  <a:lnTo>
                    <a:pt x="44" y="57"/>
                  </a:lnTo>
                  <a:lnTo>
                    <a:pt x="41" y="62"/>
                  </a:lnTo>
                  <a:lnTo>
                    <a:pt x="38" y="70"/>
                  </a:lnTo>
                  <a:lnTo>
                    <a:pt x="38" y="78"/>
                  </a:lnTo>
                  <a:lnTo>
                    <a:pt x="38" y="85"/>
                  </a:lnTo>
                  <a:lnTo>
                    <a:pt x="41" y="93"/>
                  </a:lnTo>
                  <a:lnTo>
                    <a:pt x="44" y="100"/>
                  </a:lnTo>
                  <a:lnTo>
                    <a:pt x="48" y="106"/>
                  </a:lnTo>
                  <a:lnTo>
                    <a:pt x="54" y="110"/>
                  </a:lnTo>
                  <a:lnTo>
                    <a:pt x="61" y="113"/>
                  </a:lnTo>
                  <a:lnTo>
                    <a:pt x="69" y="116"/>
                  </a:lnTo>
                  <a:lnTo>
                    <a:pt x="76" y="117"/>
                  </a:lnTo>
                  <a:lnTo>
                    <a:pt x="84" y="116"/>
                  </a:lnTo>
                  <a:lnTo>
                    <a:pt x="92" y="113"/>
                  </a:lnTo>
                  <a:lnTo>
                    <a:pt x="97" y="110"/>
                  </a:lnTo>
                  <a:lnTo>
                    <a:pt x="103" y="106"/>
                  </a:lnTo>
                  <a:lnTo>
                    <a:pt x="109" y="100"/>
                  </a:lnTo>
                  <a:lnTo>
                    <a:pt x="112" y="93"/>
                  </a:lnTo>
                  <a:lnTo>
                    <a:pt x="115" y="85"/>
                  </a:lnTo>
                  <a:lnTo>
                    <a:pt x="115" y="78"/>
                  </a:lnTo>
                  <a:lnTo>
                    <a:pt x="115" y="70"/>
                  </a:lnTo>
                  <a:lnTo>
                    <a:pt x="112" y="62"/>
                  </a:lnTo>
                  <a:lnTo>
                    <a:pt x="109" y="57"/>
                  </a:lnTo>
                  <a:lnTo>
                    <a:pt x="103" y="51"/>
                  </a:lnTo>
                  <a:lnTo>
                    <a:pt x="97" y="46"/>
                  </a:lnTo>
                  <a:lnTo>
                    <a:pt x="92" y="42"/>
                  </a:lnTo>
                  <a:lnTo>
                    <a:pt x="84" y="39"/>
                  </a:lnTo>
                  <a:lnTo>
                    <a:pt x="76" y="39"/>
                  </a:lnTo>
                  <a:close/>
                  <a:moveTo>
                    <a:pt x="76" y="155"/>
                  </a:moveTo>
                  <a:lnTo>
                    <a:pt x="69" y="155"/>
                  </a:lnTo>
                  <a:lnTo>
                    <a:pt x="61" y="153"/>
                  </a:lnTo>
                  <a:lnTo>
                    <a:pt x="53" y="152"/>
                  </a:lnTo>
                  <a:lnTo>
                    <a:pt x="46" y="149"/>
                  </a:lnTo>
                  <a:lnTo>
                    <a:pt x="33" y="142"/>
                  </a:lnTo>
                  <a:lnTo>
                    <a:pt x="21" y="133"/>
                  </a:lnTo>
                  <a:lnTo>
                    <a:pt x="12" y="121"/>
                  </a:lnTo>
                  <a:lnTo>
                    <a:pt x="5" y="108"/>
                  </a:lnTo>
                  <a:lnTo>
                    <a:pt x="2" y="101"/>
                  </a:lnTo>
                  <a:lnTo>
                    <a:pt x="1" y="94"/>
                  </a:lnTo>
                  <a:lnTo>
                    <a:pt x="0" y="85"/>
                  </a:lnTo>
                  <a:lnTo>
                    <a:pt x="0" y="78"/>
                  </a:lnTo>
                  <a:lnTo>
                    <a:pt x="0" y="70"/>
                  </a:lnTo>
                  <a:lnTo>
                    <a:pt x="1" y="62"/>
                  </a:lnTo>
                  <a:lnTo>
                    <a:pt x="2" y="55"/>
                  </a:lnTo>
                  <a:lnTo>
                    <a:pt x="5" y="48"/>
                  </a:lnTo>
                  <a:lnTo>
                    <a:pt x="12" y="35"/>
                  </a:lnTo>
                  <a:lnTo>
                    <a:pt x="21" y="23"/>
                  </a:lnTo>
                  <a:lnTo>
                    <a:pt x="33" y="13"/>
                  </a:lnTo>
                  <a:lnTo>
                    <a:pt x="46" y="6"/>
                  </a:lnTo>
                  <a:lnTo>
                    <a:pt x="53" y="5"/>
                  </a:lnTo>
                  <a:lnTo>
                    <a:pt x="61" y="2"/>
                  </a:lnTo>
                  <a:lnTo>
                    <a:pt x="69" y="0"/>
                  </a:lnTo>
                  <a:lnTo>
                    <a:pt x="76" y="0"/>
                  </a:lnTo>
                  <a:lnTo>
                    <a:pt x="84" y="0"/>
                  </a:lnTo>
                  <a:lnTo>
                    <a:pt x="92" y="2"/>
                  </a:lnTo>
                  <a:lnTo>
                    <a:pt x="99" y="5"/>
                  </a:lnTo>
                  <a:lnTo>
                    <a:pt x="106" y="6"/>
                  </a:lnTo>
                  <a:lnTo>
                    <a:pt x="119" y="13"/>
                  </a:lnTo>
                  <a:lnTo>
                    <a:pt x="131" y="23"/>
                  </a:lnTo>
                  <a:lnTo>
                    <a:pt x="141" y="35"/>
                  </a:lnTo>
                  <a:lnTo>
                    <a:pt x="148" y="48"/>
                  </a:lnTo>
                  <a:lnTo>
                    <a:pt x="151" y="55"/>
                  </a:lnTo>
                  <a:lnTo>
                    <a:pt x="152" y="62"/>
                  </a:lnTo>
                  <a:lnTo>
                    <a:pt x="154" y="70"/>
                  </a:lnTo>
                  <a:lnTo>
                    <a:pt x="154" y="78"/>
                  </a:lnTo>
                  <a:lnTo>
                    <a:pt x="154" y="85"/>
                  </a:lnTo>
                  <a:lnTo>
                    <a:pt x="152" y="94"/>
                  </a:lnTo>
                  <a:lnTo>
                    <a:pt x="151" y="101"/>
                  </a:lnTo>
                  <a:lnTo>
                    <a:pt x="148" y="108"/>
                  </a:lnTo>
                  <a:lnTo>
                    <a:pt x="141" y="121"/>
                  </a:lnTo>
                  <a:lnTo>
                    <a:pt x="131" y="133"/>
                  </a:lnTo>
                  <a:lnTo>
                    <a:pt x="119" y="142"/>
                  </a:lnTo>
                  <a:lnTo>
                    <a:pt x="106" y="149"/>
                  </a:lnTo>
                  <a:lnTo>
                    <a:pt x="99" y="152"/>
                  </a:lnTo>
                  <a:lnTo>
                    <a:pt x="92" y="153"/>
                  </a:lnTo>
                  <a:lnTo>
                    <a:pt x="84" y="155"/>
                  </a:lnTo>
                  <a:lnTo>
                    <a:pt x="76" y="1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latin typeface="+mn-lt"/>
              </a:endParaRPr>
            </a:p>
          </p:txBody>
        </p:sp>
        <p:sp>
          <p:nvSpPr>
            <p:cNvPr id="50" name="Freeform 441"/>
            <p:cNvSpPr>
              <a:spLocks/>
            </p:cNvSpPr>
            <p:nvPr/>
          </p:nvSpPr>
          <p:spPr bwMode="auto">
            <a:xfrm>
              <a:off x="1448476" y="5164541"/>
              <a:ext cx="18928" cy="149967"/>
            </a:xfrm>
            <a:custGeom>
              <a:avLst/>
              <a:gdLst>
                <a:gd name="T0" fmla="*/ 20 w 39"/>
                <a:gd name="T1" fmla="*/ 309 h 309"/>
                <a:gd name="T2" fmla="*/ 16 w 39"/>
                <a:gd name="T3" fmla="*/ 309 h 309"/>
                <a:gd name="T4" fmla="*/ 13 w 39"/>
                <a:gd name="T5" fmla="*/ 307 h 309"/>
                <a:gd name="T6" fmla="*/ 9 w 39"/>
                <a:gd name="T7" fmla="*/ 306 h 309"/>
                <a:gd name="T8" fmla="*/ 6 w 39"/>
                <a:gd name="T9" fmla="*/ 303 h 309"/>
                <a:gd name="T10" fmla="*/ 4 w 39"/>
                <a:gd name="T11" fmla="*/ 300 h 309"/>
                <a:gd name="T12" fmla="*/ 1 w 39"/>
                <a:gd name="T13" fmla="*/ 297 h 309"/>
                <a:gd name="T14" fmla="*/ 1 w 39"/>
                <a:gd name="T15" fmla="*/ 294 h 309"/>
                <a:gd name="T16" fmla="*/ 0 w 39"/>
                <a:gd name="T17" fmla="*/ 290 h 309"/>
                <a:gd name="T18" fmla="*/ 0 w 39"/>
                <a:gd name="T19" fmla="*/ 19 h 309"/>
                <a:gd name="T20" fmla="*/ 1 w 39"/>
                <a:gd name="T21" fmla="*/ 15 h 309"/>
                <a:gd name="T22" fmla="*/ 1 w 39"/>
                <a:gd name="T23" fmla="*/ 12 h 309"/>
                <a:gd name="T24" fmla="*/ 4 w 39"/>
                <a:gd name="T25" fmla="*/ 9 h 309"/>
                <a:gd name="T26" fmla="*/ 6 w 39"/>
                <a:gd name="T27" fmla="*/ 6 h 309"/>
                <a:gd name="T28" fmla="*/ 9 w 39"/>
                <a:gd name="T29" fmla="*/ 3 h 309"/>
                <a:gd name="T30" fmla="*/ 13 w 39"/>
                <a:gd name="T31" fmla="*/ 2 h 309"/>
                <a:gd name="T32" fmla="*/ 16 w 39"/>
                <a:gd name="T33" fmla="*/ 0 h 309"/>
                <a:gd name="T34" fmla="*/ 20 w 39"/>
                <a:gd name="T35" fmla="*/ 0 h 309"/>
                <a:gd name="T36" fmla="*/ 24 w 39"/>
                <a:gd name="T37" fmla="*/ 0 h 309"/>
                <a:gd name="T38" fmla="*/ 27 w 39"/>
                <a:gd name="T39" fmla="*/ 2 h 309"/>
                <a:gd name="T40" fmla="*/ 30 w 39"/>
                <a:gd name="T41" fmla="*/ 3 h 309"/>
                <a:gd name="T42" fmla="*/ 33 w 39"/>
                <a:gd name="T43" fmla="*/ 6 h 309"/>
                <a:gd name="T44" fmla="*/ 36 w 39"/>
                <a:gd name="T45" fmla="*/ 9 h 309"/>
                <a:gd name="T46" fmla="*/ 37 w 39"/>
                <a:gd name="T47" fmla="*/ 12 h 309"/>
                <a:gd name="T48" fmla="*/ 39 w 39"/>
                <a:gd name="T49" fmla="*/ 15 h 309"/>
                <a:gd name="T50" fmla="*/ 39 w 39"/>
                <a:gd name="T51" fmla="*/ 19 h 309"/>
                <a:gd name="T52" fmla="*/ 39 w 39"/>
                <a:gd name="T53" fmla="*/ 290 h 309"/>
                <a:gd name="T54" fmla="*/ 39 w 39"/>
                <a:gd name="T55" fmla="*/ 294 h 309"/>
                <a:gd name="T56" fmla="*/ 37 w 39"/>
                <a:gd name="T57" fmla="*/ 297 h 309"/>
                <a:gd name="T58" fmla="*/ 36 w 39"/>
                <a:gd name="T59" fmla="*/ 300 h 309"/>
                <a:gd name="T60" fmla="*/ 33 w 39"/>
                <a:gd name="T61" fmla="*/ 303 h 309"/>
                <a:gd name="T62" fmla="*/ 30 w 39"/>
                <a:gd name="T63" fmla="*/ 306 h 309"/>
                <a:gd name="T64" fmla="*/ 27 w 39"/>
                <a:gd name="T65" fmla="*/ 307 h 309"/>
                <a:gd name="T66" fmla="*/ 24 w 39"/>
                <a:gd name="T67" fmla="*/ 309 h 309"/>
                <a:gd name="T68" fmla="*/ 20 w 39"/>
                <a:gd name="T69" fmla="*/ 309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 h="309">
                  <a:moveTo>
                    <a:pt x="20" y="309"/>
                  </a:moveTo>
                  <a:lnTo>
                    <a:pt x="16" y="309"/>
                  </a:lnTo>
                  <a:lnTo>
                    <a:pt x="13" y="307"/>
                  </a:lnTo>
                  <a:lnTo>
                    <a:pt x="9" y="306"/>
                  </a:lnTo>
                  <a:lnTo>
                    <a:pt x="6" y="303"/>
                  </a:lnTo>
                  <a:lnTo>
                    <a:pt x="4" y="300"/>
                  </a:lnTo>
                  <a:lnTo>
                    <a:pt x="1" y="297"/>
                  </a:lnTo>
                  <a:lnTo>
                    <a:pt x="1" y="294"/>
                  </a:lnTo>
                  <a:lnTo>
                    <a:pt x="0" y="290"/>
                  </a:lnTo>
                  <a:lnTo>
                    <a:pt x="0" y="19"/>
                  </a:lnTo>
                  <a:lnTo>
                    <a:pt x="1" y="15"/>
                  </a:lnTo>
                  <a:lnTo>
                    <a:pt x="1" y="12"/>
                  </a:lnTo>
                  <a:lnTo>
                    <a:pt x="4" y="9"/>
                  </a:lnTo>
                  <a:lnTo>
                    <a:pt x="6" y="6"/>
                  </a:lnTo>
                  <a:lnTo>
                    <a:pt x="9" y="3"/>
                  </a:lnTo>
                  <a:lnTo>
                    <a:pt x="13" y="2"/>
                  </a:lnTo>
                  <a:lnTo>
                    <a:pt x="16" y="0"/>
                  </a:lnTo>
                  <a:lnTo>
                    <a:pt x="20" y="0"/>
                  </a:lnTo>
                  <a:lnTo>
                    <a:pt x="24" y="0"/>
                  </a:lnTo>
                  <a:lnTo>
                    <a:pt x="27" y="2"/>
                  </a:lnTo>
                  <a:lnTo>
                    <a:pt x="30" y="3"/>
                  </a:lnTo>
                  <a:lnTo>
                    <a:pt x="33" y="6"/>
                  </a:lnTo>
                  <a:lnTo>
                    <a:pt x="36" y="9"/>
                  </a:lnTo>
                  <a:lnTo>
                    <a:pt x="37" y="12"/>
                  </a:lnTo>
                  <a:lnTo>
                    <a:pt x="39" y="15"/>
                  </a:lnTo>
                  <a:lnTo>
                    <a:pt x="39" y="19"/>
                  </a:lnTo>
                  <a:lnTo>
                    <a:pt x="39" y="290"/>
                  </a:lnTo>
                  <a:lnTo>
                    <a:pt x="39" y="294"/>
                  </a:lnTo>
                  <a:lnTo>
                    <a:pt x="37" y="297"/>
                  </a:lnTo>
                  <a:lnTo>
                    <a:pt x="36" y="300"/>
                  </a:lnTo>
                  <a:lnTo>
                    <a:pt x="33" y="303"/>
                  </a:lnTo>
                  <a:lnTo>
                    <a:pt x="30" y="306"/>
                  </a:lnTo>
                  <a:lnTo>
                    <a:pt x="27" y="307"/>
                  </a:lnTo>
                  <a:lnTo>
                    <a:pt x="24" y="309"/>
                  </a:lnTo>
                  <a:lnTo>
                    <a:pt x="20" y="3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latin typeface="+mn-lt"/>
              </a:endParaRPr>
            </a:p>
          </p:txBody>
        </p:sp>
        <p:sp>
          <p:nvSpPr>
            <p:cNvPr id="51" name="Freeform 442"/>
            <p:cNvSpPr>
              <a:spLocks/>
            </p:cNvSpPr>
            <p:nvPr/>
          </p:nvSpPr>
          <p:spPr bwMode="auto">
            <a:xfrm>
              <a:off x="1393149" y="5164541"/>
              <a:ext cx="131039" cy="74256"/>
            </a:xfrm>
            <a:custGeom>
              <a:avLst/>
              <a:gdLst>
                <a:gd name="T0" fmla="*/ 250 w 271"/>
                <a:gd name="T1" fmla="*/ 154 h 154"/>
                <a:gd name="T2" fmla="*/ 247 w 271"/>
                <a:gd name="T3" fmla="*/ 154 h 154"/>
                <a:gd name="T4" fmla="*/ 243 w 271"/>
                <a:gd name="T5" fmla="*/ 153 h 154"/>
                <a:gd name="T6" fmla="*/ 240 w 271"/>
                <a:gd name="T7" fmla="*/ 152 h 154"/>
                <a:gd name="T8" fmla="*/ 237 w 271"/>
                <a:gd name="T9" fmla="*/ 149 h 154"/>
                <a:gd name="T10" fmla="*/ 135 w 271"/>
                <a:gd name="T11" fmla="*/ 46 h 154"/>
                <a:gd name="T12" fmla="*/ 33 w 271"/>
                <a:gd name="T13" fmla="*/ 149 h 154"/>
                <a:gd name="T14" fmla="*/ 30 w 271"/>
                <a:gd name="T15" fmla="*/ 152 h 154"/>
                <a:gd name="T16" fmla="*/ 26 w 271"/>
                <a:gd name="T17" fmla="*/ 153 h 154"/>
                <a:gd name="T18" fmla="*/ 23 w 271"/>
                <a:gd name="T19" fmla="*/ 154 h 154"/>
                <a:gd name="T20" fmla="*/ 19 w 271"/>
                <a:gd name="T21" fmla="*/ 154 h 154"/>
                <a:gd name="T22" fmla="*/ 16 w 271"/>
                <a:gd name="T23" fmla="*/ 154 h 154"/>
                <a:gd name="T24" fmla="*/ 11 w 271"/>
                <a:gd name="T25" fmla="*/ 153 h 154"/>
                <a:gd name="T26" fmla="*/ 8 w 271"/>
                <a:gd name="T27" fmla="*/ 152 h 154"/>
                <a:gd name="T28" fmla="*/ 6 w 271"/>
                <a:gd name="T29" fmla="*/ 149 h 154"/>
                <a:gd name="T30" fmla="*/ 3 w 271"/>
                <a:gd name="T31" fmla="*/ 146 h 154"/>
                <a:gd name="T32" fmla="*/ 1 w 271"/>
                <a:gd name="T33" fmla="*/ 143 h 154"/>
                <a:gd name="T34" fmla="*/ 0 w 271"/>
                <a:gd name="T35" fmla="*/ 139 h 154"/>
                <a:gd name="T36" fmla="*/ 0 w 271"/>
                <a:gd name="T37" fmla="*/ 136 h 154"/>
                <a:gd name="T38" fmla="*/ 0 w 271"/>
                <a:gd name="T39" fmla="*/ 131 h 154"/>
                <a:gd name="T40" fmla="*/ 1 w 271"/>
                <a:gd name="T41" fmla="*/ 129 h 154"/>
                <a:gd name="T42" fmla="*/ 3 w 271"/>
                <a:gd name="T43" fmla="*/ 124 h 154"/>
                <a:gd name="T44" fmla="*/ 6 w 271"/>
                <a:gd name="T45" fmla="*/ 121 h 154"/>
                <a:gd name="T46" fmla="*/ 121 w 271"/>
                <a:gd name="T47" fmla="*/ 6 h 154"/>
                <a:gd name="T48" fmla="*/ 124 w 271"/>
                <a:gd name="T49" fmla="*/ 3 h 154"/>
                <a:gd name="T50" fmla="*/ 128 w 271"/>
                <a:gd name="T51" fmla="*/ 2 h 154"/>
                <a:gd name="T52" fmla="*/ 131 w 271"/>
                <a:gd name="T53" fmla="*/ 0 h 154"/>
                <a:gd name="T54" fmla="*/ 135 w 271"/>
                <a:gd name="T55" fmla="*/ 0 h 154"/>
                <a:gd name="T56" fmla="*/ 138 w 271"/>
                <a:gd name="T57" fmla="*/ 0 h 154"/>
                <a:gd name="T58" fmla="*/ 142 w 271"/>
                <a:gd name="T59" fmla="*/ 2 h 154"/>
                <a:gd name="T60" fmla="*/ 145 w 271"/>
                <a:gd name="T61" fmla="*/ 3 h 154"/>
                <a:gd name="T62" fmla="*/ 148 w 271"/>
                <a:gd name="T63" fmla="*/ 6 h 154"/>
                <a:gd name="T64" fmla="*/ 265 w 271"/>
                <a:gd name="T65" fmla="*/ 121 h 154"/>
                <a:gd name="T66" fmla="*/ 266 w 271"/>
                <a:gd name="T67" fmla="*/ 124 h 154"/>
                <a:gd name="T68" fmla="*/ 269 w 271"/>
                <a:gd name="T69" fmla="*/ 129 h 154"/>
                <a:gd name="T70" fmla="*/ 269 w 271"/>
                <a:gd name="T71" fmla="*/ 131 h 154"/>
                <a:gd name="T72" fmla="*/ 271 w 271"/>
                <a:gd name="T73" fmla="*/ 136 h 154"/>
                <a:gd name="T74" fmla="*/ 269 w 271"/>
                <a:gd name="T75" fmla="*/ 139 h 154"/>
                <a:gd name="T76" fmla="*/ 269 w 271"/>
                <a:gd name="T77" fmla="*/ 143 h 154"/>
                <a:gd name="T78" fmla="*/ 266 w 271"/>
                <a:gd name="T79" fmla="*/ 146 h 154"/>
                <a:gd name="T80" fmla="*/ 265 w 271"/>
                <a:gd name="T81" fmla="*/ 149 h 154"/>
                <a:gd name="T82" fmla="*/ 262 w 271"/>
                <a:gd name="T83" fmla="*/ 152 h 154"/>
                <a:gd name="T84" fmla="*/ 258 w 271"/>
                <a:gd name="T85" fmla="*/ 153 h 154"/>
                <a:gd name="T86" fmla="*/ 255 w 271"/>
                <a:gd name="T87" fmla="*/ 154 h 154"/>
                <a:gd name="T88" fmla="*/ 250 w 271"/>
                <a:gd name="T89"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1" h="154">
                  <a:moveTo>
                    <a:pt x="250" y="154"/>
                  </a:moveTo>
                  <a:lnTo>
                    <a:pt x="247" y="154"/>
                  </a:lnTo>
                  <a:lnTo>
                    <a:pt x="243" y="153"/>
                  </a:lnTo>
                  <a:lnTo>
                    <a:pt x="240" y="152"/>
                  </a:lnTo>
                  <a:lnTo>
                    <a:pt x="237" y="149"/>
                  </a:lnTo>
                  <a:lnTo>
                    <a:pt x="135" y="46"/>
                  </a:lnTo>
                  <a:lnTo>
                    <a:pt x="33" y="149"/>
                  </a:lnTo>
                  <a:lnTo>
                    <a:pt x="30" y="152"/>
                  </a:lnTo>
                  <a:lnTo>
                    <a:pt x="26" y="153"/>
                  </a:lnTo>
                  <a:lnTo>
                    <a:pt x="23" y="154"/>
                  </a:lnTo>
                  <a:lnTo>
                    <a:pt x="19" y="154"/>
                  </a:lnTo>
                  <a:lnTo>
                    <a:pt x="16" y="154"/>
                  </a:lnTo>
                  <a:lnTo>
                    <a:pt x="11" y="153"/>
                  </a:lnTo>
                  <a:lnTo>
                    <a:pt x="8" y="152"/>
                  </a:lnTo>
                  <a:lnTo>
                    <a:pt x="6" y="149"/>
                  </a:lnTo>
                  <a:lnTo>
                    <a:pt x="3" y="146"/>
                  </a:lnTo>
                  <a:lnTo>
                    <a:pt x="1" y="143"/>
                  </a:lnTo>
                  <a:lnTo>
                    <a:pt x="0" y="139"/>
                  </a:lnTo>
                  <a:lnTo>
                    <a:pt x="0" y="136"/>
                  </a:lnTo>
                  <a:lnTo>
                    <a:pt x="0" y="131"/>
                  </a:lnTo>
                  <a:lnTo>
                    <a:pt x="1" y="129"/>
                  </a:lnTo>
                  <a:lnTo>
                    <a:pt x="3" y="124"/>
                  </a:lnTo>
                  <a:lnTo>
                    <a:pt x="6" y="121"/>
                  </a:lnTo>
                  <a:lnTo>
                    <a:pt x="121" y="6"/>
                  </a:lnTo>
                  <a:lnTo>
                    <a:pt x="124" y="3"/>
                  </a:lnTo>
                  <a:lnTo>
                    <a:pt x="128" y="2"/>
                  </a:lnTo>
                  <a:lnTo>
                    <a:pt x="131" y="0"/>
                  </a:lnTo>
                  <a:lnTo>
                    <a:pt x="135" y="0"/>
                  </a:lnTo>
                  <a:lnTo>
                    <a:pt x="138" y="0"/>
                  </a:lnTo>
                  <a:lnTo>
                    <a:pt x="142" y="2"/>
                  </a:lnTo>
                  <a:lnTo>
                    <a:pt x="145" y="3"/>
                  </a:lnTo>
                  <a:lnTo>
                    <a:pt x="148" y="6"/>
                  </a:lnTo>
                  <a:lnTo>
                    <a:pt x="265" y="121"/>
                  </a:lnTo>
                  <a:lnTo>
                    <a:pt x="266" y="124"/>
                  </a:lnTo>
                  <a:lnTo>
                    <a:pt x="269" y="129"/>
                  </a:lnTo>
                  <a:lnTo>
                    <a:pt x="269" y="131"/>
                  </a:lnTo>
                  <a:lnTo>
                    <a:pt x="271" y="136"/>
                  </a:lnTo>
                  <a:lnTo>
                    <a:pt x="269" y="139"/>
                  </a:lnTo>
                  <a:lnTo>
                    <a:pt x="269" y="143"/>
                  </a:lnTo>
                  <a:lnTo>
                    <a:pt x="266" y="146"/>
                  </a:lnTo>
                  <a:lnTo>
                    <a:pt x="265" y="149"/>
                  </a:lnTo>
                  <a:lnTo>
                    <a:pt x="262" y="152"/>
                  </a:lnTo>
                  <a:lnTo>
                    <a:pt x="258" y="153"/>
                  </a:lnTo>
                  <a:lnTo>
                    <a:pt x="255" y="154"/>
                  </a:lnTo>
                  <a:lnTo>
                    <a:pt x="250"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latin typeface="+mn-lt"/>
              </a:endParaRPr>
            </a:p>
          </p:txBody>
        </p:sp>
        <p:sp>
          <p:nvSpPr>
            <p:cNvPr id="52" name="Freeform 443"/>
            <p:cNvSpPr>
              <a:spLocks/>
            </p:cNvSpPr>
            <p:nvPr/>
          </p:nvSpPr>
          <p:spPr bwMode="auto">
            <a:xfrm>
              <a:off x="1345101" y="5221325"/>
              <a:ext cx="365454" cy="336334"/>
            </a:xfrm>
            <a:custGeom>
              <a:avLst/>
              <a:gdLst>
                <a:gd name="T0" fmla="*/ 444 w 753"/>
                <a:gd name="T1" fmla="*/ 695 h 695"/>
                <a:gd name="T2" fmla="*/ 19 w 753"/>
                <a:gd name="T3" fmla="*/ 695 h 695"/>
                <a:gd name="T4" fmla="*/ 16 w 753"/>
                <a:gd name="T5" fmla="*/ 695 h 695"/>
                <a:gd name="T6" fmla="*/ 12 w 753"/>
                <a:gd name="T7" fmla="*/ 694 h 695"/>
                <a:gd name="T8" fmla="*/ 9 w 753"/>
                <a:gd name="T9" fmla="*/ 692 h 695"/>
                <a:gd name="T10" fmla="*/ 6 w 753"/>
                <a:gd name="T11" fmla="*/ 690 h 695"/>
                <a:gd name="T12" fmla="*/ 3 w 753"/>
                <a:gd name="T13" fmla="*/ 687 h 695"/>
                <a:gd name="T14" fmla="*/ 2 w 753"/>
                <a:gd name="T15" fmla="*/ 684 h 695"/>
                <a:gd name="T16" fmla="*/ 0 w 753"/>
                <a:gd name="T17" fmla="*/ 679 h 695"/>
                <a:gd name="T18" fmla="*/ 0 w 753"/>
                <a:gd name="T19" fmla="*/ 677 h 695"/>
                <a:gd name="T20" fmla="*/ 0 w 753"/>
                <a:gd name="T21" fmla="*/ 672 h 695"/>
                <a:gd name="T22" fmla="*/ 2 w 753"/>
                <a:gd name="T23" fmla="*/ 668 h 695"/>
                <a:gd name="T24" fmla="*/ 3 w 753"/>
                <a:gd name="T25" fmla="*/ 665 h 695"/>
                <a:gd name="T26" fmla="*/ 6 w 753"/>
                <a:gd name="T27" fmla="*/ 662 h 695"/>
                <a:gd name="T28" fmla="*/ 9 w 753"/>
                <a:gd name="T29" fmla="*/ 659 h 695"/>
                <a:gd name="T30" fmla="*/ 12 w 753"/>
                <a:gd name="T31" fmla="*/ 658 h 695"/>
                <a:gd name="T32" fmla="*/ 16 w 753"/>
                <a:gd name="T33" fmla="*/ 656 h 695"/>
                <a:gd name="T34" fmla="*/ 19 w 753"/>
                <a:gd name="T35" fmla="*/ 656 h 695"/>
                <a:gd name="T36" fmla="*/ 429 w 753"/>
                <a:gd name="T37" fmla="*/ 656 h 695"/>
                <a:gd name="T38" fmla="*/ 581 w 753"/>
                <a:gd name="T39" fmla="*/ 15 h 695"/>
                <a:gd name="T40" fmla="*/ 582 w 753"/>
                <a:gd name="T41" fmla="*/ 8 h 695"/>
                <a:gd name="T42" fmla="*/ 586 w 753"/>
                <a:gd name="T43" fmla="*/ 4 h 695"/>
                <a:gd name="T44" fmla="*/ 592 w 753"/>
                <a:gd name="T45" fmla="*/ 1 h 695"/>
                <a:gd name="T46" fmla="*/ 599 w 753"/>
                <a:gd name="T47" fmla="*/ 0 h 695"/>
                <a:gd name="T48" fmla="*/ 733 w 753"/>
                <a:gd name="T49" fmla="*/ 0 h 695"/>
                <a:gd name="T50" fmla="*/ 738 w 753"/>
                <a:gd name="T51" fmla="*/ 0 h 695"/>
                <a:gd name="T52" fmla="*/ 742 w 753"/>
                <a:gd name="T53" fmla="*/ 1 h 695"/>
                <a:gd name="T54" fmla="*/ 745 w 753"/>
                <a:gd name="T55" fmla="*/ 2 h 695"/>
                <a:gd name="T56" fmla="*/ 748 w 753"/>
                <a:gd name="T57" fmla="*/ 5 h 695"/>
                <a:gd name="T58" fmla="*/ 751 w 753"/>
                <a:gd name="T59" fmla="*/ 8 h 695"/>
                <a:gd name="T60" fmla="*/ 752 w 753"/>
                <a:gd name="T61" fmla="*/ 11 h 695"/>
                <a:gd name="T62" fmla="*/ 753 w 753"/>
                <a:gd name="T63" fmla="*/ 15 h 695"/>
                <a:gd name="T64" fmla="*/ 753 w 753"/>
                <a:gd name="T65" fmla="*/ 20 h 695"/>
                <a:gd name="T66" fmla="*/ 753 w 753"/>
                <a:gd name="T67" fmla="*/ 23 h 695"/>
                <a:gd name="T68" fmla="*/ 752 w 753"/>
                <a:gd name="T69" fmla="*/ 27 h 695"/>
                <a:gd name="T70" fmla="*/ 751 w 753"/>
                <a:gd name="T71" fmla="*/ 30 h 695"/>
                <a:gd name="T72" fmla="*/ 748 w 753"/>
                <a:gd name="T73" fmla="*/ 33 h 695"/>
                <a:gd name="T74" fmla="*/ 745 w 753"/>
                <a:gd name="T75" fmla="*/ 36 h 695"/>
                <a:gd name="T76" fmla="*/ 742 w 753"/>
                <a:gd name="T77" fmla="*/ 37 h 695"/>
                <a:gd name="T78" fmla="*/ 738 w 753"/>
                <a:gd name="T79" fmla="*/ 38 h 695"/>
                <a:gd name="T80" fmla="*/ 733 w 753"/>
                <a:gd name="T81" fmla="*/ 38 h 695"/>
                <a:gd name="T82" fmla="*/ 614 w 753"/>
                <a:gd name="T83" fmla="*/ 38 h 695"/>
                <a:gd name="T84" fmla="*/ 463 w 753"/>
                <a:gd name="T85" fmla="*/ 681 h 695"/>
                <a:gd name="T86" fmla="*/ 461 w 753"/>
                <a:gd name="T87" fmla="*/ 687 h 695"/>
                <a:gd name="T88" fmla="*/ 457 w 753"/>
                <a:gd name="T89" fmla="*/ 691 h 695"/>
                <a:gd name="T90" fmla="*/ 451 w 753"/>
                <a:gd name="T91" fmla="*/ 694 h 695"/>
                <a:gd name="T92" fmla="*/ 444 w 753"/>
                <a:gd name="T93" fmla="*/ 695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53" h="695">
                  <a:moveTo>
                    <a:pt x="444" y="695"/>
                  </a:moveTo>
                  <a:lnTo>
                    <a:pt x="19" y="695"/>
                  </a:lnTo>
                  <a:lnTo>
                    <a:pt x="16" y="695"/>
                  </a:lnTo>
                  <a:lnTo>
                    <a:pt x="12" y="694"/>
                  </a:lnTo>
                  <a:lnTo>
                    <a:pt x="9" y="692"/>
                  </a:lnTo>
                  <a:lnTo>
                    <a:pt x="6" y="690"/>
                  </a:lnTo>
                  <a:lnTo>
                    <a:pt x="3" y="687"/>
                  </a:lnTo>
                  <a:lnTo>
                    <a:pt x="2" y="684"/>
                  </a:lnTo>
                  <a:lnTo>
                    <a:pt x="0" y="679"/>
                  </a:lnTo>
                  <a:lnTo>
                    <a:pt x="0" y="677"/>
                  </a:lnTo>
                  <a:lnTo>
                    <a:pt x="0" y="672"/>
                  </a:lnTo>
                  <a:lnTo>
                    <a:pt x="2" y="668"/>
                  </a:lnTo>
                  <a:lnTo>
                    <a:pt x="3" y="665"/>
                  </a:lnTo>
                  <a:lnTo>
                    <a:pt x="6" y="662"/>
                  </a:lnTo>
                  <a:lnTo>
                    <a:pt x="9" y="659"/>
                  </a:lnTo>
                  <a:lnTo>
                    <a:pt x="12" y="658"/>
                  </a:lnTo>
                  <a:lnTo>
                    <a:pt x="16" y="656"/>
                  </a:lnTo>
                  <a:lnTo>
                    <a:pt x="19" y="656"/>
                  </a:lnTo>
                  <a:lnTo>
                    <a:pt x="429" y="656"/>
                  </a:lnTo>
                  <a:lnTo>
                    <a:pt x="581" y="15"/>
                  </a:lnTo>
                  <a:lnTo>
                    <a:pt x="582" y="8"/>
                  </a:lnTo>
                  <a:lnTo>
                    <a:pt x="586" y="4"/>
                  </a:lnTo>
                  <a:lnTo>
                    <a:pt x="592" y="1"/>
                  </a:lnTo>
                  <a:lnTo>
                    <a:pt x="599" y="0"/>
                  </a:lnTo>
                  <a:lnTo>
                    <a:pt x="733" y="0"/>
                  </a:lnTo>
                  <a:lnTo>
                    <a:pt x="738" y="0"/>
                  </a:lnTo>
                  <a:lnTo>
                    <a:pt x="742" y="1"/>
                  </a:lnTo>
                  <a:lnTo>
                    <a:pt x="745" y="2"/>
                  </a:lnTo>
                  <a:lnTo>
                    <a:pt x="748" y="5"/>
                  </a:lnTo>
                  <a:lnTo>
                    <a:pt x="751" y="8"/>
                  </a:lnTo>
                  <a:lnTo>
                    <a:pt x="752" y="11"/>
                  </a:lnTo>
                  <a:lnTo>
                    <a:pt x="753" y="15"/>
                  </a:lnTo>
                  <a:lnTo>
                    <a:pt x="753" y="20"/>
                  </a:lnTo>
                  <a:lnTo>
                    <a:pt x="753" y="23"/>
                  </a:lnTo>
                  <a:lnTo>
                    <a:pt x="752" y="27"/>
                  </a:lnTo>
                  <a:lnTo>
                    <a:pt x="751" y="30"/>
                  </a:lnTo>
                  <a:lnTo>
                    <a:pt x="748" y="33"/>
                  </a:lnTo>
                  <a:lnTo>
                    <a:pt x="745" y="36"/>
                  </a:lnTo>
                  <a:lnTo>
                    <a:pt x="742" y="37"/>
                  </a:lnTo>
                  <a:lnTo>
                    <a:pt x="738" y="38"/>
                  </a:lnTo>
                  <a:lnTo>
                    <a:pt x="733" y="38"/>
                  </a:lnTo>
                  <a:lnTo>
                    <a:pt x="614" y="38"/>
                  </a:lnTo>
                  <a:lnTo>
                    <a:pt x="463" y="681"/>
                  </a:lnTo>
                  <a:lnTo>
                    <a:pt x="461" y="687"/>
                  </a:lnTo>
                  <a:lnTo>
                    <a:pt x="457" y="691"/>
                  </a:lnTo>
                  <a:lnTo>
                    <a:pt x="451" y="694"/>
                  </a:lnTo>
                  <a:lnTo>
                    <a:pt x="444" y="6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latin typeface="+mn-lt"/>
              </a:endParaRPr>
            </a:p>
          </p:txBody>
        </p:sp>
        <p:sp>
          <p:nvSpPr>
            <p:cNvPr id="53" name="Freeform 444"/>
            <p:cNvSpPr>
              <a:spLocks/>
            </p:cNvSpPr>
            <p:nvPr/>
          </p:nvSpPr>
          <p:spPr bwMode="auto">
            <a:xfrm>
              <a:off x="1260653" y="5333436"/>
              <a:ext cx="356718" cy="187823"/>
            </a:xfrm>
            <a:custGeom>
              <a:avLst/>
              <a:gdLst>
                <a:gd name="T0" fmla="*/ 638 w 734"/>
                <a:gd name="T1" fmla="*/ 387 h 387"/>
                <a:gd name="T2" fmla="*/ 135 w 734"/>
                <a:gd name="T3" fmla="*/ 387 h 387"/>
                <a:gd name="T4" fmla="*/ 130 w 734"/>
                <a:gd name="T5" fmla="*/ 387 h 387"/>
                <a:gd name="T6" fmla="*/ 124 w 734"/>
                <a:gd name="T7" fmla="*/ 384 h 387"/>
                <a:gd name="T8" fmla="*/ 120 w 734"/>
                <a:gd name="T9" fmla="*/ 379 h 387"/>
                <a:gd name="T10" fmla="*/ 117 w 734"/>
                <a:gd name="T11" fmla="*/ 374 h 387"/>
                <a:gd name="T12" fmla="*/ 2 w 734"/>
                <a:gd name="T13" fmla="*/ 26 h 387"/>
                <a:gd name="T14" fmla="*/ 0 w 734"/>
                <a:gd name="T15" fmla="*/ 22 h 387"/>
                <a:gd name="T16" fmla="*/ 0 w 734"/>
                <a:gd name="T17" fmla="*/ 16 h 387"/>
                <a:gd name="T18" fmla="*/ 2 w 734"/>
                <a:gd name="T19" fmla="*/ 12 h 387"/>
                <a:gd name="T20" fmla="*/ 4 w 734"/>
                <a:gd name="T21" fmla="*/ 9 h 387"/>
                <a:gd name="T22" fmla="*/ 7 w 734"/>
                <a:gd name="T23" fmla="*/ 5 h 387"/>
                <a:gd name="T24" fmla="*/ 12 w 734"/>
                <a:gd name="T25" fmla="*/ 3 h 387"/>
                <a:gd name="T26" fmla="*/ 14 w 734"/>
                <a:gd name="T27" fmla="*/ 0 h 387"/>
                <a:gd name="T28" fmla="*/ 20 w 734"/>
                <a:gd name="T29" fmla="*/ 0 h 387"/>
                <a:gd name="T30" fmla="*/ 714 w 734"/>
                <a:gd name="T31" fmla="*/ 0 h 387"/>
                <a:gd name="T32" fmla="*/ 719 w 734"/>
                <a:gd name="T33" fmla="*/ 0 h 387"/>
                <a:gd name="T34" fmla="*/ 723 w 734"/>
                <a:gd name="T35" fmla="*/ 2 h 387"/>
                <a:gd name="T36" fmla="*/ 726 w 734"/>
                <a:gd name="T37" fmla="*/ 3 h 387"/>
                <a:gd name="T38" fmla="*/ 729 w 734"/>
                <a:gd name="T39" fmla="*/ 6 h 387"/>
                <a:gd name="T40" fmla="*/ 732 w 734"/>
                <a:gd name="T41" fmla="*/ 9 h 387"/>
                <a:gd name="T42" fmla="*/ 733 w 734"/>
                <a:gd name="T43" fmla="*/ 12 h 387"/>
                <a:gd name="T44" fmla="*/ 734 w 734"/>
                <a:gd name="T45" fmla="*/ 16 h 387"/>
                <a:gd name="T46" fmla="*/ 734 w 734"/>
                <a:gd name="T47" fmla="*/ 21 h 387"/>
                <a:gd name="T48" fmla="*/ 734 w 734"/>
                <a:gd name="T49" fmla="*/ 24 h 387"/>
                <a:gd name="T50" fmla="*/ 733 w 734"/>
                <a:gd name="T51" fmla="*/ 28 h 387"/>
                <a:gd name="T52" fmla="*/ 732 w 734"/>
                <a:gd name="T53" fmla="*/ 31 h 387"/>
                <a:gd name="T54" fmla="*/ 729 w 734"/>
                <a:gd name="T55" fmla="*/ 34 h 387"/>
                <a:gd name="T56" fmla="*/ 726 w 734"/>
                <a:gd name="T57" fmla="*/ 36 h 387"/>
                <a:gd name="T58" fmla="*/ 723 w 734"/>
                <a:gd name="T59" fmla="*/ 38 h 387"/>
                <a:gd name="T60" fmla="*/ 719 w 734"/>
                <a:gd name="T61" fmla="*/ 39 h 387"/>
                <a:gd name="T62" fmla="*/ 714 w 734"/>
                <a:gd name="T63" fmla="*/ 39 h 387"/>
                <a:gd name="T64" fmla="*/ 46 w 734"/>
                <a:gd name="T65" fmla="*/ 39 h 387"/>
                <a:gd name="T66" fmla="*/ 150 w 734"/>
                <a:gd name="T67" fmla="*/ 348 h 387"/>
                <a:gd name="T68" fmla="*/ 638 w 734"/>
                <a:gd name="T69" fmla="*/ 348 h 387"/>
                <a:gd name="T70" fmla="*/ 641 w 734"/>
                <a:gd name="T71" fmla="*/ 349 h 387"/>
                <a:gd name="T72" fmla="*/ 645 w 734"/>
                <a:gd name="T73" fmla="*/ 350 h 387"/>
                <a:gd name="T74" fmla="*/ 648 w 734"/>
                <a:gd name="T75" fmla="*/ 352 h 387"/>
                <a:gd name="T76" fmla="*/ 651 w 734"/>
                <a:gd name="T77" fmla="*/ 353 h 387"/>
                <a:gd name="T78" fmla="*/ 654 w 734"/>
                <a:gd name="T79" fmla="*/ 356 h 387"/>
                <a:gd name="T80" fmla="*/ 655 w 734"/>
                <a:gd name="T81" fmla="*/ 361 h 387"/>
                <a:gd name="T82" fmla="*/ 657 w 734"/>
                <a:gd name="T83" fmla="*/ 363 h 387"/>
                <a:gd name="T84" fmla="*/ 657 w 734"/>
                <a:gd name="T85" fmla="*/ 368 h 387"/>
                <a:gd name="T86" fmla="*/ 657 w 734"/>
                <a:gd name="T87" fmla="*/ 372 h 387"/>
                <a:gd name="T88" fmla="*/ 655 w 734"/>
                <a:gd name="T89" fmla="*/ 375 h 387"/>
                <a:gd name="T90" fmla="*/ 654 w 734"/>
                <a:gd name="T91" fmla="*/ 378 h 387"/>
                <a:gd name="T92" fmla="*/ 651 w 734"/>
                <a:gd name="T93" fmla="*/ 381 h 387"/>
                <a:gd name="T94" fmla="*/ 648 w 734"/>
                <a:gd name="T95" fmla="*/ 384 h 387"/>
                <a:gd name="T96" fmla="*/ 645 w 734"/>
                <a:gd name="T97" fmla="*/ 385 h 387"/>
                <a:gd name="T98" fmla="*/ 641 w 734"/>
                <a:gd name="T99" fmla="*/ 387 h 387"/>
                <a:gd name="T100" fmla="*/ 638 w 734"/>
                <a:gd name="T101" fmla="*/ 387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34" h="387">
                  <a:moveTo>
                    <a:pt x="638" y="387"/>
                  </a:moveTo>
                  <a:lnTo>
                    <a:pt x="135" y="387"/>
                  </a:lnTo>
                  <a:lnTo>
                    <a:pt x="130" y="387"/>
                  </a:lnTo>
                  <a:lnTo>
                    <a:pt x="124" y="384"/>
                  </a:lnTo>
                  <a:lnTo>
                    <a:pt x="120" y="379"/>
                  </a:lnTo>
                  <a:lnTo>
                    <a:pt x="117" y="374"/>
                  </a:lnTo>
                  <a:lnTo>
                    <a:pt x="2" y="26"/>
                  </a:lnTo>
                  <a:lnTo>
                    <a:pt x="0" y="22"/>
                  </a:lnTo>
                  <a:lnTo>
                    <a:pt x="0" y="16"/>
                  </a:lnTo>
                  <a:lnTo>
                    <a:pt x="2" y="12"/>
                  </a:lnTo>
                  <a:lnTo>
                    <a:pt x="4" y="9"/>
                  </a:lnTo>
                  <a:lnTo>
                    <a:pt x="7" y="5"/>
                  </a:lnTo>
                  <a:lnTo>
                    <a:pt x="12" y="3"/>
                  </a:lnTo>
                  <a:lnTo>
                    <a:pt x="14" y="0"/>
                  </a:lnTo>
                  <a:lnTo>
                    <a:pt x="20" y="0"/>
                  </a:lnTo>
                  <a:lnTo>
                    <a:pt x="714" y="0"/>
                  </a:lnTo>
                  <a:lnTo>
                    <a:pt x="719" y="0"/>
                  </a:lnTo>
                  <a:lnTo>
                    <a:pt x="723" y="2"/>
                  </a:lnTo>
                  <a:lnTo>
                    <a:pt x="726" y="3"/>
                  </a:lnTo>
                  <a:lnTo>
                    <a:pt x="729" y="6"/>
                  </a:lnTo>
                  <a:lnTo>
                    <a:pt x="732" y="9"/>
                  </a:lnTo>
                  <a:lnTo>
                    <a:pt x="733" y="12"/>
                  </a:lnTo>
                  <a:lnTo>
                    <a:pt x="734" y="16"/>
                  </a:lnTo>
                  <a:lnTo>
                    <a:pt x="734" y="21"/>
                  </a:lnTo>
                  <a:lnTo>
                    <a:pt x="734" y="24"/>
                  </a:lnTo>
                  <a:lnTo>
                    <a:pt x="733" y="28"/>
                  </a:lnTo>
                  <a:lnTo>
                    <a:pt x="732" y="31"/>
                  </a:lnTo>
                  <a:lnTo>
                    <a:pt x="729" y="34"/>
                  </a:lnTo>
                  <a:lnTo>
                    <a:pt x="726" y="36"/>
                  </a:lnTo>
                  <a:lnTo>
                    <a:pt x="723" y="38"/>
                  </a:lnTo>
                  <a:lnTo>
                    <a:pt x="719" y="39"/>
                  </a:lnTo>
                  <a:lnTo>
                    <a:pt x="714" y="39"/>
                  </a:lnTo>
                  <a:lnTo>
                    <a:pt x="46" y="39"/>
                  </a:lnTo>
                  <a:lnTo>
                    <a:pt x="150" y="348"/>
                  </a:lnTo>
                  <a:lnTo>
                    <a:pt x="638" y="348"/>
                  </a:lnTo>
                  <a:lnTo>
                    <a:pt x="641" y="349"/>
                  </a:lnTo>
                  <a:lnTo>
                    <a:pt x="645" y="350"/>
                  </a:lnTo>
                  <a:lnTo>
                    <a:pt x="648" y="352"/>
                  </a:lnTo>
                  <a:lnTo>
                    <a:pt x="651" y="353"/>
                  </a:lnTo>
                  <a:lnTo>
                    <a:pt x="654" y="356"/>
                  </a:lnTo>
                  <a:lnTo>
                    <a:pt x="655" y="361"/>
                  </a:lnTo>
                  <a:lnTo>
                    <a:pt x="657" y="363"/>
                  </a:lnTo>
                  <a:lnTo>
                    <a:pt x="657" y="368"/>
                  </a:lnTo>
                  <a:lnTo>
                    <a:pt x="657" y="372"/>
                  </a:lnTo>
                  <a:lnTo>
                    <a:pt x="655" y="375"/>
                  </a:lnTo>
                  <a:lnTo>
                    <a:pt x="654" y="378"/>
                  </a:lnTo>
                  <a:lnTo>
                    <a:pt x="651" y="381"/>
                  </a:lnTo>
                  <a:lnTo>
                    <a:pt x="648" y="384"/>
                  </a:lnTo>
                  <a:lnTo>
                    <a:pt x="645" y="385"/>
                  </a:lnTo>
                  <a:lnTo>
                    <a:pt x="641" y="387"/>
                  </a:lnTo>
                  <a:lnTo>
                    <a:pt x="638" y="3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latin typeface="+mn-lt"/>
              </a:endParaRPr>
            </a:p>
          </p:txBody>
        </p:sp>
      </p:gr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53" presetClass="entr" presetSubtype="16"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 calcmode="lin" valueType="num">
                                      <p:cBhvr>
                                        <p:cTn id="10" dur="500" fill="hold"/>
                                        <p:tgtEl>
                                          <p:spTgt spid="9"/>
                                        </p:tgtEl>
                                        <p:attrNameLst>
                                          <p:attrName>ppt_w</p:attrName>
                                        </p:attrNameLst>
                                      </p:cBhvr>
                                      <p:tavLst>
                                        <p:tav tm="0">
                                          <p:val>
                                            <p:fltVal val="0"/>
                                          </p:val>
                                        </p:tav>
                                        <p:tav tm="100000">
                                          <p:val>
                                            <p:strVal val="#ppt_w"/>
                                          </p:val>
                                        </p:tav>
                                      </p:tavLst>
                                    </p:anim>
                                    <p:anim calcmode="lin" valueType="num">
                                      <p:cBhvr>
                                        <p:cTn id="11" dur="500" fill="hold"/>
                                        <p:tgtEl>
                                          <p:spTgt spid="9"/>
                                        </p:tgtEl>
                                        <p:attrNameLst>
                                          <p:attrName>ppt_h</p:attrName>
                                        </p:attrNameLst>
                                      </p:cBhvr>
                                      <p:tavLst>
                                        <p:tav tm="0">
                                          <p:val>
                                            <p:fltVal val="0"/>
                                          </p:val>
                                        </p:tav>
                                        <p:tav tm="100000">
                                          <p:val>
                                            <p:strVal val="#ppt_h"/>
                                          </p:val>
                                        </p:tav>
                                      </p:tavLst>
                                    </p:anim>
                                    <p:animEffect transition="in" filter="fade">
                                      <p:cBhvr>
                                        <p:cTn id="12" dur="500"/>
                                        <p:tgtEl>
                                          <p:spTgt spid="9"/>
                                        </p:tgtEl>
                                      </p:cBhvr>
                                    </p:animEffect>
                                  </p:childTnLst>
                                </p:cTn>
                              </p:par>
                              <p:par>
                                <p:cTn id="13" presetID="8" presetClass="emph" presetSubtype="0" repeatCount="indefinite" fill="hold" nodeType="withEffect">
                                  <p:stCondLst>
                                    <p:cond delay="50"/>
                                  </p:stCondLst>
                                  <p:childTnLst>
                                    <p:animRot by="-21600000">
                                      <p:cBhvr>
                                        <p:cTn id="14" dur="2000" fill="hold"/>
                                        <p:tgtEl>
                                          <p:spTgt spid="9"/>
                                        </p:tgtEl>
                                        <p:attrNameLst>
                                          <p:attrName>r</p:attrName>
                                        </p:attrNameLst>
                                      </p:cBhvr>
                                    </p:animRot>
                                  </p:childTnLst>
                                </p:cTn>
                              </p:par>
                              <p:par>
                                <p:cTn id="15" presetID="53" presetClass="entr" presetSubtype="16" fill="hold" nodeType="with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p:cTn id="17" dur="500" fill="hold"/>
                                        <p:tgtEl>
                                          <p:spTgt spid="7"/>
                                        </p:tgtEl>
                                        <p:attrNameLst>
                                          <p:attrName>ppt_w</p:attrName>
                                        </p:attrNameLst>
                                      </p:cBhvr>
                                      <p:tavLst>
                                        <p:tav tm="0">
                                          <p:val>
                                            <p:fltVal val="0"/>
                                          </p:val>
                                        </p:tav>
                                        <p:tav tm="100000">
                                          <p:val>
                                            <p:strVal val="#ppt_w"/>
                                          </p:val>
                                        </p:tav>
                                      </p:tavLst>
                                    </p:anim>
                                    <p:anim calcmode="lin" valueType="num">
                                      <p:cBhvr>
                                        <p:cTn id="18" dur="500" fill="hold"/>
                                        <p:tgtEl>
                                          <p:spTgt spid="7"/>
                                        </p:tgtEl>
                                        <p:attrNameLst>
                                          <p:attrName>ppt_h</p:attrName>
                                        </p:attrNameLst>
                                      </p:cBhvr>
                                      <p:tavLst>
                                        <p:tav tm="0">
                                          <p:val>
                                            <p:fltVal val="0"/>
                                          </p:val>
                                        </p:tav>
                                        <p:tav tm="100000">
                                          <p:val>
                                            <p:strVal val="#ppt_h"/>
                                          </p:val>
                                        </p:tav>
                                      </p:tavLst>
                                    </p:anim>
                                    <p:animEffect transition="in" filter="fade">
                                      <p:cBhvr>
                                        <p:cTn id="19" dur="500"/>
                                        <p:tgtEl>
                                          <p:spTgt spid="7"/>
                                        </p:tgtEl>
                                      </p:cBhvr>
                                    </p:animEffect>
                                  </p:childTnLst>
                                </p:cTn>
                              </p:par>
                              <p:par>
                                <p:cTn id="20" presetID="8" presetClass="emph" presetSubtype="0" repeatCount="indefinite" fill="hold" nodeType="withEffect">
                                  <p:stCondLst>
                                    <p:cond delay="0"/>
                                  </p:stCondLst>
                                  <p:childTnLst>
                                    <p:animRot by="-21600000">
                                      <p:cBhvr>
                                        <p:cTn id="21" dur="2000" fill="hold"/>
                                        <p:tgtEl>
                                          <p:spTgt spid="7"/>
                                        </p:tgtEl>
                                        <p:attrNameLst>
                                          <p:attrName>r</p:attrName>
                                        </p:attrNameLst>
                                      </p:cBhvr>
                                    </p:animRot>
                                  </p:childTnLst>
                                </p:cTn>
                              </p:par>
                              <p:par>
                                <p:cTn id="22" presetID="53" presetClass="entr" presetSubtype="16" fill="hold" nodeType="withEffect">
                                  <p:stCondLst>
                                    <p:cond delay="0"/>
                                  </p:stCondLst>
                                  <p:childTnLst>
                                    <p:set>
                                      <p:cBhvr>
                                        <p:cTn id="23" dur="1" fill="hold">
                                          <p:stCondLst>
                                            <p:cond delay="0"/>
                                          </p:stCondLst>
                                        </p:cTn>
                                        <p:tgtEl>
                                          <p:spTgt spid="8"/>
                                        </p:tgtEl>
                                        <p:attrNameLst>
                                          <p:attrName>style.visibility</p:attrName>
                                        </p:attrNameLst>
                                      </p:cBhvr>
                                      <p:to>
                                        <p:strVal val="visible"/>
                                      </p:to>
                                    </p:set>
                                    <p:anim calcmode="lin" valueType="num">
                                      <p:cBhvr>
                                        <p:cTn id="24" dur="500" fill="hold"/>
                                        <p:tgtEl>
                                          <p:spTgt spid="8"/>
                                        </p:tgtEl>
                                        <p:attrNameLst>
                                          <p:attrName>ppt_w</p:attrName>
                                        </p:attrNameLst>
                                      </p:cBhvr>
                                      <p:tavLst>
                                        <p:tav tm="0">
                                          <p:val>
                                            <p:fltVal val="0"/>
                                          </p:val>
                                        </p:tav>
                                        <p:tav tm="100000">
                                          <p:val>
                                            <p:strVal val="#ppt_w"/>
                                          </p:val>
                                        </p:tav>
                                      </p:tavLst>
                                    </p:anim>
                                    <p:anim calcmode="lin" valueType="num">
                                      <p:cBhvr>
                                        <p:cTn id="25" dur="500" fill="hold"/>
                                        <p:tgtEl>
                                          <p:spTgt spid="8"/>
                                        </p:tgtEl>
                                        <p:attrNameLst>
                                          <p:attrName>ppt_h</p:attrName>
                                        </p:attrNameLst>
                                      </p:cBhvr>
                                      <p:tavLst>
                                        <p:tav tm="0">
                                          <p:val>
                                            <p:fltVal val="0"/>
                                          </p:val>
                                        </p:tav>
                                        <p:tav tm="100000">
                                          <p:val>
                                            <p:strVal val="#ppt_h"/>
                                          </p:val>
                                        </p:tav>
                                      </p:tavLst>
                                    </p:anim>
                                    <p:animEffect transition="in" filter="fade">
                                      <p:cBhvr>
                                        <p:cTn id="26" dur="500"/>
                                        <p:tgtEl>
                                          <p:spTgt spid="8"/>
                                        </p:tgtEl>
                                      </p:cBhvr>
                                    </p:animEffect>
                                  </p:childTnLst>
                                </p:cTn>
                              </p:par>
                              <p:par>
                                <p:cTn id="27" presetID="8" presetClass="emph" presetSubtype="0" repeatCount="indefinite" fill="hold" nodeType="withEffect">
                                  <p:stCondLst>
                                    <p:cond delay="0"/>
                                  </p:stCondLst>
                                  <p:childTnLst>
                                    <p:animRot by="-21600000">
                                      <p:cBhvr>
                                        <p:cTn id="28" dur="2000" fill="hold"/>
                                        <p:tgtEl>
                                          <p:spTgt spid="8"/>
                                        </p:tgtEl>
                                        <p:attrNameLst>
                                          <p:attrName>r</p:attrName>
                                        </p:attrNameLst>
                                      </p:cBhvr>
                                    </p:animRot>
                                  </p:childTnLst>
                                </p:cTn>
                              </p:par>
                            </p:childTnLst>
                          </p:cTn>
                        </p:par>
                        <p:par>
                          <p:cTn id="29" fill="hold" nodeType="afterGroup">
                            <p:stCondLst>
                              <p:cond delay="2050"/>
                            </p:stCondLst>
                            <p:childTnLst>
                              <p:par>
                                <p:cTn id="30" presetID="53" presetClass="entr" presetSubtype="16" fill="hold" nodeType="afterEffect">
                                  <p:stCondLst>
                                    <p:cond delay="0"/>
                                  </p:stCondLst>
                                  <p:childTnLst>
                                    <p:set>
                                      <p:cBhvr>
                                        <p:cTn id="31" dur="1" fill="hold">
                                          <p:stCondLst>
                                            <p:cond delay="0"/>
                                          </p:stCondLst>
                                        </p:cTn>
                                        <p:tgtEl>
                                          <p:spTgt spid="36"/>
                                        </p:tgtEl>
                                        <p:attrNameLst>
                                          <p:attrName>style.visibility</p:attrName>
                                        </p:attrNameLst>
                                      </p:cBhvr>
                                      <p:to>
                                        <p:strVal val="visible"/>
                                      </p:to>
                                    </p:set>
                                    <p:anim calcmode="lin" valueType="num">
                                      <p:cBhvr>
                                        <p:cTn id="32" dur="500" fill="hold"/>
                                        <p:tgtEl>
                                          <p:spTgt spid="36"/>
                                        </p:tgtEl>
                                        <p:attrNameLst>
                                          <p:attrName>ppt_w</p:attrName>
                                        </p:attrNameLst>
                                      </p:cBhvr>
                                      <p:tavLst>
                                        <p:tav tm="0">
                                          <p:val>
                                            <p:fltVal val="0"/>
                                          </p:val>
                                        </p:tav>
                                        <p:tav tm="100000">
                                          <p:val>
                                            <p:strVal val="#ppt_w"/>
                                          </p:val>
                                        </p:tav>
                                      </p:tavLst>
                                    </p:anim>
                                    <p:anim calcmode="lin" valueType="num">
                                      <p:cBhvr>
                                        <p:cTn id="33" dur="500" fill="hold"/>
                                        <p:tgtEl>
                                          <p:spTgt spid="36"/>
                                        </p:tgtEl>
                                        <p:attrNameLst>
                                          <p:attrName>ppt_h</p:attrName>
                                        </p:attrNameLst>
                                      </p:cBhvr>
                                      <p:tavLst>
                                        <p:tav tm="0">
                                          <p:val>
                                            <p:fltVal val="0"/>
                                          </p:val>
                                        </p:tav>
                                        <p:tav tm="100000">
                                          <p:val>
                                            <p:strVal val="#ppt_h"/>
                                          </p:val>
                                        </p:tav>
                                      </p:tavLst>
                                    </p:anim>
                                    <p:animEffect transition="in" filter="fade">
                                      <p:cBhvr>
                                        <p:cTn id="34" dur="500"/>
                                        <p:tgtEl>
                                          <p:spTgt spid="36"/>
                                        </p:tgtEl>
                                      </p:cBhvr>
                                    </p:animEffect>
                                  </p:childTnLst>
                                </p:cTn>
                              </p:par>
                            </p:childTnLst>
                          </p:cTn>
                        </p:par>
                        <p:par>
                          <p:cTn id="35" fill="hold" nodeType="afterGroup">
                            <p:stCondLst>
                              <p:cond delay="2550"/>
                            </p:stCondLst>
                            <p:childTnLst>
                              <p:par>
                                <p:cTn id="36" presetID="22" presetClass="entr" presetSubtype="8" fill="hold" nodeType="afterEffect">
                                  <p:stCondLst>
                                    <p:cond delay="0"/>
                                  </p:stCondLst>
                                  <p:childTnLst>
                                    <p:set>
                                      <p:cBhvr>
                                        <p:cTn id="37" dur="1" fill="hold">
                                          <p:stCondLst>
                                            <p:cond delay="0"/>
                                          </p:stCondLst>
                                        </p:cTn>
                                        <p:tgtEl>
                                          <p:spTgt spid="20"/>
                                        </p:tgtEl>
                                        <p:attrNameLst>
                                          <p:attrName>style.visibility</p:attrName>
                                        </p:attrNameLst>
                                      </p:cBhvr>
                                      <p:to>
                                        <p:strVal val="visible"/>
                                      </p:to>
                                    </p:set>
                                    <p:animEffect transition="in" filter="wipe(left)">
                                      <p:cBhvr>
                                        <p:cTn id="38" dur="1000"/>
                                        <p:tgtEl>
                                          <p:spTgt spid="20"/>
                                        </p:tgtEl>
                                      </p:cBhvr>
                                    </p:animEffect>
                                  </p:childTnLst>
                                </p:cTn>
                              </p:par>
                            </p:childTnLst>
                          </p:cTn>
                        </p:par>
                        <p:par>
                          <p:cTn id="39" fill="hold" nodeType="afterGroup">
                            <p:stCondLst>
                              <p:cond delay="3550"/>
                            </p:stCondLst>
                            <p:childTnLst>
                              <p:par>
                                <p:cTn id="40" presetID="22" presetClass="entr" presetSubtype="2" fill="hold" grpId="0" nodeType="afterEffect">
                                  <p:stCondLst>
                                    <p:cond delay="0"/>
                                  </p:stCondLst>
                                  <p:childTnLst>
                                    <p:set>
                                      <p:cBhvr>
                                        <p:cTn id="41" dur="1" fill="hold">
                                          <p:stCondLst>
                                            <p:cond delay="0"/>
                                          </p:stCondLst>
                                        </p:cTn>
                                        <p:tgtEl>
                                          <p:spTgt spid="24"/>
                                        </p:tgtEl>
                                        <p:attrNameLst>
                                          <p:attrName>style.visibility</p:attrName>
                                        </p:attrNameLst>
                                      </p:cBhvr>
                                      <p:to>
                                        <p:strVal val="visible"/>
                                      </p:to>
                                    </p:set>
                                    <p:animEffect transition="in" filter="wipe(right)">
                                      <p:cBhvr>
                                        <p:cTn id="42" dur="500"/>
                                        <p:tgtEl>
                                          <p:spTgt spid="24"/>
                                        </p:tgtEl>
                                      </p:cBhvr>
                                    </p:animEffect>
                                  </p:childTnLst>
                                </p:cTn>
                              </p:par>
                            </p:childTnLst>
                          </p:cTn>
                        </p:par>
                        <p:par>
                          <p:cTn id="43" fill="hold" nodeType="afterGroup">
                            <p:stCondLst>
                              <p:cond delay="4050"/>
                            </p:stCondLst>
                            <p:childTnLst>
                              <p:par>
                                <p:cTn id="44" presetID="53" presetClass="entr" presetSubtype="16" fill="hold" nodeType="afterEffect">
                                  <p:stCondLst>
                                    <p:cond delay="0"/>
                                  </p:stCondLst>
                                  <p:childTnLst>
                                    <p:set>
                                      <p:cBhvr>
                                        <p:cTn id="45" dur="1" fill="hold">
                                          <p:stCondLst>
                                            <p:cond delay="0"/>
                                          </p:stCondLst>
                                        </p:cTn>
                                        <p:tgtEl>
                                          <p:spTgt spid="29"/>
                                        </p:tgtEl>
                                        <p:attrNameLst>
                                          <p:attrName>style.visibility</p:attrName>
                                        </p:attrNameLst>
                                      </p:cBhvr>
                                      <p:to>
                                        <p:strVal val="visible"/>
                                      </p:to>
                                    </p:set>
                                    <p:anim calcmode="lin" valueType="num">
                                      <p:cBhvr>
                                        <p:cTn id="46" dur="500" fill="hold"/>
                                        <p:tgtEl>
                                          <p:spTgt spid="29"/>
                                        </p:tgtEl>
                                        <p:attrNameLst>
                                          <p:attrName>ppt_w</p:attrName>
                                        </p:attrNameLst>
                                      </p:cBhvr>
                                      <p:tavLst>
                                        <p:tav tm="0">
                                          <p:val>
                                            <p:fltVal val="0"/>
                                          </p:val>
                                        </p:tav>
                                        <p:tav tm="100000">
                                          <p:val>
                                            <p:strVal val="#ppt_w"/>
                                          </p:val>
                                        </p:tav>
                                      </p:tavLst>
                                    </p:anim>
                                    <p:anim calcmode="lin" valueType="num">
                                      <p:cBhvr>
                                        <p:cTn id="47" dur="500" fill="hold"/>
                                        <p:tgtEl>
                                          <p:spTgt spid="29"/>
                                        </p:tgtEl>
                                        <p:attrNameLst>
                                          <p:attrName>ppt_h</p:attrName>
                                        </p:attrNameLst>
                                      </p:cBhvr>
                                      <p:tavLst>
                                        <p:tav tm="0">
                                          <p:val>
                                            <p:fltVal val="0"/>
                                          </p:val>
                                        </p:tav>
                                        <p:tav tm="100000">
                                          <p:val>
                                            <p:strVal val="#ppt_h"/>
                                          </p:val>
                                        </p:tav>
                                      </p:tavLst>
                                    </p:anim>
                                    <p:animEffect transition="in" filter="fade">
                                      <p:cBhvr>
                                        <p:cTn id="48" dur="500"/>
                                        <p:tgtEl>
                                          <p:spTgt spid="29"/>
                                        </p:tgtEl>
                                      </p:cBhvr>
                                    </p:animEffect>
                                  </p:childTnLst>
                                </p:cTn>
                              </p:par>
                            </p:childTnLst>
                          </p:cTn>
                        </p:par>
                        <p:par>
                          <p:cTn id="49" fill="hold" nodeType="afterGroup">
                            <p:stCondLst>
                              <p:cond delay="4550"/>
                            </p:stCondLst>
                            <p:childTnLst>
                              <p:par>
                                <p:cTn id="50" presetID="22" presetClass="entr" presetSubtype="8" fill="hold" nodeType="afterEffect">
                                  <p:stCondLst>
                                    <p:cond delay="0"/>
                                  </p:stCondLst>
                                  <p:childTnLst>
                                    <p:set>
                                      <p:cBhvr>
                                        <p:cTn id="51" dur="1" fill="hold">
                                          <p:stCondLst>
                                            <p:cond delay="0"/>
                                          </p:stCondLst>
                                        </p:cTn>
                                        <p:tgtEl>
                                          <p:spTgt spid="22"/>
                                        </p:tgtEl>
                                        <p:attrNameLst>
                                          <p:attrName>style.visibility</p:attrName>
                                        </p:attrNameLst>
                                      </p:cBhvr>
                                      <p:to>
                                        <p:strVal val="visible"/>
                                      </p:to>
                                    </p:set>
                                    <p:animEffect transition="in" filter="wipe(left)">
                                      <p:cBhvr>
                                        <p:cTn id="52" dur="750"/>
                                        <p:tgtEl>
                                          <p:spTgt spid="22"/>
                                        </p:tgtEl>
                                      </p:cBhvr>
                                    </p:animEffect>
                                  </p:childTnLst>
                                </p:cTn>
                              </p:par>
                            </p:childTnLst>
                          </p:cTn>
                        </p:par>
                        <p:par>
                          <p:cTn id="53" fill="hold" nodeType="afterGroup">
                            <p:stCondLst>
                              <p:cond delay="5300"/>
                            </p:stCondLst>
                            <p:childTnLst>
                              <p:par>
                                <p:cTn id="54" presetID="22" presetClass="entr" presetSubtype="2" fill="hold" grpId="0" nodeType="afterEffect">
                                  <p:stCondLst>
                                    <p:cond delay="0"/>
                                  </p:stCondLst>
                                  <p:childTnLst>
                                    <p:set>
                                      <p:cBhvr>
                                        <p:cTn id="55" dur="1" fill="hold">
                                          <p:stCondLst>
                                            <p:cond delay="0"/>
                                          </p:stCondLst>
                                        </p:cTn>
                                        <p:tgtEl>
                                          <p:spTgt spid="28"/>
                                        </p:tgtEl>
                                        <p:attrNameLst>
                                          <p:attrName>style.visibility</p:attrName>
                                        </p:attrNameLst>
                                      </p:cBhvr>
                                      <p:to>
                                        <p:strVal val="visible"/>
                                      </p:to>
                                    </p:set>
                                    <p:animEffect transition="in" filter="wipe(right)">
                                      <p:cBhvr>
                                        <p:cTn id="56" dur="500"/>
                                        <p:tgtEl>
                                          <p:spTgt spid="28"/>
                                        </p:tgtEl>
                                      </p:cBhvr>
                                    </p:animEffect>
                                  </p:childTnLst>
                                </p:cTn>
                              </p:par>
                            </p:childTnLst>
                          </p:cTn>
                        </p:par>
                        <p:par>
                          <p:cTn id="57" fill="hold" nodeType="afterGroup">
                            <p:stCondLst>
                              <p:cond delay="5800"/>
                            </p:stCondLst>
                            <p:childTnLst>
                              <p:par>
                                <p:cTn id="58" presetID="53" presetClass="entr" presetSubtype="16" fill="hold" nodeType="afterEffect">
                                  <p:stCondLst>
                                    <p:cond delay="0"/>
                                  </p:stCondLst>
                                  <p:childTnLst>
                                    <p:set>
                                      <p:cBhvr>
                                        <p:cTn id="59" dur="1" fill="hold">
                                          <p:stCondLst>
                                            <p:cond delay="0"/>
                                          </p:stCondLst>
                                        </p:cTn>
                                        <p:tgtEl>
                                          <p:spTgt spid="57"/>
                                        </p:tgtEl>
                                        <p:attrNameLst>
                                          <p:attrName>style.visibility</p:attrName>
                                        </p:attrNameLst>
                                      </p:cBhvr>
                                      <p:to>
                                        <p:strVal val="visible"/>
                                      </p:to>
                                    </p:set>
                                    <p:anim calcmode="lin" valueType="num">
                                      <p:cBhvr>
                                        <p:cTn id="60" dur="500" fill="hold"/>
                                        <p:tgtEl>
                                          <p:spTgt spid="57"/>
                                        </p:tgtEl>
                                        <p:attrNameLst>
                                          <p:attrName>ppt_w</p:attrName>
                                        </p:attrNameLst>
                                      </p:cBhvr>
                                      <p:tavLst>
                                        <p:tav tm="0">
                                          <p:val>
                                            <p:fltVal val="0"/>
                                          </p:val>
                                        </p:tav>
                                        <p:tav tm="100000">
                                          <p:val>
                                            <p:strVal val="#ppt_w"/>
                                          </p:val>
                                        </p:tav>
                                      </p:tavLst>
                                    </p:anim>
                                    <p:anim calcmode="lin" valueType="num">
                                      <p:cBhvr>
                                        <p:cTn id="61" dur="500" fill="hold"/>
                                        <p:tgtEl>
                                          <p:spTgt spid="57"/>
                                        </p:tgtEl>
                                        <p:attrNameLst>
                                          <p:attrName>ppt_h</p:attrName>
                                        </p:attrNameLst>
                                      </p:cBhvr>
                                      <p:tavLst>
                                        <p:tav tm="0">
                                          <p:val>
                                            <p:fltVal val="0"/>
                                          </p:val>
                                        </p:tav>
                                        <p:tav tm="100000">
                                          <p:val>
                                            <p:strVal val="#ppt_h"/>
                                          </p:val>
                                        </p:tav>
                                      </p:tavLst>
                                    </p:anim>
                                    <p:animEffect transition="in" filter="fade">
                                      <p:cBhvr>
                                        <p:cTn id="62" dur="500"/>
                                        <p:tgtEl>
                                          <p:spTgt spid="57"/>
                                        </p:tgtEl>
                                      </p:cBhvr>
                                    </p:animEffect>
                                  </p:childTnLst>
                                </p:cTn>
                              </p:par>
                            </p:childTnLst>
                          </p:cTn>
                        </p:par>
                        <p:par>
                          <p:cTn id="63" fill="hold" nodeType="afterGroup">
                            <p:stCondLst>
                              <p:cond delay="6300"/>
                            </p:stCondLst>
                            <p:childTnLst>
                              <p:par>
                                <p:cTn id="64" presetID="22" presetClass="entr" presetSubtype="8" fill="hold" nodeType="afterEffect">
                                  <p:stCondLst>
                                    <p:cond delay="0"/>
                                  </p:stCondLst>
                                  <p:childTnLst>
                                    <p:set>
                                      <p:cBhvr>
                                        <p:cTn id="65" dur="1" fill="hold">
                                          <p:stCondLst>
                                            <p:cond delay="0"/>
                                          </p:stCondLst>
                                        </p:cTn>
                                        <p:tgtEl>
                                          <p:spTgt spid="21"/>
                                        </p:tgtEl>
                                        <p:attrNameLst>
                                          <p:attrName>style.visibility</p:attrName>
                                        </p:attrNameLst>
                                      </p:cBhvr>
                                      <p:to>
                                        <p:strVal val="visible"/>
                                      </p:to>
                                    </p:set>
                                    <p:animEffect transition="in" filter="wipe(left)">
                                      <p:cBhvr>
                                        <p:cTn id="66" dur="750"/>
                                        <p:tgtEl>
                                          <p:spTgt spid="21"/>
                                        </p:tgtEl>
                                      </p:cBhvr>
                                    </p:animEffect>
                                  </p:childTnLst>
                                </p:cTn>
                              </p:par>
                            </p:childTnLst>
                          </p:cTn>
                        </p:par>
                        <p:par>
                          <p:cTn id="67" fill="hold" nodeType="afterGroup">
                            <p:stCondLst>
                              <p:cond delay="7050"/>
                            </p:stCondLst>
                            <p:childTnLst>
                              <p:par>
                                <p:cTn id="68" presetID="22" presetClass="entr" presetSubtype="2" fill="hold" grpId="0" nodeType="afterEffect">
                                  <p:stCondLst>
                                    <p:cond delay="0"/>
                                  </p:stCondLst>
                                  <p:childTnLst>
                                    <p:set>
                                      <p:cBhvr>
                                        <p:cTn id="69" dur="1" fill="hold">
                                          <p:stCondLst>
                                            <p:cond delay="0"/>
                                          </p:stCondLst>
                                        </p:cTn>
                                        <p:tgtEl>
                                          <p:spTgt spid="26"/>
                                        </p:tgtEl>
                                        <p:attrNameLst>
                                          <p:attrName>style.visibility</p:attrName>
                                        </p:attrNameLst>
                                      </p:cBhvr>
                                      <p:to>
                                        <p:strVal val="visible"/>
                                      </p:to>
                                    </p:set>
                                    <p:animEffect transition="in" filter="wipe(right)">
                                      <p:cBhvr>
                                        <p:cTn id="70" dur="500"/>
                                        <p:tgtEl>
                                          <p:spTgt spid="26"/>
                                        </p:tgtEl>
                                      </p:cBhvr>
                                    </p:animEffect>
                                  </p:childTnLst>
                                </p:cTn>
                              </p:par>
                            </p:childTnLst>
                          </p:cTn>
                        </p:par>
                        <p:par>
                          <p:cTn id="71" fill="hold">
                            <p:stCondLst>
                              <p:cond delay="7550"/>
                            </p:stCondLst>
                            <p:childTnLst>
                              <p:par>
                                <p:cTn id="72" presetID="22" presetClass="entr" presetSubtype="8" fill="hold" nodeType="afterEffect">
                                  <p:stCondLst>
                                    <p:cond delay="0"/>
                                  </p:stCondLst>
                                  <p:childTnLst>
                                    <p:set>
                                      <p:cBhvr>
                                        <p:cTn id="73" dur="1" fill="hold">
                                          <p:stCondLst>
                                            <p:cond delay="0"/>
                                          </p:stCondLst>
                                        </p:cTn>
                                        <p:tgtEl>
                                          <p:spTgt spid="43"/>
                                        </p:tgtEl>
                                        <p:attrNameLst>
                                          <p:attrName>style.visibility</p:attrName>
                                        </p:attrNameLst>
                                      </p:cBhvr>
                                      <p:to>
                                        <p:strVal val="visible"/>
                                      </p:to>
                                    </p:set>
                                    <p:animEffect transition="in" filter="wipe(left)">
                                      <p:cBhvr>
                                        <p:cTn id="74" dur="750"/>
                                        <p:tgtEl>
                                          <p:spTgt spid="43"/>
                                        </p:tgtEl>
                                      </p:cBhvr>
                                    </p:animEffect>
                                  </p:childTnLst>
                                </p:cTn>
                              </p:par>
                              <p:par>
                                <p:cTn id="75" presetID="9" presetClass="entr" presetSubtype="0" fill="hold" grpId="0" nodeType="withEffect">
                                  <p:stCondLst>
                                    <p:cond delay="0"/>
                                  </p:stCondLst>
                                  <p:childTnLst>
                                    <p:set>
                                      <p:cBhvr>
                                        <p:cTn id="76" dur="1" fill="hold">
                                          <p:stCondLst>
                                            <p:cond delay="0"/>
                                          </p:stCondLst>
                                        </p:cTn>
                                        <p:tgtEl>
                                          <p:spTgt spid="43"/>
                                        </p:tgtEl>
                                        <p:attrNameLst>
                                          <p:attrName>style.visibility</p:attrName>
                                        </p:attrNameLst>
                                      </p:cBhvr>
                                      <p:to>
                                        <p:strVal val="visible"/>
                                      </p:to>
                                    </p:set>
                                    <p:animEffect transition="in" filter="dissolve">
                                      <p:cBhvr>
                                        <p:cTn id="77" dur="500"/>
                                        <p:tgtEl>
                                          <p:spTgt spid="43"/>
                                        </p:tgtEl>
                                      </p:cBhvr>
                                    </p:animEffect>
                                  </p:childTnLst>
                                </p:cTn>
                              </p:par>
                            </p:childTnLst>
                          </p:cTn>
                        </p:par>
                        <p:par>
                          <p:cTn id="78" fill="hold">
                            <p:stCondLst>
                              <p:cond delay="8300"/>
                            </p:stCondLst>
                            <p:childTnLst>
                              <p:par>
                                <p:cTn id="79" presetID="22" presetClass="entr" presetSubtype="2" fill="hold" grpId="0" nodeType="afterEffect">
                                  <p:stCondLst>
                                    <p:cond delay="0"/>
                                  </p:stCondLst>
                                  <p:childTnLst>
                                    <p:set>
                                      <p:cBhvr>
                                        <p:cTn id="80" dur="1" fill="hold">
                                          <p:stCondLst>
                                            <p:cond delay="0"/>
                                          </p:stCondLst>
                                        </p:cTn>
                                        <p:tgtEl>
                                          <p:spTgt spid="6"/>
                                        </p:tgtEl>
                                        <p:attrNameLst>
                                          <p:attrName>style.visibility</p:attrName>
                                        </p:attrNameLst>
                                      </p:cBhvr>
                                      <p:to>
                                        <p:strVal val="visible"/>
                                      </p:to>
                                    </p:set>
                                    <p:animEffect transition="in" filter="wipe(right)">
                                      <p:cBhvr>
                                        <p:cTn id="81" dur="500"/>
                                        <p:tgtEl>
                                          <p:spTgt spid="6"/>
                                        </p:tgtEl>
                                      </p:cBhvr>
                                    </p:animEffect>
                                  </p:childTnLst>
                                </p:cTn>
                              </p:par>
                              <p:par>
                                <p:cTn id="82" presetID="53" presetClass="entr" presetSubtype="16" fill="hold" grpId="0" nodeType="withEffect">
                                  <p:stCondLst>
                                    <p:cond delay="0"/>
                                  </p:stCondLst>
                                  <p:childTnLst>
                                    <p:set>
                                      <p:cBhvr>
                                        <p:cTn id="83" dur="1" fill="hold">
                                          <p:stCondLst>
                                            <p:cond delay="0"/>
                                          </p:stCondLst>
                                        </p:cTn>
                                        <p:tgtEl>
                                          <p:spTgt spid="39"/>
                                        </p:tgtEl>
                                        <p:attrNameLst>
                                          <p:attrName>style.visibility</p:attrName>
                                        </p:attrNameLst>
                                      </p:cBhvr>
                                      <p:to>
                                        <p:strVal val="visible"/>
                                      </p:to>
                                    </p:set>
                                    <p:anim calcmode="lin" valueType="num">
                                      <p:cBhvr>
                                        <p:cTn id="84" dur="500" fill="hold"/>
                                        <p:tgtEl>
                                          <p:spTgt spid="39"/>
                                        </p:tgtEl>
                                        <p:attrNameLst>
                                          <p:attrName>ppt_w</p:attrName>
                                        </p:attrNameLst>
                                      </p:cBhvr>
                                      <p:tavLst>
                                        <p:tav tm="0">
                                          <p:val>
                                            <p:fltVal val="0"/>
                                          </p:val>
                                        </p:tav>
                                        <p:tav tm="100000">
                                          <p:val>
                                            <p:strVal val="#ppt_w"/>
                                          </p:val>
                                        </p:tav>
                                      </p:tavLst>
                                    </p:anim>
                                    <p:anim calcmode="lin" valueType="num">
                                      <p:cBhvr>
                                        <p:cTn id="85" dur="500" fill="hold"/>
                                        <p:tgtEl>
                                          <p:spTgt spid="39"/>
                                        </p:tgtEl>
                                        <p:attrNameLst>
                                          <p:attrName>ppt_h</p:attrName>
                                        </p:attrNameLst>
                                      </p:cBhvr>
                                      <p:tavLst>
                                        <p:tav tm="0">
                                          <p:val>
                                            <p:fltVal val="0"/>
                                          </p:val>
                                        </p:tav>
                                        <p:tav tm="100000">
                                          <p:val>
                                            <p:strVal val="#ppt_h"/>
                                          </p:val>
                                        </p:tav>
                                      </p:tavLst>
                                    </p:anim>
                                    <p:animEffect transition="in" filter="fade">
                                      <p:cBhvr>
                                        <p:cTn id="86" dur="500"/>
                                        <p:tgtEl>
                                          <p:spTgt spid="39"/>
                                        </p:tgtEl>
                                      </p:cBhvr>
                                    </p:animEffect>
                                  </p:childTnLst>
                                </p:cTn>
                              </p:par>
                              <p:par>
                                <p:cTn id="87" presetID="8" presetClass="emph" presetSubtype="0" repeatCount="indefinite" fill="hold" grpId="1" nodeType="withEffect">
                                  <p:stCondLst>
                                    <p:cond delay="50"/>
                                  </p:stCondLst>
                                  <p:childTnLst>
                                    <p:animRot by="-21600000">
                                      <p:cBhvr>
                                        <p:cTn id="88" dur="2000" fill="hold"/>
                                        <p:tgtEl>
                                          <p:spTgt spid="39"/>
                                        </p:tgtEl>
                                        <p:attrNameLst>
                                          <p:attrName>r</p:attrName>
                                        </p:attrNameLst>
                                      </p:cBhvr>
                                    </p:animRot>
                                  </p:childTnLst>
                                </p:cTn>
                              </p:par>
                            </p:childTnLst>
                          </p:cTn>
                        </p:par>
                        <p:par>
                          <p:cTn id="89" fill="hold">
                            <p:stCondLst>
                              <p:cond delay="10350"/>
                            </p:stCondLst>
                            <p:childTnLst>
                              <p:par>
                                <p:cTn id="90" presetID="9" presetClass="entr" presetSubtype="0" fill="hold" nodeType="afterEffect">
                                  <p:stCondLst>
                                    <p:cond delay="0"/>
                                  </p:stCondLst>
                                  <p:childTnLst>
                                    <p:set>
                                      <p:cBhvr>
                                        <p:cTn id="91" dur="1" fill="hold">
                                          <p:stCondLst>
                                            <p:cond delay="0"/>
                                          </p:stCondLst>
                                        </p:cTn>
                                        <p:tgtEl>
                                          <p:spTgt spid="47"/>
                                        </p:tgtEl>
                                        <p:attrNameLst>
                                          <p:attrName>style.visibility</p:attrName>
                                        </p:attrNameLst>
                                      </p:cBhvr>
                                      <p:to>
                                        <p:strVal val="visible"/>
                                      </p:to>
                                    </p:set>
                                    <p:animEffect transition="in" filter="dissolve">
                                      <p:cBhvr>
                                        <p:cTn id="92" dur="25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39" grpId="1" animBg="1"/>
      <p:bldP spid="24" grpId="0"/>
      <p:bldP spid="26" grpId="0"/>
      <p:bldP spid="28" grpId="0"/>
      <p:bldP spid="43" grpId="0" animBg="1"/>
      <p:bldP spid="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4094328" y="0"/>
            <a:ext cx="7383297" cy="6858000"/>
          </a:xfrm>
          <a:prstGeom prst="rect">
            <a:avLst/>
          </a:prstGeom>
          <a:solidFill>
            <a:schemeClr val="accent1">
              <a:lumMod val="7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dirty="0" err="1">
                <a:solidFill>
                  <a:schemeClr val="tx1"/>
                </a:solidFill>
              </a:rPr>
              <a:t>Osterwalder</a:t>
            </a:r>
            <a:r>
              <a:rPr lang="en-US" dirty="0">
                <a:solidFill>
                  <a:schemeClr val="tx1"/>
                </a:solidFill>
              </a:rPr>
              <a:t>, A., </a:t>
            </a:r>
            <a:r>
              <a:rPr lang="en-US" dirty="0" err="1">
                <a:solidFill>
                  <a:schemeClr val="tx1"/>
                </a:solidFill>
              </a:rPr>
              <a:t>Pigneur</a:t>
            </a:r>
            <a:r>
              <a:rPr lang="en-US" dirty="0">
                <a:solidFill>
                  <a:schemeClr val="tx1"/>
                </a:solidFill>
              </a:rPr>
              <a:t>, Y.:</a:t>
            </a:r>
          </a:p>
        </p:txBody>
      </p:sp>
      <p:sp>
        <p:nvSpPr>
          <p:cNvPr id="147" name="Rectangle 146"/>
          <p:cNvSpPr/>
          <p:nvPr/>
        </p:nvSpPr>
        <p:spPr>
          <a:xfrm>
            <a:off x="365125" y="544513"/>
            <a:ext cx="4251325" cy="231775"/>
          </a:xfrm>
          <a:prstGeom prst="rect">
            <a:avLst/>
          </a:prstGeom>
        </p:spPr>
        <p:txBody>
          <a:bodyPr anchor="ctr"/>
          <a:lstStyle/>
          <a:p>
            <a:pPr defTabSz="914082" eaLnBrk="1" fontAlgn="auto" hangingPunct="1">
              <a:spcAft>
                <a:spcPts val="0"/>
              </a:spcAft>
              <a:defRPr/>
            </a:pPr>
            <a:r>
              <a:rPr lang="en-US" sz="6000" spc="-300" noProof="1">
                <a:solidFill>
                  <a:schemeClr val="bg1"/>
                </a:solidFill>
                <a:latin typeface="Open Sans" panose="020B0606030504020204" pitchFamily="34" charset="0"/>
                <a:ea typeface="Open Sans" panose="020B0606030504020204" pitchFamily="34" charset="0"/>
                <a:cs typeface="Open Sans" panose="020B0606030504020204" pitchFamily="34" charset="0"/>
              </a:rPr>
              <a:t>Business</a:t>
            </a:r>
          </a:p>
        </p:txBody>
      </p:sp>
      <p:sp>
        <p:nvSpPr>
          <p:cNvPr id="148" name="Rectangle 147"/>
          <p:cNvSpPr/>
          <p:nvPr/>
        </p:nvSpPr>
        <p:spPr>
          <a:xfrm>
            <a:off x="365125" y="938213"/>
            <a:ext cx="4090988" cy="650875"/>
          </a:xfrm>
          <a:prstGeom prst="rect">
            <a:avLst/>
          </a:prstGeom>
        </p:spPr>
        <p:txBody>
          <a:bodyPr anchor="ctr"/>
          <a:lstStyle/>
          <a:p>
            <a:pPr defTabSz="914082" eaLnBrk="1" fontAlgn="auto" hangingPunct="1">
              <a:spcAft>
                <a:spcPts val="0"/>
              </a:spcAft>
              <a:defRPr/>
            </a:pPr>
            <a:r>
              <a:rPr lang="en-US" sz="5500" spc="-300" noProof="1" smtClean="0">
                <a:solidFill>
                  <a:srgbClr val="37B3AD"/>
                </a:solidFill>
                <a:latin typeface="Open Sans" panose="020B0606030504020204" pitchFamily="34" charset="0"/>
                <a:ea typeface="Open Sans" panose="020B0606030504020204" pitchFamily="34" charset="0"/>
                <a:cs typeface="Open Sans" panose="020B0606030504020204" pitchFamily="34" charset="0"/>
              </a:rPr>
              <a:t>Model Canvas</a:t>
            </a:r>
            <a:endParaRPr lang="en-US" sz="5500" spc="-300" noProof="1">
              <a:solidFill>
                <a:srgbClr val="37B3AD"/>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50" name="Straight Connector 149"/>
          <p:cNvCxnSpPr/>
          <p:nvPr/>
        </p:nvCxnSpPr>
        <p:spPr>
          <a:xfrm>
            <a:off x="457200" y="1763713"/>
            <a:ext cx="31369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51" name="Rectangle 150"/>
          <p:cNvSpPr/>
          <p:nvPr/>
        </p:nvSpPr>
        <p:spPr>
          <a:xfrm>
            <a:off x="365125" y="1868488"/>
            <a:ext cx="544353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eaLnBrk="1" hangingPunct="1">
              <a:buClr>
                <a:srgbClr val="E24848"/>
              </a:buClr>
            </a:pPr>
            <a:r>
              <a:rPr lang="en-US" sz="2000" b="1" noProof="1" smtClean="0">
                <a:solidFill>
                  <a:schemeClr val="bg1"/>
                </a:solidFill>
                <a:latin typeface="Open Sans" charset="0"/>
                <a:ea typeface="Open Sans" charset="0"/>
                <a:cs typeface="Open Sans" charset="0"/>
              </a:rPr>
              <a:t>Komponen-Komponen BMC</a:t>
            </a:r>
            <a:endParaRPr lang="en-US" sz="2000" b="1" noProof="1">
              <a:solidFill>
                <a:schemeClr val="bg1"/>
              </a:solidFill>
              <a:latin typeface="Open Sans" charset="0"/>
              <a:ea typeface="Open Sans" charset="0"/>
              <a:cs typeface="Open Sans" charset="0"/>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93469" y="776288"/>
            <a:ext cx="6146800" cy="4495800"/>
          </a:xfrm>
          <a:prstGeom prst="rect">
            <a:avLst/>
          </a:prstGeom>
        </p:spPr>
      </p:pic>
      <p:sp>
        <p:nvSpPr>
          <p:cNvPr id="8" name="TextBox 7"/>
          <p:cNvSpPr txBox="1"/>
          <p:nvPr/>
        </p:nvSpPr>
        <p:spPr>
          <a:xfrm>
            <a:off x="7370733" y="5272088"/>
            <a:ext cx="4325570" cy="369332"/>
          </a:xfrm>
          <a:prstGeom prst="rect">
            <a:avLst/>
          </a:prstGeom>
          <a:noFill/>
        </p:spPr>
        <p:txBody>
          <a:bodyPr wrap="square" rtlCol="0">
            <a:spAutoFit/>
          </a:bodyPr>
          <a:lstStyle/>
          <a:p>
            <a:r>
              <a:rPr lang="en-US" dirty="0" err="1">
                <a:solidFill>
                  <a:schemeClr val="bg1"/>
                </a:solidFill>
              </a:rPr>
              <a:t>Osterwalder</a:t>
            </a:r>
            <a:r>
              <a:rPr lang="en-US" dirty="0">
                <a:solidFill>
                  <a:schemeClr val="bg1"/>
                </a:solidFill>
              </a:rPr>
              <a:t>, A</a:t>
            </a:r>
            <a:r>
              <a:rPr lang="en-US" dirty="0" smtClean="0">
                <a:solidFill>
                  <a:schemeClr val="bg1"/>
                </a:solidFill>
              </a:rPr>
              <a:t>. </a:t>
            </a:r>
            <a:r>
              <a:rPr lang="en-US" dirty="0" err="1" smtClean="0">
                <a:solidFill>
                  <a:schemeClr val="bg1"/>
                </a:solidFill>
              </a:rPr>
              <a:t>dan</a:t>
            </a:r>
            <a:r>
              <a:rPr lang="en-US" dirty="0" smtClean="0">
                <a:solidFill>
                  <a:schemeClr val="bg1"/>
                </a:solidFill>
              </a:rPr>
              <a:t> </a:t>
            </a:r>
            <a:r>
              <a:rPr lang="en-US" dirty="0" err="1">
                <a:solidFill>
                  <a:schemeClr val="bg1"/>
                </a:solidFill>
              </a:rPr>
              <a:t>Pigneur</a:t>
            </a:r>
            <a:r>
              <a:rPr lang="en-US" dirty="0">
                <a:solidFill>
                  <a:schemeClr val="bg1"/>
                </a:solidFill>
              </a:rPr>
              <a:t>, Y</a:t>
            </a:r>
            <a:r>
              <a:rPr lang="en-US" dirty="0" smtClean="0">
                <a:solidFill>
                  <a:schemeClr val="bg1"/>
                </a:solidFill>
              </a:rPr>
              <a:t>.: (2002)</a:t>
            </a:r>
            <a:endParaRPr lang="en-US" dirty="0">
              <a:solidFill>
                <a:schemeClr val="bg1"/>
              </a:solidFill>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7"/>
                                        </p:tgtEl>
                                        <p:attrNameLst>
                                          <p:attrName>style.visibility</p:attrName>
                                        </p:attrNameLst>
                                      </p:cBhvr>
                                      <p:to>
                                        <p:strVal val="visible"/>
                                      </p:to>
                                    </p:set>
                                    <p:animEffect transition="in" filter="fade">
                                      <p:cBhvr>
                                        <p:cTn id="7" dur="1000"/>
                                        <p:tgtEl>
                                          <p:spTgt spid="14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8"/>
                                        </p:tgtEl>
                                        <p:attrNameLst>
                                          <p:attrName>style.visibility</p:attrName>
                                        </p:attrNameLst>
                                      </p:cBhvr>
                                      <p:to>
                                        <p:strVal val="visible"/>
                                      </p:to>
                                    </p:set>
                                    <p:animEffect transition="in" filter="fade">
                                      <p:cBhvr>
                                        <p:cTn id="10" dur="1000"/>
                                        <p:tgtEl>
                                          <p:spTgt spid="148"/>
                                        </p:tgtEl>
                                      </p:cBhvr>
                                    </p:animEffect>
                                  </p:childTnLst>
                                </p:cTn>
                              </p:par>
                              <p:par>
                                <p:cTn id="11" presetID="10" presetClass="entr" presetSubtype="0" fill="hold" nodeType="withEffect">
                                  <p:stCondLst>
                                    <p:cond delay="0"/>
                                  </p:stCondLst>
                                  <p:childTnLst>
                                    <p:set>
                                      <p:cBhvr>
                                        <p:cTn id="12" dur="1" fill="hold">
                                          <p:stCondLst>
                                            <p:cond delay="0"/>
                                          </p:stCondLst>
                                        </p:cTn>
                                        <p:tgtEl>
                                          <p:spTgt spid="150"/>
                                        </p:tgtEl>
                                        <p:attrNameLst>
                                          <p:attrName>style.visibility</p:attrName>
                                        </p:attrNameLst>
                                      </p:cBhvr>
                                      <p:to>
                                        <p:strVal val="visible"/>
                                      </p:to>
                                    </p:set>
                                    <p:animEffect transition="in" filter="fade">
                                      <p:cBhvr>
                                        <p:cTn id="13" dur="1000"/>
                                        <p:tgtEl>
                                          <p:spTgt spid="15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51"/>
                                        </p:tgtEl>
                                        <p:attrNameLst>
                                          <p:attrName>style.visibility</p:attrName>
                                        </p:attrNameLst>
                                      </p:cBhvr>
                                      <p:to>
                                        <p:strVal val="visible"/>
                                      </p:to>
                                    </p:set>
                                    <p:animEffect transition="in" filter="fade">
                                      <p:cBhvr>
                                        <p:cTn id="16" dur="1000"/>
                                        <p:tgtEl>
                                          <p:spTgt spid="151"/>
                                        </p:tgtEl>
                                      </p:cBhvr>
                                    </p:animEffect>
                                  </p:childTnLst>
                                </p:cTn>
                              </p:par>
                            </p:childTnLst>
                          </p:cTn>
                        </p:par>
                        <p:par>
                          <p:cTn id="17" fill="hold" nodeType="afterGroup">
                            <p:stCondLst>
                              <p:cond delay="1000"/>
                            </p:stCondLst>
                            <p:childTnLst>
                              <p:par>
                                <p:cTn id="18" presetID="22" presetClass="entr" presetSubtype="1" fill="hold" grpId="0" nodeType="after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wipe(up)">
                                      <p:cBhvr>
                                        <p:cTn id="20"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47" grpId="0"/>
      <p:bldP spid="148" grpId="0"/>
      <p:bldP spid="151"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4094328" y="0"/>
            <a:ext cx="7383297" cy="6858000"/>
          </a:xfrm>
          <a:prstGeom prst="rect">
            <a:avLst/>
          </a:prstGeom>
          <a:solidFill>
            <a:schemeClr val="accent1">
              <a:lumMod val="7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dirty="0" err="1">
                <a:solidFill>
                  <a:schemeClr val="tx1"/>
                </a:solidFill>
              </a:rPr>
              <a:t>Osterwalder</a:t>
            </a:r>
            <a:r>
              <a:rPr lang="en-US" dirty="0">
                <a:solidFill>
                  <a:schemeClr val="tx1"/>
                </a:solidFill>
              </a:rPr>
              <a:t>, A., </a:t>
            </a:r>
            <a:r>
              <a:rPr lang="en-US" dirty="0" err="1">
                <a:solidFill>
                  <a:schemeClr val="tx1"/>
                </a:solidFill>
              </a:rPr>
              <a:t>Pigneur</a:t>
            </a:r>
            <a:r>
              <a:rPr lang="en-US" dirty="0">
                <a:solidFill>
                  <a:schemeClr val="tx1"/>
                </a:solidFill>
              </a:rPr>
              <a:t>, Y.:</a:t>
            </a:r>
          </a:p>
        </p:txBody>
      </p:sp>
      <p:sp>
        <p:nvSpPr>
          <p:cNvPr id="147" name="Rectangle 146"/>
          <p:cNvSpPr/>
          <p:nvPr/>
        </p:nvSpPr>
        <p:spPr>
          <a:xfrm>
            <a:off x="365125" y="544513"/>
            <a:ext cx="4251325" cy="231775"/>
          </a:xfrm>
          <a:prstGeom prst="rect">
            <a:avLst/>
          </a:prstGeom>
        </p:spPr>
        <p:txBody>
          <a:bodyPr anchor="ctr"/>
          <a:lstStyle/>
          <a:p>
            <a:pPr defTabSz="914082" eaLnBrk="1" fontAlgn="auto" hangingPunct="1">
              <a:spcAft>
                <a:spcPts val="0"/>
              </a:spcAft>
              <a:defRPr/>
            </a:pPr>
            <a:r>
              <a:rPr lang="en-US" sz="6000" spc="-300" noProof="1">
                <a:solidFill>
                  <a:schemeClr val="bg1"/>
                </a:solidFill>
                <a:latin typeface="Open Sans" panose="020B0606030504020204" pitchFamily="34" charset="0"/>
                <a:ea typeface="Open Sans" panose="020B0606030504020204" pitchFamily="34" charset="0"/>
                <a:cs typeface="Open Sans" panose="020B0606030504020204" pitchFamily="34" charset="0"/>
              </a:rPr>
              <a:t>Business</a:t>
            </a:r>
          </a:p>
        </p:txBody>
      </p:sp>
      <p:sp>
        <p:nvSpPr>
          <p:cNvPr id="148" name="Rectangle 147"/>
          <p:cNvSpPr/>
          <p:nvPr/>
        </p:nvSpPr>
        <p:spPr>
          <a:xfrm>
            <a:off x="365125" y="938213"/>
            <a:ext cx="4090988" cy="650875"/>
          </a:xfrm>
          <a:prstGeom prst="rect">
            <a:avLst/>
          </a:prstGeom>
        </p:spPr>
        <p:txBody>
          <a:bodyPr anchor="ctr"/>
          <a:lstStyle/>
          <a:p>
            <a:pPr defTabSz="914082" eaLnBrk="1" fontAlgn="auto" hangingPunct="1">
              <a:spcAft>
                <a:spcPts val="0"/>
              </a:spcAft>
              <a:defRPr/>
            </a:pPr>
            <a:r>
              <a:rPr lang="en-US" sz="5500" spc="-300" noProof="1" smtClean="0">
                <a:solidFill>
                  <a:srgbClr val="37B3AD"/>
                </a:solidFill>
                <a:latin typeface="Open Sans" panose="020B0606030504020204" pitchFamily="34" charset="0"/>
                <a:ea typeface="Open Sans" panose="020B0606030504020204" pitchFamily="34" charset="0"/>
                <a:cs typeface="Open Sans" panose="020B0606030504020204" pitchFamily="34" charset="0"/>
              </a:rPr>
              <a:t>Model Canvas</a:t>
            </a:r>
            <a:endParaRPr lang="en-US" sz="5500" spc="-300" noProof="1">
              <a:solidFill>
                <a:srgbClr val="37B3AD"/>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50" name="Straight Connector 149"/>
          <p:cNvCxnSpPr/>
          <p:nvPr/>
        </p:nvCxnSpPr>
        <p:spPr>
          <a:xfrm>
            <a:off x="457200" y="1763713"/>
            <a:ext cx="31369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51" name="Rectangle 150"/>
          <p:cNvSpPr/>
          <p:nvPr/>
        </p:nvSpPr>
        <p:spPr>
          <a:xfrm>
            <a:off x="365125" y="1868488"/>
            <a:ext cx="544353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eaLnBrk="1" hangingPunct="1">
              <a:buClr>
                <a:srgbClr val="E24848"/>
              </a:buClr>
            </a:pPr>
            <a:r>
              <a:rPr lang="en-US" sz="2000" b="1" noProof="1" smtClean="0">
                <a:solidFill>
                  <a:schemeClr val="bg1"/>
                </a:solidFill>
                <a:latin typeface="Open Sans" charset="0"/>
                <a:ea typeface="Open Sans" charset="0"/>
                <a:cs typeface="Open Sans" charset="0"/>
              </a:rPr>
              <a:t>Komponen-Komponen BMC</a:t>
            </a:r>
            <a:endParaRPr lang="en-US" sz="2000" b="1" noProof="1">
              <a:solidFill>
                <a:schemeClr val="bg1"/>
              </a:solidFill>
              <a:latin typeface="Open Sans" charset="0"/>
              <a:ea typeface="Open Sans" charset="0"/>
              <a:cs typeface="Open Sans" charset="0"/>
            </a:endParaRPr>
          </a:p>
        </p:txBody>
      </p:sp>
      <p:sp>
        <p:nvSpPr>
          <p:cNvPr id="8" name="TextBox 7"/>
          <p:cNvSpPr txBox="1"/>
          <p:nvPr/>
        </p:nvSpPr>
        <p:spPr>
          <a:xfrm>
            <a:off x="5983267" y="1858557"/>
            <a:ext cx="4325570" cy="369332"/>
          </a:xfrm>
          <a:prstGeom prst="rect">
            <a:avLst/>
          </a:prstGeom>
          <a:noFill/>
        </p:spPr>
        <p:txBody>
          <a:bodyPr wrap="square" rtlCol="0">
            <a:spAutoFit/>
          </a:bodyPr>
          <a:lstStyle/>
          <a:p>
            <a:r>
              <a:rPr lang="en-US" dirty="0" err="1">
                <a:solidFill>
                  <a:schemeClr val="bg1"/>
                </a:solidFill>
              </a:rPr>
              <a:t>Osterwalder</a:t>
            </a:r>
            <a:r>
              <a:rPr lang="en-US" dirty="0">
                <a:solidFill>
                  <a:schemeClr val="bg1"/>
                </a:solidFill>
              </a:rPr>
              <a:t>, A</a:t>
            </a:r>
            <a:r>
              <a:rPr lang="en-US" dirty="0" smtClean="0">
                <a:solidFill>
                  <a:schemeClr val="bg1"/>
                </a:solidFill>
              </a:rPr>
              <a:t>. </a:t>
            </a:r>
            <a:r>
              <a:rPr lang="en-US" dirty="0" err="1" smtClean="0">
                <a:solidFill>
                  <a:schemeClr val="bg1"/>
                </a:solidFill>
              </a:rPr>
              <a:t>dan</a:t>
            </a:r>
            <a:r>
              <a:rPr lang="en-US" dirty="0" smtClean="0">
                <a:solidFill>
                  <a:schemeClr val="bg1"/>
                </a:solidFill>
              </a:rPr>
              <a:t> </a:t>
            </a:r>
            <a:r>
              <a:rPr lang="en-US" dirty="0" err="1">
                <a:solidFill>
                  <a:schemeClr val="bg1"/>
                </a:solidFill>
              </a:rPr>
              <a:t>Pigneur</a:t>
            </a:r>
            <a:r>
              <a:rPr lang="en-US" dirty="0">
                <a:solidFill>
                  <a:schemeClr val="bg1"/>
                </a:solidFill>
              </a:rPr>
              <a:t>, Y</a:t>
            </a:r>
            <a:r>
              <a:rPr lang="en-US" dirty="0" smtClean="0">
                <a:solidFill>
                  <a:schemeClr val="bg1"/>
                </a:solidFill>
              </a:rPr>
              <a:t>.: (2002)</a:t>
            </a:r>
            <a:endParaRPr lang="en-US" dirty="0">
              <a:solidFill>
                <a:schemeClr val="bg1"/>
              </a:solidFill>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3612" y="2268598"/>
            <a:ext cx="8176437" cy="4534206"/>
          </a:xfrm>
          <a:prstGeom prst="rect">
            <a:avLst/>
          </a:prstGeom>
        </p:spPr>
      </p:pic>
    </p:spTree>
    <p:extLst>
      <p:ext uri="{BB962C8B-B14F-4D97-AF65-F5344CB8AC3E}">
        <p14:creationId xmlns:p14="http://schemas.microsoft.com/office/powerpoint/2010/main" val="297143714"/>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7"/>
                                        </p:tgtEl>
                                        <p:attrNameLst>
                                          <p:attrName>style.visibility</p:attrName>
                                        </p:attrNameLst>
                                      </p:cBhvr>
                                      <p:to>
                                        <p:strVal val="visible"/>
                                      </p:to>
                                    </p:set>
                                    <p:animEffect transition="in" filter="fade">
                                      <p:cBhvr>
                                        <p:cTn id="7" dur="1000"/>
                                        <p:tgtEl>
                                          <p:spTgt spid="14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8"/>
                                        </p:tgtEl>
                                        <p:attrNameLst>
                                          <p:attrName>style.visibility</p:attrName>
                                        </p:attrNameLst>
                                      </p:cBhvr>
                                      <p:to>
                                        <p:strVal val="visible"/>
                                      </p:to>
                                    </p:set>
                                    <p:animEffect transition="in" filter="fade">
                                      <p:cBhvr>
                                        <p:cTn id="10" dur="1000"/>
                                        <p:tgtEl>
                                          <p:spTgt spid="148"/>
                                        </p:tgtEl>
                                      </p:cBhvr>
                                    </p:animEffect>
                                  </p:childTnLst>
                                </p:cTn>
                              </p:par>
                              <p:par>
                                <p:cTn id="11" presetID="10" presetClass="entr" presetSubtype="0" fill="hold" nodeType="withEffect">
                                  <p:stCondLst>
                                    <p:cond delay="0"/>
                                  </p:stCondLst>
                                  <p:childTnLst>
                                    <p:set>
                                      <p:cBhvr>
                                        <p:cTn id="12" dur="1" fill="hold">
                                          <p:stCondLst>
                                            <p:cond delay="0"/>
                                          </p:stCondLst>
                                        </p:cTn>
                                        <p:tgtEl>
                                          <p:spTgt spid="150"/>
                                        </p:tgtEl>
                                        <p:attrNameLst>
                                          <p:attrName>style.visibility</p:attrName>
                                        </p:attrNameLst>
                                      </p:cBhvr>
                                      <p:to>
                                        <p:strVal val="visible"/>
                                      </p:to>
                                    </p:set>
                                    <p:animEffect transition="in" filter="fade">
                                      <p:cBhvr>
                                        <p:cTn id="13" dur="1000"/>
                                        <p:tgtEl>
                                          <p:spTgt spid="15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51"/>
                                        </p:tgtEl>
                                        <p:attrNameLst>
                                          <p:attrName>style.visibility</p:attrName>
                                        </p:attrNameLst>
                                      </p:cBhvr>
                                      <p:to>
                                        <p:strVal val="visible"/>
                                      </p:to>
                                    </p:set>
                                    <p:animEffect transition="in" filter="fade">
                                      <p:cBhvr>
                                        <p:cTn id="16" dur="1000"/>
                                        <p:tgtEl>
                                          <p:spTgt spid="151"/>
                                        </p:tgtEl>
                                      </p:cBhvr>
                                    </p:animEffect>
                                  </p:childTnLst>
                                </p:cTn>
                              </p:par>
                            </p:childTnLst>
                          </p:cTn>
                        </p:par>
                        <p:par>
                          <p:cTn id="17" fill="hold" nodeType="afterGroup">
                            <p:stCondLst>
                              <p:cond delay="1000"/>
                            </p:stCondLst>
                            <p:childTnLst>
                              <p:par>
                                <p:cTn id="18" presetID="22" presetClass="entr" presetSubtype="1" fill="hold" grpId="0" nodeType="after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wipe(up)">
                                      <p:cBhvr>
                                        <p:cTn id="20"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47" grpId="0"/>
      <p:bldP spid="148" grpId="0"/>
      <p:bldP spid="151"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4094328" y="0"/>
            <a:ext cx="7383297" cy="6858000"/>
          </a:xfrm>
          <a:prstGeom prst="rect">
            <a:avLst/>
          </a:prstGeom>
          <a:solidFill>
            <a:schemeClr val="accent1">
              <a:lumMod val="7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dirty="0" err="1">
                <a:solidFill>
                  <a:schemeClr val="tx1"/>
                </a:solidFill>
              </a:rPr>
              <a:t>Osterwalder</a:t>
            </a:r>
            <a:r>
              <a:rPr lang="en-US" dirty="0">
                <a:solidFill>
                  <a:schemeClr val="tx1"/>
                </a:solidFill>
              </a:rPr>
              <a:t>, A., </a:t>
            </a:r>
            <a:r>
              <a:rPr lang="en-US" dirty="0" err="1">
                <a:solidFill>
                  <a:schemeClr val="tx1"/>
                </a:solidFill>
              </a:rPr>
              <a:t>Pigneur</a:t>
            </a:r>
            <a:r>
              <a:rPr lang="en-US" dirty="0">
                <a:solidFill>
                  <a:schemeClr val="tx1"/>
                </a:solidFill>
              </a:rPr>
              <a:t>, Y.:</a:t>
            </a:r>
          </a:p>
        </p:txBody>
      </p:sp>
      <p:sp>
        <p:nvSpPr>
          <p:cNvPr id="147" name="Rectangle 146"/>
          <p:cNvSpPr/>
          <p:nvPr/>
        </p:nvSpPr>
        <p:spPr>
          <a:xfrm>
            <a:off x="365125" y="544513"/>
            <a:ext cx="4251325" cy="231775"/>
          </a:xfrm>
          <a:prstGeom prst="rect">
            <a:avLst/>
          </a:prstGeom>
        </p:spPr>
        <p:txBody>
          <a:bodyPr anchor="ctr"/>
          <a:lstStyle/>
          <a:p>
            <a:pPr defTabSz="914082" eaLnBrk="1" fontAlgn="auto" hangingPunct="1">
              <a:spcAft>
                <a:spcPts val="0"/>
              </a:spcAft>
              <a:defRPr/>
            </a:pPr>
            <a:r>
              <a:rPr lang="en-US" sz="6000" spc="-300" noProof="1">
                <a:solidFill>
                  <a:schemeClr val="bg1"/>
                </a:solidFill>
                <a:latin typeface="Open Sans" panose="020B0606030504020204" pitchFamily="34" charset="0"/>
                <a:ea typeface="Open Sans" panose="020B0606030504020204" pitchFamily="34" charset="0"/>
                <a:cs typeface="Open Sans" panose="020B0606030504020204" pitchFamily="34" charset="0"/>
              </a:rPr>
              <a:t>Business</a:t>
            </a:r>
          </a:p>
        </p:txBody>
      </p:sp>
      <p:sp>
        <p:nvSpPr>
          <p:cNvPr id="148" name="Rectangle 147"/>
          <p:cNvSpPr/>
          <p:nvPr/>
        </p:nvSpPr>
        <p:spPr>
          <a:xfrm>
            <a:off x="365125" y="938213"/>
            <a:ext cx="4090988" cy="650875"/>
          </a:xfrm>
          <a:prstGeom prst="rect">
            <a:avLst/>
          </a:prstGeom>
        </p:spPr>
        <p:txBody>
          <a:bodyPr anchor="ctr"/>
          <a:lstStyle/>
          <a:p>
            <a:pPr defTabSz="914082" eaLnBrk="1" fontAlgn="auto" hangingPunct="1">
              <a:spcAft>
                <a:spcPts val="0"/>
              </a:spcAft>
              <a:defRPr/>
            </a:pPr>
            <a:r>
              <a:rPr lang="en-US" sz="5500" spc="-300" noProof="1" smtClean="0">
                <a:solidFill>
                  <a:srgbClr val="37B3AD"/>
                </a:solidFill>
                <a:latin typeface="Open Sans" panose="020B0606030504020204" pitchFamily="34" charset="0"/>
                <a:ea typeface="Open Sans" panose="020B0606030504020204" pitchFamily="34" charset="0"/>
                <a:cs typeface="Open Sans" panose="020B0606030504020204" pitchFamily="34" charset="0"/>
              </a:rPr>
              <a:t>Model Canvas</a:t>
            </a:r>
            <a:endParaRPr lang="en-US" sz="5500" spc="-300" noProof="1">
              <a:solidFill>
                <a:srgbClr val="37B3AD"/>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50" name="Straight Connector 149"/>
          <p:cNvCxnSpPr/>
          <p:nvPr/>
        </p:nvCxnSpPr>
        <p:spPr>
          <a:xfrm>
            <a:off x="457200" y="1763713"/>
            <a:ext cx="31369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51" name="Rectangle 150"/>
          <p:cNvSpPr/>
          <p:nvPr/>
        </p:nvSpPr>
        <p:spPr>
          <a:xfrm>
            <a:off x="365125" y="1868488"/>
            <a:ext cx="544353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eaLnBrk="1" hangingPunct="1">
              <a:buClr>
                <a:srgbClr val="E24848"/>
              </a:buClr>
            </a:pPr>
            <a:r>
              <a:rPr lang="en-US" sz="2000" b="1" noProof="1" smtClean="0">
                <a:solidFill>
                  <a:schemeClr val="bg1"/>
                </a:solidFill>
                <a:latin typeface="Open Sans" charset="0"/>
                <a:ea typeface="Open Sans" charset="0"/>
                <a:cs typeface="Open Sans" charset="0"/>
              </a:rPr>
              <a:t>Komponen-Komponen BMC</a:t>
            </a:r>
            <a:endParaRPr lang="en-US" sz="2000" b="1" noProof="1">
              <a:solidFill>
                <a:schemeClr val="bg1"/>
              </a:solidFill>
              <a:latin typeface="Open Sans" charset="0"/>
              <a:ea typeface="Open Sans" charset="0"/>
              <a:cs typeface="Open Sans" charset="0"/>
            </a:endParaRPr>
          </a:p>
        </p:txBody>
      </p:sp>
      <p:sp>
        <p:nvSpPr>
          <p:cNvPr id="8" name="TextBox 7"/>
          <p:cNvSpPr txBox="1"/>
          <p:nvPr/>
        </p:nvSpPr>
        <p:spPr>
          <a:xfrm>
            <a:off x="6797527" y="1868488"/>
            <a:ext cx="4325570" cy="369332"/>
          </a:xfrm>
          <a:prstGeom prst="rect">
            <a:avLst/>
          </a:prstGeom>
          <a:noFill/>
        </p:spPr>
        <p:txBody>
          <a:bodyPr wrap="square" rtlCol="0">
            <a:spAutoFit/>
          </a:bodyPr>
          <a:lstStyle/>
          <a:p>
            <a:r>
              <a:rPr lang="en-US" dirty="0" err="1">
                <a:solidFill>
                  <a:schemeClr val="bg1"/>
                </a:solidFill>
              </a:rPr>
              <a:t>Osterwalder</a:t>
            </a:r>
            <a:r>
              <a:rPr lang="en-US" dirty="0">
                <a:solidFill>
                  <a:schemeClr val="bg1"/>
                </a:solidFill>
              </a:rPr>
              <a:t>, A</a:t>
            </a:r>
            <a:r>
              <a:rPr lang="en-US" dirty="0" smtClean="0">
                <a:solidFill>
                  <a:schemeClr val="bg1"/>
                </a:solidFill>
              </a:rPr>
              <a:t>. </a:t>
            </a:r>
            <a:r>
              <a:rPr lang="en-US" dirty="0" err="1" smtClean="0">
                <a:solidFill>
                  <a:schemeClr val="bg1"/>
                </a:solidFill>
              </a:rPr>
              <a:t>dan</a:t>
            </a:r>
            <a:r>
              <a:rPr lang="en-US" dirty="0" smtClean="0">
                <a:solidFill>
                  <a:schemeClr val="bg1"/>
                </a:solidFill>
              </a:rPr>
              <a:t> </a:t>
            </a:r>
            <a:r>
              <a:rPr lang="en-US" dirty="0" err="1">
                <a:solidFill>
                  <a:schemeClr val="bg1"/>
                </a:solidFill>
              </a:rPr>
              <a:t>Pigneur</a:t>
            </a:r>
            <a:r>
              <a:rPr lang="en-US" dirty="0">
                <a:solidFill>
                  <a:schemeClr val="bg1"/>
                </a:solidFill>
              </a:rPr>
              <a:t>, Y</a:t>
            </a:r>
            <a:r>
              <a:rPr lang="en-US" dirty="0" smtClean="0">
                <a:solidFill>
                  <a:schemeClr val="bg1"/>
                </a:solidFill>
              </a:rPr>
              <a:t>.: (2002)</a:t>
            </a:r>
            <a:endParaRPr lang="en-US" dirty="0">
              <a:solidFill>
                <a:schemeClr val="bg1"/>
              </a:solidFill>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90787" y="2335925"/>
            <a:ext cx="8055687" cy="3864212"/>
          </a:xfrm>
          <a:prstGeom prst="rect">
            <a:avLst/>
          </a:prstGeom>
        </p:spPr>
      </p:pic>
    </p:spTree>
    <p:extLst>
      <p:ext uri="{BB962C8B-B14F-4D97-AF65-F5344CB8AC3E}">
        <p14:creationId xmlns:p14="http://schemas.microsoft.com/office/powerpoint/2010/main" val="1943791685"/>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7"/>
                                        </p:tgtEl>
                                        <p:attrNameLst>
                                          <p:attrName>style.visibility</p:attrName>
                                        </p:attrNameLst>
                                      </p:cBhvr>
                                      <p:to>
                                        <p:strVal val="visible"/>
                                      </p:to>
                                    </p:set>
                                    <p:animEffect transition="in" filter="fade">
                                      <p:cBhvr>
                                        <p:cTn id="7" dur="1000"/>
                                        <p:tgtEl>
                                          <p:spTgt spid="14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8"/>
                                        </p:tgtEl>
                                        <p:attrNameLst>
                                          <p:attrName>style.visibility</p:attrName>
                                        </p:attrNameLst>
                                      </p:cBhvr>
                                      <p:to>
                                        <p:strVal val="visible"/>
                                      </p:to>
                                    </p:set>
                                    <p:animEffect transition="in" filter="fade">
                                      <p:cBhvr>
                                        <p:cTn id="10" dur="1000"/>
                                        <p:tgtEl>
                                          <p:spTgt spid="148"/>
                                        </p:tgtEl>
                                      </p:cBhvr>
                                    </p:animEffect>
                                  </p:childTnLst>
                                </p:cTn>
                              </p:par>
                              <p:par>
                                <p:cTn id="11" presetID="10" presetClass="entr" presetSubtype="0" fill="hold" nodeType="withEffect">
                                  <p:stCondLst>
                                    <p:cond delay="0"/>
                                  </p:stCondLst>
                                  <p:childTnLst>
                                    <p:set>
                                      <p:cBhvr>
                                        <p:cTn id="12" dur="1" fill="hold">
                                          <p:stCondLst>
                                            <p:cond delay="0"/>
                                          </p:stCondLst>
                                        </p:cTn>
                                        <p:tgtEl>
                                          <p:spTgt spid="150"/>
                                        </p:tgtEl>
                                        <p:attrNameLst>
                                          <p:attrName>style.visibility</p:attrName>
                                        </p:attrNameLst>
                                      </p:cBhvr>
                                      <p:to>
                                        <p:strVal val="visible"/>
                                      </p:to>
                                    </p:set>
                                    <p:animEffect transition="in" filter="fade">
                                      <p:cBhvr>
                                        <p:cTn id="13" dur="1000"/>
                                        <p:tgtEl>
                                          <p:spTgt spid="15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51"/>
                                        </p:tgtEl>
                                        <p:attrNameLst>
                                          <p:attrName>style.visibility</p:attrName>
                                        </p:attrNameLst>
                                      </p:cBhvr>
                                      <p:to>
                                        <p:strVal val="visible"/>
                                      </p:to>
                                    </p:set>
                                    <p:animEffect transition="in" filter="fade">
                                      <p:cBhvr>
                                        <p:cTn id="16" dur="1000"/>
                                        <p:tgtEl>
                                          <p:spTgt spid="151"/>
                                        </p:tgtEl>
                                      </p:cBhvr>
                                    </p:animEffect>
                                  </p:childTnLst>
                                </p:cTn>
                              </p:par>
                            </p:childTnLst>
                          </p:cTn>
                        </p:par>
                        <p:par>
                          <p:cTn id="17" fill="hold" nodeType="afterGroup">
                            <p:stCondLst>
                              <p:cond delay="1000"/>
                            </p:stCondLst>
                            <p:childTnLst>
                              <p:par>
                                <p:cTn id="18" presetID="22" presetClass="entr" presetSubtype="1" fill="hold" grpId="0" nodeType="after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wipe(up)">
                                      <p:cBhvr>
                                        <p:cTn id="20"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47" grpId="0"/>
      <p:bldP spid="148" grpId="0"/>
      <p:bldP spid="151"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4094328" y="0"/>
            <a:ext cx="7383297" cy="6858000"/>
          </a:xfrm>
          <a:prstGeom prst="rect">
            <a:avLst/>
          </a:prstGeom>
          <a:solidFill>
            <a:schemeClr val="accent1">
              <a:lumMod val="7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dirty="0" err="1">
                <a:solidFill>
                  <a:schemeClr val="tx1"/>
                </a:solidFill>
              </a:rPr>
              <a:t>Osterwalder</a:t>
            </a:r>
            <a:r>
              <a:rPr lang="en-US" dirty="0">
                <a:solidFill>
                  <a:schemeClr val="tx1"/>
                </a:solidFill>
              </a:rPr>
              <a:t>, A., </a:t>
            </a:r>
            <a:r>
              <a:rPr lang="en-US" dirty="0" err="1">
                <a:solidFill>
                  <a:schemeClr val="tx1"/>
                </a:solidFill>
              </a:rPr>
              <a:t>Pigneur</a:t>
            </a:r>
            <a:r>
              <a:rPr lang="en-US" dirty="0">
                <a:solidFill>
                  <a:schemeClr val="tx1"/>
                </a:solidFill>
              </a:rPr>
              <a:t>, Y.:</a:t>
            </a:r>
          </a:p>
        </p:txBody>
      </p:sp>
      <p:sp>
        <p:nvSpPr>
          <p:cNvPr id="147" name="Rectangle 146"/>
          <p:cNvSpPr/>
          <p:nvPr/>
        </p:nvSpPr>
        <p:spPr>
          <a:xfrm>
            <a:off x="365125" y="544513"/>
            <a:ext cx="4251325" cy="231775"/>
          </a:xfrm>
          <a:prstGeom prst="rect">
            <a:avLst/>
          </a:prstGeom>
        </p:spPr>
        <p:txBody>
          <a:bodyPr anchor="ctr"/>
          <a:lstStyle/>
          <a:p>
            <a:pPr defTabSz="914082" eaLnBrk="1" fontAlgn="auto" hangingPunct="1">
              <a:spcAft>
                <a:spcPts val="0"/>
              </a:spcAft>
              <a:defRPr/>
            </a:pPr>
            <a:r>
              <a:rPr lang="en-US" sz="6000" spc="-300" noProof="1">
                <a:solidFill>
                  <a:schemeClr val="bg1"/>
                </a:solidFill>
                <a:latin typeface="Open Sans" panose="020B0606030504020204" pitchFamily="34" charset="0"/>
                <a:ea typeface="Open Sans" panose="020B0606030504020204" pitchFamily="34" charset="0"/>
                <a:cs typeface="Open Sans" panose="020B0606030504020204" pitchFamily="34" charset="0"/>
              </a:rPr>
              <a:t>Business</a:t>
            </a:r>
          </a:p>
        </p:txBody>
      </p:sp>
      <p:sp>
        <p:nvSpPr>
          <p:cNvPr id="148" name="Rectangle 147"/>
          <p:cNvSpPr/>
          <p:nvPr/>
        </p:nvSpPr>
        <p:spPr>
          <a:xfrm>
            <a:off x="365125" y="938213"/>
            <a:ext cx="4090988" cy="650875"/>
          </a:xfrm>
          <a:prstGeom prst="rect">
            <a:avLst/>
          </a:prstGeom>
        </p:spPr>
        <p:txBody>
          <a:bodyPr anchor="ctr"/>
          <a:lstStyle/>
          <a:p>
            <a:pPr defTabSz="914082" eaLnBrk="1" fontAlgn="auto" hangingPunct="1">
              <a:spcAft>
                <a:spcPts val="0"/>
              </a:spcAft>
              <a:defRPr/>
            </a:pPr>
            <a:r>
              <a:rPr lang="en-US" sz="5500" spc="-300" noProof="1" smtClean="0">
                <a:solidFill>
                  <a:srgbClr val="37B3AD"/>
                </a:solidFill>
                <a:latin typeface="Open Sans" panose="020B0606030504020204" pitchFamily="34" charset="0"/>
                <a:ea typeface="Open Sans" panose="020B0606030504020204" pitchFamily="34" charset="0"/>
                <a:cs typeface="Open Sans" panose="020B0606030504020204" pitchFamily="34" charset="0"/>
              </a:rPr>
              <a:t>Model Canvas</a:t>
            </a:r>
            <a:endParaRPr lang="en-US" sz="5500" spc="-300" noProof="1">
              <a:solidFill>
                <a:srgbClr val="37B3AD"/>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50" name="Straight Connector 149"/>
          <p:cNvCxnSpPr/>
          <p:nvPr/>
        </p:nvCxnSpPr>
        <p:spPr>
          <a:xfrm>
            <a:off x="457200" y="1763713"/>
            <a:ext cx="31369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51" name="Rectangle 150"/>
          <p:cNvSpPr/>
          <p:nvPr/>
        </p:nvSpPr>
        <p:spPr>
          <a:xfrm>
            <a:off x="365125" y="1868488"/>
            <a:ext cx="544353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eaLnBrk="1" hangingPunct="1">
              <a:buClr>
                <a:srgbClr val="E24848"/>
              </a:buClr>
            </a:pPr>
            <a:r>
              <a:rPr lang="en-US" sz="2000" b="1" noProof="1" smtClean="0">
                <a:solidFill>
                  <a:schemeClr val="bg1"/>
                </a:solidFill>
                <a:latin typeface="Open Sans" charset="0"/>
                <a:ea typeface="Open Sans" charset="0"/>
                <a:cs typeface="Open Sans" charset="0"/>
              </a:rPr>
              <a:t>contoh BMC</a:t>
            </a:r>
            <a:endParaRPr lang="en-US" sz="2000" b="1" noProof="1">
              <a:solidFill>
                <a:schemeClr val="bg1"/>
              </a:solidFill>
              <a:latin typeface="Open Sans" charset="0"/>
              <a:ea typeface="Open Sans" charset="0"/>
              <a:cs typeface="Open Sans" charset="0"/>
            </a:endParaRPr>
          </a:p>
        </p:txBody>
      </p:sp>
      <p:sp>
        <p:nvSpPr>
          <p:cNvPr id="8" name="TextBox 7"/>
          <p:cNvSpPr txBox="1"/>
          <p:nvPr/>
        </p:nvSpPr>
        <p:spPr>
          <a:xfrm>
            <a:off x="6797527" y="1868488"/>
            <a:ext cx="4325570" cy="369332"/>
          </a:xfrm>
          <a:prstGeom prst="rect">
            <a:avLst/>
          </a:prstGeom>
          <a:noFill/>
        </p:spPr>
        <p:txBody>
          <a:bodyPr wrap="square" rtlCol="0">
            <a:spAutoFit/>
          </a:bodyPr>
          <a:lstStyle/>
          <a:p>
            <a:r>
              <a:rPr lang="en-US" dirty="0" err="1">
                <a:solidFill>
                  <a:schemeClr val="bg1"/>
                </a:solidFill>
              </a:rPr>
              <a:t>Osterwalder</a:t>
            </a:r>
            <a:r>
              <a:rPr lang="en-US" dirty="0">
                <a:solidFill>
                  <a:schemeClr val="bg1"/>
                </a:solidFill>
              </a:rPr>
              <a:t>, A</a:t>
            </a:r>
            <a:r>
              <a:rPr lang="en-US" dirty="0" smtClean="0">
                <a:solidFill>
                  <a:schemeClr val="bg1"/>
                </a:solidFill>
              </a:rPr>
              <a:t>. </a:t>
            </a:r>
            <a:r>
              <a:rPr lang="en-US" dirty="0" err="1" smtClean="0">
                <a:solidFill>
                  <a:schemeClr val="bg1"/>
                </a:solidFill>
              </a:rPr>
              <a:t>dan</a:t>
            </a:r>
            <a:r>
              <a:rPr lang="en-US" dirty="0" smtClean="0">
                <a:solidFill>
                  <a:schemeClr val="bg1"/>
                </a:solidFill>
              </a:rPr>
              <a:t> </a:t>
            </a:r>
            <a:r>
              <a:rPr lang="en-US" dirty="0" err="1">
                <a:solidFill>
                  <a:schemeClr val="bg1"/>
                </a:solidFill>
              </a:rPr>
              <a:t>Pigneur</a:t>
            </a:r>
            <a:r>
              <a:rPr lang="en-US" dirty="0">
                <a:solidFill>
                  <a:schemeClr val="bg1"/>
                </a:solidFill>
              </a:rPr>
              <a:t>, Y</a:t>
            </a:r>
            <a:r>
              <a:rPr lang="en-US" dirty="0" smtClean="0">
                <a:solidFill>
                  <a:schemeClr val="bg1"/>
                </a:solidFill>
              </a:rPr>
              <a:t>.: (2002)</a:t>
            </a:r>
            <a:endParaRPr lang="en-US" dirty="0">
              <a:solidFill>
                <a:schemeClr val="bg1"/>
              </a:solidFill>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85526" y="331906"/>
            <a:ext cx="7200900" cy="5499100"/>
          </a:xfrm>
          <a:prstGeom prst="rect">
            <a:avLst/>
          </a:prstGeom>
        </p:spPr>
      </p:pic>
    </p:spTree>
    <p:extLst>
      <p:ext uri="{BB962C8B-B14F-4D97-AF65-F5344CB8AC3E}">
        <p14:creationId xmlns:p14="http://schemas.microsoft.com/office/powerpoint/2010/main" val="946265808"/>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7"/>
                                        </p:tgtEl>
                                        <p:attrNameLst>
                                          <p:attrName>style.visibility</p:attrName>
                                        </p:attrNameLst>
                                      </p:cBhvr>
                                      <p:to>
                                        <p:strVal val="visible"/>
                                      </p:to>
                                    </p:set>
                                    <p:animEffect transition="in" filter="fade">
                                      <p:cBhvr>
                                        <p:cTn id="7" dur="1000"/>
                                        <p:tgtEl>
                                          <p:spTgt spid="14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8"/>
                                        </p:tgtEl>
                                        <p:attrNameLst>
                                          <p:attrName>style.visibility</p:attrName>
                                        </p:attrNameLst>
                                      </p:cBhvr>
                                      <p:to>
                                        <p:strVal val="visible"/>
                                      </p:to>
                                    </p:set>
                                    <p:animEffect transition="in" filter="fade">
                                      <p:cBhvr>
                                        <p:cTn id="10" dur="1000"/>
                                        <p:tgtEl>
                                          <p:spTgt spid="148"/>
                                        </p:tgtEl>
                                      </p:cBhvr>
                                    </p:animEffect>
                                  </p:childTnLst>
                                </p:cTn>
                              </p:par>
                              <p:par>
                                <p:cTn id="11" presetID="10" presetClass="entr" presetSubtype="0" fill="hold" nodeType="withEffect">
                                  <p:stCondLst>
                                    <p:cond delay="0"/>
                                  </p:stCondLst>
                                  <p:childTnLst>
                                    <p:set>
                                      <p:cBhvr>
                                        <p:cTn id="12" dur="1" fill="hold">
                                          <p:stCondLst>
                                            <p:cond delay="0"/>
                                          </p:stCondLst>
                                        </p:cTn>
                                        <p:tgtEl>
                                          <p:spTgt spid="150"/>
                                        </p:tgtEl>
                                        <p:attrNameLst>
                                          <p:attrName>style.visibility</p:attrName>
                                        </p:attrNameLst>
                                      </p:cBhvr>
                                      <p:to>
                                        <p:strVal val="visible"/>
                                      </p:to>
                                    </p:set>
                                    <p:animEffect transition="in" filter="fade">
                                      <p:cBhvr>
                                        <p:cTn id="13" dur="1000"/>
                                        <p:tgtEl>
                                          <p:spTgt spid="15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51"/>
                                        </p:tgtEl>
                                        <p:attrNameLst>
                                          <p:attrName>style.visibility</p:attrName>
                                        </p:attrNameLst>
                                      </p:cBhvr>
                                      <p:to>
                                        <p:strVal val="visible"/>
                                      </p:to>
                                    </p:set>
                                    <p:animEffect transition="in" filter="fade">
                                      <p:cBhvr>
                                        <p:cTn id="16" dur="1000"/>
                                        <p:tgtEl>
                                          <p:spTgt spid="151"/>
                                        </p:tgtEl>
                                      </p:cBhvr>
                                    </p:animEffect>
                                  </p:childTnLst>
                                </p:cTn>
                              </p:par>
                            </p:childTnLst>
                          </p:cTn>
                        </p:par>
                        <p:par>
                          <p:cTn id="17" fill="hold" nodeType="afterGroup">
                            <p:stCondLst>
                              <p:cond delay="1000"/>
                            </p:stCondLst>
                            <p:childTnLst>
                              <p:par>
                                <p:cTn id="18" presetID="22" presetClass="entr" presetSubtype="1" fill="hold" grpId="0" nodeType="after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wipe(up)">
                                      <p:cBhvr>
                                        <p:cTn id="20"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47" grpId="0"/>
      <p:bldP spid="148" grpId="0"/>
      <p:bldP spid="151"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PgVXIwmPkaNEw56OuLEHg"/>
</p:tagLst>
</file>

<file path=ppt/theme/theme1.xml><?xml version="1.0" encoding="utf-8"?>
<a:theme xmlns:a="http://schemas.openxmlformats.org/drawingml/2006/main" name="Office Theme">
  <a:themeElements>
    <a:clrScheme name="Custom 1">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FFFFFF"/>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094</TotalTime>
  <Words>268</Words>
  <Application>Microsoft Macintosh PowerPoint</Application>
  <PresentationFormat>Widescreen</PresentationFormat>
  <Paragraphs>50</Paragraphs>
  <Slides>11</Slides>
  <Notes>2</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22" baseType="lpstr">
      <vt:lpstr>Abadi MT Condensed Extra Bold</vt:lpstr>
      <vt:lpstr>Calibri</vt:lpstr>
      <vt:lpstr>Calibri Light</vt:lpstr>
      <vt:lpstr>Copperplate Gothic Bold</vt:lpstr>
      <vt:lpstr>Julietta Messie Messie-Demo</vt:lpstr>
      <vt:lpstr>Open Sans</vt:lpstr>
      <vt:lpstr>Open Sans Light</vt:lpstr>
      <vt:lpstr>Roboto Light</vt:lpstr>
      <vt:lpstr>Arial</vt:lpstr>
      <vt:lpstr>Office Theme</vt:lpstr>
      <vt:lpstr>Char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ong island</dc:creator>
  <cp:lastModifiedBy>Microsoft Office User</cp:lastModifiedBy>
  <cp:revision>1484</cp:revision>
  <dcterms:created xsi:type="dcterms:W3CDTF">2015-02-26T14:56:55Z</dcterms:created>
  <dcterms:modified xsi:type="dcterms:W3CDTF">2020-02-25T21:29:33Z</dcterms:modified>
</cp:coreProperties>
</file>